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2"/>
  </p:notesMasterIdLst>
  <p:sldIdLst>
    <p:sldId id="291" r:id="rId2"/>
    <p:sldId id="292" r:id="rId3"/>
    <p:sldId id="293" r:id="rId4"/>
    <p:sldId id="294" r:id="rId5"/>
    <p:sldId id="295" r:id="rId6"/>
    <p:sldId id="296" r:id="rId7"/>
    <p:sldId id="297" r:id="rId8"/>
    <p:sldId id="298" r:id="rId9"/>
    <p:sldId id="299" r:id="rId10"/>
    <p:sldId id="300" r:id="rId11"/>
    <p:sldId id="301" r:id="rId12"/>
    <p:sldId id="302" r:id="rId13"/>
    <p:sldId id="303" r:id="rId14"/>
    <p:sldId id="304" r:id="rId15"/>
    <p:sldId id="305" r:id="rId16"/>
    <p:sldId id="306" r:id="rId17"/>
    <p:sldId id="307" r:id="rId18"/>
    <p:sldId id="308" r:id="rId19"/>
    <p:sldId id="309" r:id="rId20"/>
    <p:sldId id="310" r:id="rId21"/>
    <p:sldId id="311" r:id="rId22"/>
    <p:sldId id="312" r:id="rId23"/>
    <p:sldId id="319" r:id="rId24"/>
    <p:sldId id="320" r:id="rId25"/>
    <p:sldId id="321" r:id="rId26"/>
    <p:sldId id="322" r:id="rId27"/>
    <p:sldId id="323" r:id="rId28"/>
    <p:sldId id="324" r:id="rId29"/>
    <p:sldId id="325" r:id="rId30"/>
    <p:sldId id="326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0000"/>
    <a:srgbClr val="F6443B"/>
    <a:srgbClr val="B0F7F4"/>
    <a:srgbClr val="125680"/>
    <a:srgbClr val="0C152C"/>
    <a:srgbClr val="070C1E"/>
    <a:srgbClr val="1221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99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8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 cap="rnd">
              <a:solidFill>
                <a:schemeClr val="tx1">
                  <a:lumMod val="75000"/>
                  <a:lumOff val="2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>
                  <a:lumMod val="75000"/>
                  <a:lumOff val="25000"/>
                </a:schemeClr>
              </a:solidFill>
              <a:ln w="6350">
                <a:noFill/>
              </a:ln>
              <a:effectLst/>
            </c:spPr>
          </c:marker>
          <c:cat>
            <c:numRef>
              <c:f>Sheet1!$A$2:$A$7</c:f>
              <c:numCache>
                <c:formatCode>m/d/yyyy</c:formatCode>
                <c:ptCount val="6"/>
                <c:pt idx="0">
                  <c:v>43105</c:v>
                </c:pt>
                <c:pt idx="1">
                  <c:v>43106</c:v>
                </c:pt>
                <c:pt idx="2">
                  <c:v>43107</c:v>
                </c:pt>
                <c:pt idx="3">
                  <c:v>43108</c:v>
                </c:pt>
                <c:pt idx="4">
                  <c:v>43109</c:v>
                </c:pt>
                <c:pt idx="5">
                  <c:v>43110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0</c:v>
                </c:pt>
                <c:pt idx="1">
                  <c:v>30</c:v>
                </c:pt>
                <c:pt idx="2">
                  <c:v>25</c:v>
                </c:pt>
                <c:pt idx="3">
                  <c:v>15</c:v>
                </c:pt>
                <c:pt idx="4">
                  <c:v>20</c:v>
                </c:pt>
                <c:pt idx="5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3D0-4211-AA0C-C3E7B74F87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6350" cap="rnd">
              <a:solidFill>
                <a:srgbClr val="CE295E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E295E"/>
              </a:solidFill>
              <a:ln w="6350">
                <a:noFill/>
              </a:ln>
              <a:effectLst/>
            </c:spPr>
          </c:marker>
          <c:cat>
            <c:numRef>
              <c:f>Sheet1!$A$2:$A$7</c:f>
              <c:numCache>
                <c:formatCode>m/d/yyyy</c:formatCode>
                <c:ptCount val="6"/>
                <c:pt idx="0">
                  <c:v>43105</c:v>
                </c:pt>
                <c:pt idx="1">
                  <c:v>43106</c:v>
                </c:pt>
                <c:pt idx="2">
                  <c:v>43107</c:v>
                </c:pt>
                <c:pt idx="3">
                  <c:v>43108</c:v>
                </c:pt>
                <c:pt idx="4">
                  <c:v>43109</c:v>
                </c:pt>
                <c:pt idx="5">
                  <c:v>43110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30</c:v>
                </c:pt>
                <c:pt idx="1">
                  <c:v>50</c:v>
                </c:pt>
                <c:pt idx="2">
                  <c:v>30</c:v>
                </c:pt>
                <c:pt idx="3">
                  <c:v>10</c:v>
                </c:pt>
                <c:pt idx="4">
                  <c:v>5</c:v>
                </c:pt>
                <c:pt idx="5">
                  <c:v>1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3D0-4211-AA0C-C3E7B74F87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0357704"/>
        <c:axId val="620364368"/>
      </c:lineChart>
      <c:dateAx>
        <c:axId val="62035770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0364368"/>
        <c:crosses val="autoZero"/>
        <c:auto val="1"/>
        <c:lblOffset val="100"/>
        <c:baseTimeUnit val="days"/>
      </c:dateAx>
      <c:valAx>
        <c:axId val="620364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0357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rgbClr val="CE295E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E295E"/>
              </a:solidFill>
              <a:ln w="9525">
                <a:noFill/>
              </a:ln>
              <a:effectLst/>
            </c:spPr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261</c:v>
                </c:pt>
                <c:pt idx="1">
                  <c:v>37262</c:v>
                </c:pt>
                <c:pt idx="2">
                  <c:v>37263</c:v>
                </c:pt>
                <c:pt idx="3">
                  <c:v>37264</c:v>
                </c:pt>
                <c:pt idx="4">
                  <c:v>37265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E-42EB-81DD-E4D391155CC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rgbClr val="4040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404040"/>
              </a:solidFill>
              <a:ln w="9525">
                <a:noFill/>
              </a:ln>
              <a:effectLst/>
            </c:spPr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261</c:v>
                </c:pt>
                <c:pt idx="1">
                  <c:v>37262</c:v>
                </c:pt>
                <c:pt idx="2">
                  <c:v>37263</c:v>
                </c:pt>
                <c:pt idx="3">
                  <c:v>37264</c:v>
                </c:pt>
                <c:pt idx="4">
                  <c:v>37265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0E-42EB-81DD-E4D391155C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82205160"/>
        <c:axId val="482198928"/>
      </c:radarChart>
      <c:catAx>
        <c:axId val="482205160"/>
        <c:scaling>
          <c:orientation val="minMax"/>
        </c:scaling>
        <c:delete val="1"/>
        <c:axPos val="b"/>
        <c:numFmt formatCode="m/d/yyyy" sourceLinked="1"/>
        <c:majorTickMark val="none"/>
        <c:minorTickMark val="none"/>
        <c:tickLblPos val="nextTo"/>
        <c:crossAx val="482198928"/>
        <c:crosses val="autoZero"/>
        <c:auto val="1"/>
        <c:lblAlgn val="ctr"/>
        <c:lblOffset val="100"/>
        <c:noMultiLvlLbl val="0"/>
      </c:catAx>
      <c:valAx>
        <c:axId val="48219892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8220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rgbClr val="AB252B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en-US" b="1" dirty="0">
                <a:solidFill>
                  <a:srgbClr val="AB252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rgbClr val="AB252B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D4383E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C77-4AC5-96B1-E97BE347EAC4}"/>
              </c:ext>
            </c:extLst>
          </c:dPt>
          <c:dPt>
            <c:idx val="1"/>
            <c:bubble3D val="0"/>
            <c:spPr>
              <a:solidFill>
                <a:srgbClr val="AB252B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CC77-4AC5-96B1-E97BE347EAC4}"/>
              </c:ext>
            </c:extLst>
          </c:dPt>
          <c:dPt>
            <c:idx val="2"/>
            <c:bubble3D val="0"/>
            <c:spPr>
              <a:solidFill>
                <a:srgbClr val="52121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C77-4AC5-96B1-E97BE347EAC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2</c:v>
                </c:pt>
                <c:pt idx="1">
                  <c:v>0.62</c:v>
                </c:pt>
                <c:pt idx="2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77-4AC5-96B1-E97BE347EA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1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250524391810029"/>
          <c:y val="0.8354644419244025"/>
          <c:w val="0.64561367530216618"/>
          <c:h val="0.137844752681597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AB252B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CE295E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B32-498A-BA96-D0931BA13C43}"/>
              </c:ext>
            </c:extLst>
          </c:dPt>
          <c:dPt>
            <c:idx val="1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B32-498A-BA96-D0931BA13C43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B32-498A-BA96-D0931BA13C43}"/>
              </c:ext>
            </c:extLst>
          </c:dPt>
          <c:dPt>
            <c:idx val="3"/>
            <c:bubble3D val="0"/>
            <c:spPr>
              <a:solidFill>
                <a:srgbClr val="A6A6A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B32-498A-BA96-D0931BA13C43}"/>
              </c:ext>
            </c:extLst>
          </c:dPt>
          <c:cat>
            <c:strRef>
              <c:f>Sheet1!$A$2:$A$5</c:f>
              <c:strCache>
                <c:ptCount val="4"/>
                <c:pt idx="0">
                  <c:v>Lorem Ipsum 01</c:v>
                </c:pt>
                <c:pt idx="1">
                  <c:v>Lorem Ipsum 02</c:v>
                </c:pt>
                <c:pt idx="2">
                  <c:v>Lorem Ipsum 03</c:v>
                </c:pt>
                <c:pt idx="3">
                  <c:v>Lorem Ipsum 04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</c:v>
                </c:pt>
                <c:pt idx="1">
                  <c:v>0.25</c:v>
                </c:pt>
                <c:pt idx="2">
                  <c:v>0.2</c:v>
                </c:pt>
                <c:pt idx="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B32-498A-BA96-D0931BA13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4127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c:spPr>
          <c:dPt>
            <c:idx val="0"/>
            <c:bubble3D val="0"/>
            <c:spPr>
              <a:solidFill>
                <a:srgbClr val="CE295E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B32-498A-BA96-D0931BA13C43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B32-498A-BA96-D0931BA13C4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B32-498A-BA96-D0931BA13C4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B32-498A-BA96-D0931BA13C43}"/>
              </c:ext>
            </c:extLst>
          </c:dPt>
          <c:cat>
            <c:strRef>
              <c:f>Sheet1!$A$2:$A$3</c:f>
              <c:strCache>
                <c:ptCount val="2"/>
                <c:pt idx="0">
                  <c:v>Lorem Ipsum 01</c:v>
                </c:pt>
                <c:pt idx="1">
                  <c:v>Lorem Ipsum 02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B32-498A-BA96-D0931BA13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4127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c:spPr>
          <c:dPt>
            <c:idx val="0"/>
            <c:bubble3D val="0"/>
            <c:spPr>
              <a:solidFill>
                <a:srgbClr val="404040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B32-498A-BA96-D0931BA13C43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B32-498A-BA96-D0931BA13C4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B32-498A-BA96-D0931BA13C4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B32-498A-BA96-D0931BA13C43}"/>
              </c:ext>
            </c:extLst>
          </c:dPt>
          <c:cat>
            <c:strRef>
              <c:f>Sheet1!$A$2:$A$3</c:f>
              <c:strCache>
                <c:ptCount val="2"/>
                <c:pt idx="0">
                  <c:v>Lorem Ipsum 01</c:v>
                </c:pt>
                <c:pt idx="1">
                  <c:v>Lorem Ipsum 02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5</c:v>
                </c:pt>
                <c:pt idx="1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B32-498A-BA96-D0931BA13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4127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c:spPr>
          <c:dPt>
            <c:idx val="0"/>
            <c:bubble3D val="0"/>
            <c:spPr>
              <a:solidFill>
                <a:srgbClr val="7F7F7F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B32-498A-BA96-D0931BA13C43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B32-498A-BA96-D0931BA13C4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B32-498A-BA96-D0931BA13C4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41275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B32-498A-BA96-D0931BA13C43}"/>
              </c:ext>
            </c:extLst>
          </c:dPt>
          <c:cat>
            <c:strRef>
              <c:f>Sheet1!$A$2:$A$3</c:f>
              <c:strCache>
                <c:ptCount val="2"/>
                <c:pt idx="0">
                  <c:v>Lorem Ipsum 01</c:v>
                </c:pt>
                <c:pt idx="1">
                  <c:v>Lorem Ipsum 02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</c:v>
                </c:pt>
                <c:pt idx="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B32-498A-BA96-D0931BA13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CE295E"/>
            </a:solidFill>
            <a:ln>
              <a:noFill/>
            </a:ln>
            <a:effectLst/>
            <a:sp3d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94-4546-A425-5154F1D679D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  <a:sp3d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94-4546-A425-5154F1D679D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  <a:sp3d/>
          </c:spPr>
          <c:invertIfNegative val="0"/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294-4546-A425-5154F1D679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656802872"/>
        <c:axId val="656803856"/>
        <c:axId val="0"/>
      </c:bar3DChart>
      <c:catAx>
        <c:axId val="656802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6803856"/>
        <c:crosses val="autoZero"/>
        <c:auto val="1"/>
        <c:lblAlgn val="ctr"/>
        <c:lblOffset val="100"/>
        <c:noMultiLvlLbl val="0"/>
      </c:catAx>
      <c:valAx>
        <c:axId val="656803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6802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15-4FB2-9A47-7A8B2E07B7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15-4FB2-9A47-7A8B2E07B7A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CE295E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15-4FB2-9A47-7A8B2E07B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45752152"/>
        <c:axId val="445752808"/>
      </c:barChart>
      <c:catAx>
        <c:axId val="4457521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45752808"/>
        <c:crosses val="autoZero"/>
        <c:auto val="1"/>
        <c:lblAlgn val="ctr"/>
        <c:lblOffset val="100"/>
        <c:noMultiLvlLbl val="0"/>
      </c:catAx>
      <c:valAx>
        <c:axId val="4457528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5752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>
                <a:alpha val="80000"/>
              </a:srgbClr>
            </a:solidFill>
            <a:ln cap="rnd">
              <a:noFill/>
              <a:round/>
            </a:ln>
            <a:effectLst/>
          </c:spPr>
          <c:dPt>
            <c:idx val="0"/>
            <c:bubble3D val="0"/>
            <c:spPr>
              <a:solidFill>
                <a:srgbClr val="7F7F7F">
                  <a:alpha val="80000"/>
                </a:srgbClr>
              </a:solidFill>
              <a:ln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4F-4C60-BFE1-0CC7B2CE5587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CB4F-4C60-BFE1-0CC7B2CE558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CB4F-4C60-BFE1-0CC7B2CE5587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7-CB4F-4C60-BFE1-0CC7B2CE5587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9-CB4F-4C60-BFE1-0CC7B2CE5587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B-CB4F-4C60-BFE1-0CC7B2CE5587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D-CB4F-4C60-BFE1-0CC7B2CE5587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F-CB4F-4C60-BFE1-0CC7B2CE5587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11-CB4F-4C60-BFE1-0CC7B2CE5587}"/>
              </c:ext>
            </c:extLst>
          </c:dPt>
          <c:cat>
            <c:numRef>
              <c:f>Sheet1!$A$2:$A$10</c:f>
              <c:numCache>
                <c:formatCode>h:mm\ AM/PM</c:formatCode>
                <c:ptCount val="9"/>
                <c:pt idx="0">
                  <c:v>0.375</c:v>
                </c:pt>
                <c:pt idx="1">
                  <c:v>0.41666666666666669</c:v>
                </c:pt>
                <c:pt idx="2">
                  <c:v>0.45833333333333331</c:v>
                </c:pt>
                <c:pt idx="3">
                  <c:v>0</c:v>
                </c:pt>
                <c:pt idx="4">
                  <c:v>0.54166666666666663</c:v>
                </c:pt>
                <c:pt idx="5">
                  <c:v>0.58333333333333337</c:v>
                </c:pt>
                <c:pt idx="6">
                  <c:v>0.625</c:v>
                </c:pt>
                <c:pt idx="7">
                  <c:v>0.66666666666666663</c:v>
                </c:pt>
                <c:pt idx="8">
                  <c:v>0.70833333333333337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15</c:v>
                </c:pt>
                <c:pt idx="4">
                  <c:v>20</c:v>
                </c:pt>
                <c:pt idx="5">
                  <c:v>40</c:v>
                </c:pt>
                <c:pt idx="6">
                  <c:v>50</c:v>
                </c:pt>
                <c:pt idx="7">
                  <c:v>45</c:v>
                </c:pt>
                <c:pt idx="8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B4F-4C60-BFE1-0CC7B2CE55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404040">
                <a:alpha val="80000"/>
              </a:srgbClr>
            </a:solidFill>
            <a:ln w="25400">
              <a:noFill/>
            </a:ln>
            <a:effectLst/>
          </c:spPr>
          <c:cat>
            <c:numRef>
              <c:f>Sheet1!$A$2:$A$10</c:f>
              <c:numCache>
                <c:formatCode>h:mm\ AM/PM</c:formatCode>
                <c:ptCount val="9"/>
                <c:pt idx="0">
                  <c:v>0.375</c:v>
                </c:pt>
                <c:pt idx="1">
                  <c:v>0.41666666666666669</c:v>
                </c:pt>
                <c:pt idx="2">
                  <c:v>0.45833333333333331</c:v>
                </c:pt>
                <c:pt idx="3">
                  <c:v>0</c:v>
                </c:pt>
                <c:pt idx="4">
                  <c:v>0.54166666666666663</c:v>
                </c:pt>
                <c:pt idx="5">
                  <c:v>0.58333333333333337</c:v>
                </c:pt>
                <c:pt idx="6">
                  <c:v>0.625</c:v>
                </c:pt>
                <c:pt idx="7">
                  <c:v>0.66666666666666663</c:v>
                </c:pt>
                <c:pt idx="8">
                  <c:v>0.70833333333333337</c:v>
                </c:pt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0</c:v>
                </c:pt>
                <c:pt idx="1">
                  <c:v>30</c:v>
                </c:pt>
                <c:pt idx="2">
                  <c:v>15</c:v>
                </c:pt>
                <c:pt idx="3">
                  <c:v>40</c:v>
                </c:pt>
                <c:pt idx="4">
                  <c:v>20</c:v>
                </c:pt>
                <c:pt idx="5">
                  <c:v>35</c:v>
                </c:pt>
                <c:pt idx="6">
                  <c:v>60</c:v>
                </c:pt>
                <c:pt idx="7">
                  <c:v>10</c:v>
                </c:pt>
                <c:pt idx="8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B3E-459A-88E5-8316EF667C9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CE295E">
                <a:alpha val="80000"/>
              </a:srgbClr>
            </a:solidFill>
            <a:ln>
              <a:noFill/>
            </a:ln>
            <a:effectLst/>
          </c:spPr>
          <c:cat>
            <c:numRef>
              <c:f>Sheet1!$A$2:$A$10</c:f>
              <c:numCache>
                <c:formatCode>h:mm\ AM/PM</c:formatCode>
                <c:ptCount val="9"/>
                <c:pt idx="0">
                  <c:v>0.375</c:v>
                </c:pt>
                <c:pt idx="1">
                  <c:v>0.41666666666666669</c:v>
                </c:pt>
                <c:pt idx="2">
                  <c:v>0.45833333333333331</c:v>
                </c:pt>
                <c:pt idx="3">
                  <c:v>0</c:v>
                </c:pt>
                <c:pt idx="4">
                  <c:v>0.54166666666666663</c:v>
                </c:pt>
                <c:pt idx="5">
                  <c:v>0.58333333333333337</c:v>
                </c:pt>
                <c:pt idx="6">
                  <c:v>0.625</c:v>
                </c:pt>
                <c:pt idx="7">
                  <c:v>0.66666666666666663</c:v>
                </c:pt>
                <c:pt idx="8">
                  <c:v>0.70833333333333337</c:v>
                </c:pt>
              </c:numCache>
            </c:numRef>
          </c:cat>
          <c:val>
            <c:numRef>
              <c:f>Sheet1!$D$2:$D$10</c:f>
              <c:numCache>
                <c:formatCode>General</c:formatCode>
                <c:ptCount val="9"/>
                <c:pt idx="0">
                  <c:v>15</c:v>
                </c:pt>
                <c:pt idx="1">
                  <c:v>20</c:v>
                </c:pt>
                <c:pt idx="2">
                  <c:v>25</c:v>
                </c:pt>
                <c:pt idx="3">
                  <c:v>20</c:v>
                </c:pt>
                <c:pt idx="4">
                  <c:v>5</c:v>
                </c:pt>
                <c:pt idx="5">
                  <c:v>25</c:v>
                </c:pt>
                <c:pt idx="6">
                  <c:v>30</c:v>
                </c:pt>
                <c:pt idx="7">
                  <c:v>30</c:v>
                </c:pt>
                <c:pt idx="8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0B3E-459A-88E5-8316EF667C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9149024"/>
        <c:axId val="379151768"/>
      </c:areaChart>
      <c:catAx>
        <c:axId val="379149024"/>
        <c:scaling>
          <c:orientation val="minMax"/>
        </c:scaling>
        <c:delete val="0"/>
        <c:axPos val="b"/>
        <c:numFmt formatCode="h:mm\ AM/PM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9151768"/>
        <c:crosses val="autoZero"/>
        <c:auto val="1"/>
        <c:lblAlgn val="ctr"/>
        <c:lblOffset val="100"/>
        <c:noMultiLvlLbl val="0"/>
      </c:catAx>
      <c:valAx>
        <c:axId val="3791517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9149024"/>
        <c:crosses val="autoZero"/>
        <c:crossBetween val="midCat"/>
      </c:valAx>
      <c:spPr>
        <a:noFill/>
        <a:ln cap="rnd">
          <a:noFill/>
        </a:ln>
        <a:effectLst>
          <a:softEdge rad="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508000" h="508000"/>
              <a:contourClr>
                <a:srgbClr val="000000"/>
              </a:contourClr>
            </a:sp3d>
          </c:spPr>
          <c:dPt>
            <c:idx val="0"/>
            <c:bubble3D val="0"/>
            <c:explosion val="29"/>
            <c:spPr>
              <a:solidFill>
                <a:srgbClr val="7F7F7F"/>
              </a:solidFill>
              <a:ln w="2540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 contourW="25400">
                <a:bevelT w="508000" h="508000"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D95-4723-9A90-04CF9DB6E170}"/>
              </c:ext>
            </c:extLst>
          </c:dPt>
          <c:dPt>
            <c:idx val="1"/>
            <c:bubble3D val="0"/>
            <c:explosion val="14"/>
            <c:spPr>
              <a:solidFill>
                <a:srgbClr val="404040"/>
              </a:solidFill>
              <a:ln w="2540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 contourW="25400">
                <a:bevelT w="508000" h="508000"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4D95-4723-9A90-04CF9DB6E170}"/>
              </c:ext>
            </c:extLst>
          </c:dPt>
          <c:dPt>
            <c:idx val="2"/>
            <c:bubble3D val="0"/>
            <c:explosion val="34"/>
            <c:spPr>
              <a:solidFill>
                <a:srgbClr val="CE295E"/>
              </a:solidFill>
              <a:ln w="2540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 contourW="25400">
                <a:bevelT w="508000" h="508000"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D95-4723-9A90-04CF9DB6E170}"/>
              </c:ext>
            </c:extLst>
          </c:dPt>
          <c:dPt>
            <c:idx val="3"/>
            <c:bubble3D val="0"/>
            <c:spPr>
              <a:solidFill>
                <a:srgbClr val="A6A6A6"/>
              </a:solidFill>
              <a:ln w="2540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 contourW="25400">
                <a:bevelT w="508000" h="508000"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4D95-4723-9A90-04CF9DB6E170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5</c:v>
                </c:pt>
                <c:pt idx="1">
                  <c:v>0.25</c:v>
                </c:pt>
                <c:pt idx="2">
                  <c:v>0.2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95-4723-9A90-04CF9DB6E1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1E6909-83F1-4324-83D2-287D668823ED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29122-58DF-4E14-BE8A-E1ABE85C67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08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firmbee?utm_source=unsplash&amp;utm_medium=referral&amp;utm_content=creditCopyText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arketing-goal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firmbee?utm_source=unsplash&amp;utm_medium=referral&amp;utm_content=creditCopyText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marketing?utm_source=unsplash&amp;utm_medium=referral&amp;utm_content=creditCopyText" TargetMode="External"/><Relationship Id="rId5" Type="http://schemas.openxmlformats.org/officeDocument/2006/relationships/hyperlink" Target="https://unsplash.com/@headwayio?utm_source=unsplash&amp;utm_medium=referral&amp;utm_content=creditCopyText" TargetMode="External"/><Relationship Id="rId4" Type="http://schemas.openxmlformats.org/officeDocument/2006/relationships/hyperlink" Target="https://unsplash.com/s/photos/marketing-goal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firmbee?utm_source=unsplash&amp;utm_medium=referral&amp;utm_content=creditCopyText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arketing-goal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itsharryshelton?utm_source=unsplash&amp;utm_medium=referral&amp;utm_content=creditCopyText" TargetMode="Externa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ilding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raftedbygc?utm_source=unsplash&amp;utm_medium=referral&amp;utm_content=creditCopyText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riting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flo_?utm_source=unsplash&amp;utm_medium=referral&amp;utm_content=creditCopyText" TargetMode="Externa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mpany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mpany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Firmbee.co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C7AC51-8B85-4150-9C6C-D9D71420ABED}" type="slidenum">
              <a:rPr lang="en-ID" smtClean="0"/>
              <a:t>2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331809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Firmbee.co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  <a:p>
            <a:r>
              <a:rPr lang="en-US" dirty="0"/>
              <a:t>Photo by </a:t>
            </a:r>
            <a:r>
              <a:rPr lang="en-US" dirty="0">
                <a:hlinkClick r:id="rId5"/>
              </a:rPr>
              <a:t>Headway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C7AC51-8B85-4150-9C6C-D9D71420ABED}" type="slidenum">
              <a:rPr lang="en-ID" smtClean="0"/>
              <a:t>2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60768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Firmbee.co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C7AC51-8B85-4150-9C6C-D9D71420ABED}" type="slidenum">
              <a:rPr lang="en-ID" smtClean="0"/>
              <a:t>2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78750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Harry Shelt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 </a:t>
            </a:r>
            <a:endParaRPr lang="en-ID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C7AC51-8B85-4150-9C6C-D9D71420ABED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939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Green Chamele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569548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Floriane</a:t>
            </a:r>
            <a:r>
              <a:rPr lang="en-US" dirty="0">
                <a:hlinkClick r:id="rId3"/>
              </a:rPr>
              <a:t> Vit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598521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Dylan Gilli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98574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2527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9232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8320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1602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689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21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497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5459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9039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6810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643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266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139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emf"/><Relationship Id="rId4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microsoft.com/office/2007/relationships/hdphoto" Target="../media/hdphoto3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microsoft.com/office/2007/relationships/hdphoto" Target="../media/hdphoto5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C9681D9-380A-4EAF-91DB-E07432FF9C3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48" b="587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564789-A474-46BE-A2F2-4F27C6E39F3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E70207C-E81D-4E79-9654-07E51237BC3C}"/>
              </a:ext>
            </a:extLst>
          </p:cNvPr>
          <p:cNvSpPr/>
          <p:nvPr/>
        </p:nvSpPr>
        <p:spPr>
          <a:xfrm rot="18900000">
            <a:off x="9999285" y="328273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2C300DA-4EC9-46EA-916D-25BEDAE0F239}"/>
              </a:ext>
            </a:extLst>
          </p:cNvPr>
          <p:cNvSpPr/>
          <p:nvPr/>
        </p:nvSpPr>
        <p:spPr>
          <a:xfrm rot="18900000">
            <a:off x="966781" y="4176660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A111C5-A78D-479B-8C31-7C75D54750E4}"/>
              </a:ext>
            </a:extLst>
          </p:cNvPr>
          <p:cNvSpPr/>
          <p:nvPr/>
        </p:nvSpPr>
        <p:spPr>
          <a:xfrm>
            <a:off x="360470" y="297509"/>
            <a:ext cx="11471060" cy="6262983"/>
          </a:xfrm>
          <a:prstGeom prst="rect">
            <a:avLst/>
          </a:prstGeom>
          <a:noFill/>
          <a:ln>
            <a:solidFill>
              <a:srgbClr val="CE29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907CD1A-2477-48CA-8693-2133EA1C329A}"/>
              </a:ext>
            </a:extLst>
          </p:cNvPr>
          <p:cNvGrpSpPr/>
          <p:nvPr/>
        </p:nvGrpSpPr>
        <p:grpSpPr>
          <a:xfrm>
            <a:off x="4167698" y="1224091"/>
            <a:ext cx="3856603" cy="4409819"/>
            <a:chOff x="4167698" y="1500698"/>
            <a:chExt cx="3856603" cy="4409819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485D1319-7BD4-47DE-B3DF-55B655BB34C4}"/>
                </a:ext>
              </a:extLst>
            </p:cNvPr>
            <p:cNvSpPr/>
            <p:nvPr/>
          </p:nvSpPr>
          <p:spPr>
            <a:xfrm rot="18900000">
              <a:off x="4167698" y="1500698"/>
              <a:ext cx="3856602" cy="3856602"/>
            </a:xfrm>
            <a:prstGeom prst="roundRect">
              <a:avLst>
                <a:gd name="adj" fmla="val 11080"/>
              </a:avLst>
            </a:prstGeom>
            <a:solidFill>
              <a:srgbClr val="CE295E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3A6B26EE-CB0C-4C1C-981C-B7972827533E}"/>
                </a:ext>
              </a:extLst>
            </p:cNvPr>
            <p:cNvSpPr/>
            <p:nvPr/>
          </p:nvSpPr>
          <p:spPr>
            <a:xfrm rot="18900000">
              <a:off x="4167699" y="2053915"/>
              <a:ext cx="3856602" cy="3856602"/>
            </a:xfrm>
            <a:prstGeom prst="roundRect">
              <a:avLst>
                <a:gd name="adj" fmla="val 11080"/>
              </a:avLst>
            </a:prstGeom>
            <a:solidFill>
              <a:srgbClr val="CE295E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AD3AC05-2DFE-4FEA-BD0F-67495472A283}"/>
              </a:ext>
            </a:extLst>
          </p:cNvPr>
          <p:cNvSpPr txBox="1"/>
          <p:nvPr/>
        </p:nvSpPr>
        <p:spPr>
          <a:xfrm>
            <a:off x="4443962" y="3110456"/>
            <a:ext cx="33040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+mj-lt"/>
              </a:rPr>
              <a:t>DASHBOARD</a:t>
            </a:r>
          </a:p>
        </p:txBody>
      </p:sp>
      <p:sp>
        <p:nvSpPr>
          <p:cNvPr id="18" name="Freeform 29">
            <a:extLst>
              <a:ext uri="{FF2B5EF4-FFF2-40B4-BE49-F238E27FC236}">
                <a16:creationId xmlns:a16="http://schemas.microsoft.com/office/drawing/2014/main" id="{67C7320D-C0D5-4F16-AE9B-39B0CB6441BC}"/>
              </a:ext>
            </a:extLst>
          </p:cNvPr>
          <p:cNvSpPr>
            <a:spLocks noEditPoints="1"/>
          </p:cNvSpPr>
          <p:nvPr/>
        </p:nvSpPr>
        <p:spPr bwMode="auto">
          <a:xfrm>
            <a:off x="5819775" y="2655893"/>
            <a:ext cx="552450" cy="394256"/>
          </a:xfrm>
          <a:custGeom>
            <a:avLst/>
            <a:gdLst>
              <a:gd name="T0" fmla="*/ 0 w 96"/>
              <a:gd name="T1" fmla="*/ 48 h 68"/>
              <a:gd name="T2" fmla="*/ 2 w 96"/>
              <a:gd name="T3" fmla="*/ 68 h 68"/>
              <a:gd name="T4" fmla="*/ 96 w 96"/>
              <a:gd name="T5" fmla="*/ 66 h 68"/>
              <a:gd name="T6" fmla="*/ 48 w 96"/>
              <a:gd name="T7" fmla="*/ 0 h 68"/>
              <a:gd name="T8" fmla="*/ 61 w 96"/>
              <a:gd name="T9" fmla="*/ 12 h 68"/>
              <a:gd name="T10" fmla="*/ 64 w 96"/>
              <a:gd name="T11" fmla="*/ 14 h 68"/>
              <a:gd name="T12" fmla="*/ 59 w 96"/>
              <a:gd name="T13" fmla="*/ 22 h 68"/>
              <a:gd name="T14" fmla="*/ 58 w 96"/>
              <a:gd name="T15" fmla="*/ 19 h 68"/>
              <a:gd name="T16" fmla="*/ 48 w 96"/>
              <a:gd name="T17" fmla="*/ 8 h 68"/>
              <a:gd name="T18" fmla="*/ 50 w 96"/>
              <a:gd name="T19" fmla="*/ 18 h 68"/>
              <a:gd name="T20" fmla="*/ 46 w 96"/>
              <a:gd name="T21" fmla="*/ 18 h 68"/>
              <a:gd name="T22" fmla="*/ 18 w 96"/>
              <a:gd name="T23" fmla="*/ 52 h 68"/>
              <a:gd name="T24" fmla="*/ 8 w 96"/>
              <a:gd name="T25" fmla="*/ 50 h 68"/>
              <a:gd name="T26" fmla="*/ 18 w 96"/>
              <a:gd name="T27" fmla="*/ 48 h 68"/>
              <a:gd name="T28" fmla="*/ 18 w 96"/>
              <a:gd name="T29" fmla="*/ 52 h 68"/>
              <a:gd name="T30" fmla="*/ 20 w 96"/>
              <a:gd name="T31" fmla="*/ 38 h 68"/>
              <a:gd name="T32" fmla="*/ 12 w 96"/>
              <a:gd name="T33" fmla="*/ 35 h 68"/>
              <a:gd name="T34" fmla="*/ 14 w 96"/>
              <a:gd name="T35" fmla="*/ 31 h 68"/>
              <a:gd name="T36" fmla="*/ 22 w 96"/>
              <a:gd name="T37" fmla="*/ 37 h 68"/>
              <a:gd name="T38" fmla="*/ 27 w 96"/>
              <a:gd name="T39" fmla="*/ 29 h 68"/>
              <a:gd name="T40" fmla="*/ 20 w 96"/>
              <a:gd name="T41" fmla="*/ 22 h 68"/>
              <a:gd name="T42" fmla="*/ 23 w 96"/>
              <a:gd name="T43" fmla="*/ 20 h 68"/>
              <a:gd name="T44" fmla="*/ 28 w 96"/>
              <a:gd name="T45" fmla="*/ 28 h 68"/>
              <a:gd name="T46" fmla="*/ 37 w 96"/>
              <a:gd name="T47" fmla="*/ 22 h 68"/>
              <a:gd name="T48" fmla="*/ 32 w 96"/>
              <a:gd name="T49" fmla="*/ 14 h 68"/>
              <a:gd name="T50" fmla="*/ 35 w 96"/>
              <a:gd name="T51" fmla="*/ 12 h 68"/>
              <a:gd name="T52" fmla="*/ 37 w 96"/>
              <a:gd name="T53" fmla="*/ 22 h 68"/>
              <a:gd name="T54" fmla="*/ 48 w 96"/>
              <a:gd name="T55" fmla="*/ 56 h 68"/>
              <a:gd name="T56" fmla="*/ 48 w 96"/>
              <a:gd name="T57" fmla="*/ 40 h 68"/>
              <a:gd name="T58" fmla="*/ 71 w 96"/>
              <a:gd name="T59" fmla="*/ 22 h 68"/>
              <a:gd name="T60" fmla="*/ 73 w 96"/>
              <a:gd name="T61" fmla="*/ 25 h 68"/>
              <a:gd name="T62" fmla="*/ 56 w 96"/>
              <a:gd name="T63" fmla="*/ 48 h 68"/>
              <a:gd name="T64" fmla="*/ 75 w 96"/>
              <a:gd name="T65" fmla="*/ 35 h 68"/>
              <a:gd name="T66" fmla="*/ 85 w 96"/>
              <a:gd name="T67" fmla="*/ 33 h 68"/>
              <a:gd name="T68" fmla="*/ 76 w 96"/>
              <a:gd name="T69" fmla="*/ 38 h 68"/>
              <a:gd name="T70" fmla="*/ 74 w 96"/>
              <a:gd name="T71" fmla="*/ 37 h 68"/>
              <a:gd name="T72" fmla="*/ 86 w 96"/>
              <a:gd name="T73" fmla="*/ 52 h 68"/>
              <a:gd name="T74" fmla="*/ 76 w 96"/>
              <a:gd name="T75" fmla="*/ 50 h 68"/>
              <a:gd name="T76" fmla="*/ 78 w 96"/>
              <a:gd name="T77" fmla="*/ 48 h 68"/>
              <a:gd name="T78" fmla="*/ 88 w 96"/>
              <a:gd name="T79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6" h="68">
                <a:moveTo>
                  <a:pt x="48" y="0"/>
                </a:moveTo>
                <a:cubicBezTo>
                  <a:pt x="22" y="0"/>
                  <a:pt x="0" y="21"/>
                  <a:pt x="0" y="4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1"/>
                  <a:pt x="74" y="0"/>
                  <a:pt x="48" y="0"/>
                </a:cubicBezTo>
                <a:close/>
                <a:moveTo>
                  <a:pt x="58" y="19"/>
                </a:moveTo>
                <a:cubicBezTo>
                  <a:pt x="61" y="12"/>
                  <a:pt x="61" y="12"/>
                  <a:pt x="61" y="12"/>
                </a:cubicBezTo>
                <a:cubicBezTo>
                  <a:pt x="61" y="11"/>
                  <a:pt x="62" y="10"/>
                  <a:pt x="63" y="11"/>
                </a:cubicBezTo>
                <a:cubicBezTo>
                  <a:pt x="64" y="11"/>
                  <a:pt x="65" y="12"/>
                  <a:pt x="64" y="14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0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8" y="22"/>
                  <a:pt x="57" y="20"/>
                  <a:pt x="58" y="19"/>
                </a:cubicBezTo>
                <a:close/>
                <a:moveTo>
                  <a:pt x="46" y="10"/>
                </a:move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9"/>
                  <a:pt x="49" y="20"/>
                  <a:pt x="48" y="20"/>
                </a:cubicBezTo>
                <a:cubicBezTo>
                  <a:pt x="47" y="20"/>
                  <a:pt x="46" y="19"/>
                  <a:pt x="46" y="18"/>
                </a:cubicBezTo>
                <a:lnTo>
                  <a:pt x="46" y="10"/>
                </a:lnTo>
                <a:close/>
                <a:moveTo>
                  <a:pt x="18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8" y="51"/>
                  <a:pt x="8" y="50"/>
                </a:cubicBezTo>
                <a:cubicBezTo>
                  <a:pt x="8" y="49"/>
                  <a:pt x="9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9" y="48"/>
                  <a:pt x="20" y="49"/>
                  <a:pt x="20" y="50"/>
                </a:cubicBezTo>
                <a:cubicBezTo>
                  <a:pt x="20" y="51"/>
                  <a:pt x="19" y="52"/>
                  <a:pt x="18" y="52"/>
                </a:cubicBezTo>
                <a:close/>
                <a:moveTo>
                  <a:pt x="22" y="37"/>
                </a:moveTo>
                <a:cubicBezTo>
                  <a:pt x="22" y="38"/>
                  <a:pt x="21" y="38"/>
                  <a:pt x="20" y="38"/>
                </a:cubicBezTo>
                <a:cubicBezTo>
                  <a:pt x="20" y="38"/>
                  <a:pt x="20" y="38"/>
                  <a:pt x="20" y="38"/>
                </a:cubicBezTo>
                <a:cubicBezTo>
                  <a:pt x="12" y="35"/>
                  <a:pt x="12" y="35"/>
                  <a:pt x="12" y="35"/>
                </a:cubicBezTo>
                <a:cubicBezTo>
                  <a:pt x="11" y="35"/>
                  <a:pt x="11" y="34"/>
                  <a:pt x="11" y="33"/>
                </a:cubicBezTo>
                <a:cubicBezTo>
                  <a:pt x="11" y="32"/>
                  <a:pt x="13" y="31"/>
                  <a:pt x="14" y="31"/>
                </a:cubicBezTo>
                <a:cubicBezTo>
                  <a:pt x="21" y="35"/>
                  <a:pt x="21" y="35"/>
                  <a:pt x="21" y="35"/>
                </a:cubicBezTo>
                <a:cubicBezTo>
                  <a:pt x="22" y="35"/>
                  <a:pt x="23" y="36"/>
                  <a:pt x="22" y="37"/>
                </a:cubicBezTo>
                <a:close/>
                <a:moveTo>
                  <a:pt x="28" y="28"/>
                </a:moveTo>
                <a:cubicBezTo>
                  <a:pt x="28" y="28"/>
                  <a:pt x="27" y="29"/>
                  <a:pt x="27" y="29"/>
                </a:cubicBezTo>
                <a:cubicBezTo>
                  <a:pt x="26" y="29"/>
                  <a:pt x="26" y="28"/>
                  <a:pt x="25" y="28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2"/>
                  <a:pt x="19" y="20"/>
                  <a:pt x="20" y="20"/>
                </a:cubicBezTo>
                <a:cubicBezTo>
                  <a:pt x="21" y="19"/>
                  <a:pt x="22" y="19"/>
                  <a:pt x="23" y="20"/>
                </a:cubicBezTo>
                <a:cubicBezTo>
                  <a:pt x="28" y="25"/>
                  <a:pt x="28" y="25"/>
                  <a:pt x="28" y="25"/>
                </a:cubicBezTo>
                <a:cubicBezTo>
                  <a:pt x="29" y="26"/>
                  <a:pt x="29" y="27"/>
                  <a:pt x="28" y="28"/>
                </a:cubicBezTo>
                <a:close/>
                <a:moveTo>
                  <a:pt x="37" y="22"/>
                </a:moveTo>
                <a:cubicBezTo>
                  <a:pt x="37" y="22"/>
                  <a:pt x="37" y="22"/>
                  <a:pt x="37" y="22"/>
                </a:cubicBezTo>
                <a:cubicBezTo>
                  <a:pt x="36" y="22"/>
                  <a:pt x="35" y="22"/>
                  <a:pt x="35" y="21"/>
                </a:cubicBezTo>
                <a:cubicBezTo>
                  <a:pt x="32" y="14"/>
                  <a:pt x="32" y="14"/>
                  <a:pt x="32" y="14"/>
                </a:cubicBezTo>
                <a:cubicBezTo>
                  <a:pt x="31" y="12"/>
                  <a:pt x="32" y="11"/>
                  <a:pt x="33" y="11"/>
                </a:cubicBezTo>
                <a:cubicBezTo>
                  <a:pt x="34" y="10"/>
                  <a:pt x="35" y="11"/>
                  <a:pt x="35" y="12"/>
                </a:cubicBezTo>
                <a:cubicBezTo>
                  <a:pt x="38" y="19"/>
                  <a:pt x="38" y="19"/>
                  <a:pt x="38" y="19"/>
                </a:cubicBezTo>
                <a:cubicBezTo>
                  <a:pt x="39" y="20"/>
                  <a:pt x="38" y="22"/>
                  <a:pt x="37" y="22"/>
                </a:cubicBezTo>
                <a:close/>
                <a:moveTo>
                  <a:pt x="56" y="48"/>
                </a:moveTo>
                <a:cubicBezTo>
                  <a:pt x="56" y="52"/>
                  <a:pt x="52" y="56"/>
                  <a:pt x="48" y="56"/>
                </a:cubicBezTo>
                <a:cubicBezTo>
                  <a:pt x="44" y="56"/>
                  <a:pt x="40" y="52"/>
                  <a:pt x="40" y="48"/>
                </a:cubicBezTo>
                <a:cubicBezTo>
                  <a:pt x="40" y="43"/>
                  <a:pt x="44" y="40"/>
                  <a:pt x="48" y="40"/>
                </a:cubicBezTo>
                <a:cubicBezTo>
                  <a:pt x="49" y="40"/>
                  <a:pt x="51" y="40"/>
                  <a:pt x="52" y="41"/>
                </a:cubicBezTo>
                <a:cubicBezTo>
                  <a:pt x="71" y="22"/>
                  <a:pt x="71" y="22"/>
                  <a:pt x="71" y="22"/>
                </a:cubicBezTo>
                <a:cubicBezTo>
                  <a:pt x="71" y="22"/>
                  <a:pt x="73" y="22"/>
                  <a:pt x="73" y="22"/>
                </a:cubicBezTo>
                <a:cubicBezTo>
                  <a:pt x="74" y="23"/>
                  <a:pt x="74" y="24"/>
                  <a:pt x="73" y="25"/>
                </a:cubicBezTo>
                <a:cubicBezTo>
                  <a:pt x="55" y="44"/>
                  <a:pt x="55" y="44"/>
                  <a:pt x="55" y="44"/>
                </a:cubicBezTo>
                <a:cubicBezTo>
                  <a:pt x="56" y="45"/>
                  <a:pt x="56" y="46"/>
                  <a:pt x="56" y="48"/>
                </a:cubicBezTo>
                <a:close/>
                <a:moveTo>
                  <a:pt x="74" y="37"/>
                </a:moveTo>
                <a:cubicBezTo>
                  <a:pt x="73" y="36"/>
                  <a:pt x="74" y="35"/>
                  <a:pt x="75" y="35"/>
                </a:cubicBezTo>
                <a:cubicBezTo>
                  <a:pt x="82" y="31"/>
                  <a:pt x="82" y="31"/>
                  <a:pt x="82" y="31"/>
                </a:cubicBezTo>
                <a:cubicBezTo>
                  <a:pt x="83" y="31"/>
                  <a:pt x="85" y="32"/>
                  <a:pt x="85" y="33"/>
                </a:cubicBezTo>
                <a:cubicBezTo>
                  <a:pt x="85" y="34"/>
                  <a:pt x="85" y="35"/>
                  <a:pt x="84" y="35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5" y="38"/>
                  <a:pt x="74" y="38"/>
                  <a:pt x="74" y="37"/>
                </a:cubicBezTo>
                <a:close/>
                <a:moveTo>
                  <a:pt x="86" y="52"/>
                </a:moveTo>
                <a:cubicBezTo>
                  <a:pt x="86" y="52"/>
                  <a:pt x="86" y="52"/>
                  <a:pt x="86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7" y="52"/>
                  <a:pt x="76" y="51"/>
                  <a:pt x="76" y="50"/>
                </a:cubicBezTo>
                <a:cubicBezTo>
                  <a:pt x="76" y="49"/>
                  <a:pt x="77" y="48"/>
                  <a:pt x="78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7" y="48"/>
                  <a:pt x="88" y="49"/>
                  <a:pt x="88" y="50"/>
                </a:cubicBezTo>
                <a:cubicBezTo>
                  <a:pt x="88" y="51"/>
                  <a:pt x="87" y="52"/>
                  <a:pt x="8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CC445D-99BF-4BD6-A87A-9AB46C82F7C1}"/>
              </a:ext>
            </a:extLst>
          </p:cNvPr>
          <p:cNvSpPr txBox="1"/>
          <p:nvPr/>
        </p:nvSpPr>
        <p:spPr>
          <a:xfrm>
            <a:off x="3524250" y="3679109"/>
            <a:ext cx="514350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- PowerPoint Presentation -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4457E54-1FC4-4040-9DF5-1D27FD6BBD8C}"/>
              </a:ext>
            </a:extLst>
          </p:cNvPr>
          <p:cNvSpPr/>
          <p:nvPr/>
        </p:nvSpPr>
        <p:spPr>
          <a:xfrm rot="18900000">
            <a:off x="-6742765" y="-1434593"/>
            <a:ext cx="3681702" cy="3681702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1FF3AA5-65B8-4250-9FA5-E730BA5D93C8}"/>
              </a:ext>
            </a:extLst>
          </p:cNvPr>
          <p:cNvSpPr/>
          <p:nvPr/>
        </p:nvSpPr>
        <p:spPr>
          <a:xfrm>
            <a:off x="9593942" y="5808574"/>
            <a:ext cx="2293258" cy="1049426"/>
          </a:xfrm>
          <a:custGeom>
            <a:avLst/>
            <a:gdLst>
              <a:gd name="connsiteX0" fmla="*/ 1146629 w 2293258"/>
              <a:gd name="connsiteY0" fmla="*/ 0 h 1049426"/>
              <a:gd name="connsiteX1" fmla="*/ 1312564 w 2293258"/>
              <a:gd name="connsiteY1" fmla="*/ 68733 h 1049426"/>
              <a:gd name="connsiteX2" fmla="*/ 2293258 w 2293258"/>
              <a:gd name="connsiteY2" fmla="*/ 1049426 h 1049426"/>
              <a:gd name="connsiteX3" fmla="*/ 0 w 2293258"/>
              <a:gd name="connsiteY3" fmla="*/ 1049426 h 1049426"/>
              <a:gd name="connsiteX4" fmla="*/ 980694 w 2293258"/>
              <a:gd name="connsiteY4" fmla="*/ 68733 h 1049426"/>
              <a:gd name="connsiteX5" fmla="*/ 1146629 w 2293258"/>
              <a:gd name="connsiteY5" fmla="*/ 0 h 104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3258" h="1049426">
                <a:moveTo>
                  <a:pt x="1146629" y="0"/>
                </a:moveTo>
                <a:cubicBezTo>
                  <a:pt x="1206686" y="0"/>
                  <a:pt x="1266742" y="22911"/>
                  <a:pt x="1312564" y="68733"/>
                </a:cubicBezTo>
                <a:lnTo>
                  <a:pt x="2293258" y="1049426"/>
                </a:lnTo>
                <a:lnTo>
                  <a:pt x="0" y="1049426"/>
                </a:lnTo>
                <a:lnTo>
                  <a:pt x="980694" y="68733"/>
                </a:lnTo>
                <a:cubicBezTo>
                  <a:pt x="1026516" y="22911"/>
                  <a:pt x="1086572" y="0"/>
                  <a:pt x="1146629" y="0"/>
                </a:cubicBez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BCCD400-5AC0-46BA-AF0D-532EA062DDFE}"/>
              </a:ext>
            </a:extLst>
          </p:cNvPr>
          <p:cNvSpPr/>
          <p:nvPr/>
        </p:nvSpPr>
        <p:spPr>
          <a:xfrm>
            <a:off x="0" y="0"/>
            <a:ext cx="2739184" cy="2840643"/>
          </a:xfrm>
          <a:custGeom>
            <a:avLst/>
            <a:gdLst>
              <a:gd name="connsiteX0" fmla="*/ 0 w 2739184"/>
              <a:gd name="connsiteY0" fmla="*/ 0 h 2840643"/>
              <a:gd name="connsiteX1" fmla="*/ 2501897 w 2739184"/>
              <a:gd name="connsiteY1" fmla="*/ 0 h 2840643"/>
              <a:gd name="connsiteX2" fmla="*/ 2619703 w 2739184"/>
              <a:gd name="connsiteY2" fmla="*/ 117806 h 2840643"/>
              <a:gd name="connsiteX3" fmla="*/ 2619703 w 2739184"/>
              <a:gd name="connsiteY3" fmla="*/ 694710 h 2840643"/>
              <a:gd name="connsiteX4" fmla="*/ 593251 w 2739184"/>
              <a:gd name="connsiteY4" fmla="*/ 2721162 h 2840643"/>
              <a:gd name="connsiteX5" fmla="*/ 16347 w 2739184"/>
              <a:gd name="connsiteY5" fmla="*/ 2721162 h 2840643"/>
              <a:gd name="connsiteX6" fmla="*/ 0 w 2739184"/>
              <a:gd name="connsiteY6" fmla="*/ 2704815 h 2840643"/>
              <a:gd name="connsiteX7" fmla="*/ 0 w 2739184"/>
              <a:gd name="connsiteY7" fmla="*/ 0 h 284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39184" h="2840643">
                <a:moveTo>
                  <a:pt x="0" y="0"/>
                </a:moveTo>
                <a:lnTo>
                  <a:pt x="2501897" y="0"/>
                </a:lnTo>
                <a:lnTo>
                  <a:pt x="2619703" y="117806"/>
                </a:lnTo>
                <a:cubicBezTo>
                  <a:pt x="2779011" y="277113"/>
                  <a:pt x="2779011" y="535403"/>
                  <a:pt x="2619703" y="694710"/>
                </a:cubicBezTo>
                <a:lnTo>
                  <a:pt x="593251" y="2721162"/>
                </a:lnTo>
                <a:cubicBezTo>
                  <a:pt x="433944" y="2880470"/>
                  <a:pt x="175654" y="2880470"/>
                  <a:pt x="16347" y="2721162"/>
                </a:cubicBezTo>
                <a:lnTo>
                  <a:pt x="0" y="2704815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940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C9681D9-380A-4EAF-91DB-E07432FF9C3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47" t="9748" r="23853" b="5877"/>
          <a:stretch/>
        </p:blipFill>
        <p:spPr>
          <a:xfrm>
            <a:off x="3048000" y="1"/>
            <a:ext cx="6096000" cy="6857999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564789-A474-46BE-A2F2-4F27C6E39F3F}"/>
              </a:ext>
            </a:extLst>
          </p:cNvPr>
          <p:cNvSpPr/>
          <p:nvPr/>
        </p:nvSpPr>
        <p:spPr>
          <a:xfrm>
            <a:off x="3048000" y="0"/>
            <a:ext cx="609600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85D1319-7BD4-47DE-B3DF-55B655BB34C4}"/>
              </a:ext>
            </a:extLst>
          </p:cNvPr>
          <p:cNvSpPr/>
          <p:nvPr/>
        </p:nvSpPr>
        <p:spPr>
          <a:xfrm rot="18900000">
            <a:off x="4167699" y="1500699"/>
            <a:ext cx="3856602" cy="3856602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D3AC05-2DFE-4FEA-BD0F-67495472A283}"/>
              </a:ext>
            </a:extLst>
          </p:cNvPr>
          <p:cNvSpPr txBox="1"/>
          <p:nvPr/>
        </p:nvSpPr>
        <p:spPr>
          <a:xfrm>
            <a:off x="4443963" y="2274840"/>
            <a:ext cx="3304076" cy="230832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bg1"/>
                </a:solidFill>
                <a:latin typeface="+mj-lt"/>
              </a:rPr>
              <a:t>THANK YO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DE650A-484A-4B1F-81B3-5F644EC5CD1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690" t="44951" r="29720" b="44305"/>
          <a:stretch/>
        </p:blipFill>
        <p:spPr>
          <a:xfrm>
            <a:off x="5471887" y="4806358"/>
            <a:ext cx="1248228" cy="39543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2C300DA-4EC9-46EA-916D-25BEDAE0F239}"/>
              </a:ext>
            </a:extLst>
          </p:cNvPr>
          <p:cNvSpPr/>
          <p:nvPr/>
        </p:nvSpPr>
        <p:spPr>
          <a:xfrm rot="18900000">
            <a:off x="3681074" y="4409266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8DED9FB-5603-488F-827B-05F43B91C25A}"/>
              </a:ext>
            </a:extLst>
          </p:cNvPr>
          <p:cNvSpPr/>
          <p:nvPr/>
        </p:nvSpPr>
        <p:spPr>
          <a:xfrm rot="18900000">
            <a:off x="5424287" y="621132"/>
            <a:ext cx="1343428" cy="1343428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AA70618-CDC0-4C13-8EE9-54ABCDECF7CC}"/>
              </a:ext>
            </a:extLst>
          </p:cNvPr>
          <p:cNvSpPr/>
          <p:nvPr/>
        </p:nvSpPr>
        <p:spPr>
          <a:xfrm>
            <a:off x="6699988" y="5809950"/>
            <a:ext cx="2096100" cy="1048050"/>
          </a:xfrm>
          <a:custGeom>
            <a:avLst/>
            <a:gdLst>
              <a:gd name="connsiteX0" fmla="*/ 1048050 w 2096100"/>
              <a:gd name="connsiteY0" fmla="*/ 0 h 1048050"/>
              <a:gd name="connsiteX1" fmla="*/ 1172234 w 2096100"/>
              <a:gd name="connsiteY1" fmla="*/ 51439 h 1048050"/>
              <a:gd name="connsiteX2" fmla="*/ 2044661 w 2096100"/>
              <a:gd name="connsiteY2" fmla="*/ 923866 h 1048050"/>
              <a:gd name="connsiteX3" fmla="*/ 2096100 w 2096100"/>
              <a:gd name="connsiteY3" fmla="*/ 1048050 h 1048050"/>
              <a:gd name="connsiteX4" fmla="*/ 0 w 2096100"/>
              <a:gd name="connsiteY4" fmla="*/ 1048050 h 1048050"/>
              <a:gd name="connsiteX5" fmla="*/ 51439 w 2096100"/>
              <a:gd name="connsiteY5" fmla="*/ 923866 h 1048050"/>
              <a:gd name="connsiteX6" fmla="*/ 923866 w 2096100"/>
              <a:gd name="connsiteY6" fmla="*/ 51439 h 1048050"/>
              <a:gd name="connsiteX7" fmla="*/ 1048050 w 2096100"/>
              <a:gd name="connsiteY7" fmla="*/ 0 h 1048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6100" h="1048050">
                <a:moveTo>
                  <a:pt x="1048050" y="0"/>
                </a:moveTo>
                <a:cubicBezTo>
                  <a:pt x="1092996" y="0"/>
                  <a:pt x="1137942" y="17146"/>
                  <a:pt x="1172234" y="51439"/>
                </a:cubicBezTo>
                <a:lnTo>
                  <a:pt x="2044661" y="923866"/>
                </a:lnTo>
                <a:cubicBezTo>
                  <a:pt x="2078954" y="958158"/>
                  <a:pt x="2096100" y="1003104"/>
                  <a:pt x="2096100" y="1048050"/>
                </a:cubicBezTo>
                <a:lnTo>
                  <a:pt x="0" y="1048050"/>
                </a:lnTo>
                <a:cubicBezTo>
                  <a:pt x="0" y="1003104"/>
                  <a:pt x="17147" y="958158"/>
                  <a:pt x="51439" y="923866"/>
                </a:cubicBezTo>
                <a:lnTo>
                  <a:pt x="923866" y="51439"/>
                </a:lnTo>
                <a:cubicBezTo>
                  <a:pt x="958159" y="17146"/>
                  <a:pt x="1003104" y="0"/>
                  <a:pt x="1048050" y="0"/>
                </a:cubicBez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0765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431800" y="191214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TAB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A22ABB57-F0EC-4286-B1AC-36841ACD99BD}" type="datetime1">
              <a:rPr lang="en-US" smtClean="0"/>
              <a:t>4/7/2024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794E2DD-4F38-4D2A-97E5-5D7467AA1DEC}" type="slidenum">
              <a:rPr lang="en-US" smtClean="0"/>
              <a:t>11</a:t>
            </a:fld>
            <a:endParaRPr lang="en-US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EBB3C1F1-DF07-4C8A-AEA1-38BF40813A1F}"/>
              </a:ext>
            </a:extLst>
          </p:cNvPr>
          <p:cNvGraphicFramePr>
            <a:graphicFrameLocks noGrp="1"/>
          </p:cNvGraphicFramePr>
          <p:nvPr/>
        </p:nvGraphicFramePr>
        <p:xfrm>
          <a:off x="514350" y="1209776"/>
          <a:ext cx="11163300" cy="40226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2660">
                  <a:extLst>
                    <a:ext uri="{9D8B030D-6E8A-4147-A177-3AD203B41FA5}">
                      <a16:colId xmlns:a16="http://schemas.microsoft.com/office/drawing/2014/main" val="2564411398"/>
                    </a:ext>
                  </a:extLst>
                </a:gridCol>
                <a:gridCol w="2232660">
                  <a:extLst>
                    <a:ext uri="{9D8B030D-6E8A-4147-A177-3AD203B41FA5}">
                      <a16:colId xmlns:a16="http://schemas.microsoft.com/office/drawing/2014/main" val="2851696159"/>
                    </a:ext>
                  </a:extLst>
                </a:gridCol>
                <a:gridCol w="2232660">
                  <a:extLst>
                    <a:ext uri="{9D8B030D-6E8A-4147-A177-3AD203B41FA5}">
                      <a16:colId xmlns:a16="http://schemas.microsoft.com/office/drawing/2014/main" val="1005280288"/>
                    </a:ext>
                  </a:extLst>
                </a:gridCol>
                <a:gridCol w="2232660">
                  <a:extLst>
                    <a:ext uri="{9D8B030D-6E8A-4147-A177-3AD203B41FA5}">
                      <a16:colId xmlns:a16="http://schemas.microsoft.com/office/drawing/2014/main" val="796509677"/>
                    </a:ext>
                  </a:extLst>
                </a:gridCol>
                <a:gridCol w="2232660">
                  <a:extLst>
                    <a:ext uri="{9D8B030D-6E8A-4147-A177-3AD203B41FA5}">
                      <a16:colId xmlns:a16="http://schemas.microsoft.com/office/drawing/2014/main" val="576146675"/>
                    </a:ext>
                  </a:extLst>
                </a:gridCol>
              </a:tblGrid>
              <a:tr h="670437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ption 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ption 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ption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ption 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8385598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Lorem Ipsum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516819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Lorem Ipsum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273471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Lorem Ipsum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212300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Lorem Ipsum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374459"/>
                  </a:ext>
                </a:extLst>
              </a:tr>
              <a:tr h="6704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Lorem Ipsum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1948398"/>
                  </a:ext>
                </a:extLst>
              </a:tr>
            </a:tbl>
          </a:graphicData>
        </a:graphic>
      </p:graphicFrame>
      <p:sp>
        <p:nvSpPr>
          <p:cNvPr id="16" name="Freeform 1669">
            <a:extLst>
              <a:ext uri="{FF2B5EF4-FFF2-40B4-BE49-F238E27FC236}">
                <a16:creationId xmlns:a16="http://schemas.microsoft.com/office/drawing/2014/main" id="{52F0F9CD-6718-4B93-941A-2DB7778928E6}"/>
              </a:ext>
            </a:extLst>
          </p:cNvPr>
          <p:cNvSpPr>
            <a:spLocks noEditPoints="1"/>
          </p:cNvSpPr>
          <p:nvPr/>
        </p:nvSpPr>
        <p:spPr bwMode="auto">
          <a:xfrm>
            <a:off x="3694113" y="2075110"/>
            <a:ext cx="285750" cy="285750"/>
          </a:xfrm>
          <a:custGeom>
            <a:avLst/>
            <a:gdLst>
              <a:gd name="T0" fmla="*/ 519 w 719"/>
              <a:gd name="T1" fmla="*/ 263 h 719"/>
              <a:gd name="T2" fmla="*/ 292 w 719"/>
              <a:gd name="T3" fmla="*/ 475 h 719"/>
              <a:gd name="T4" fmla="*/ 289 w 719"/>
              <a:gd name="T5" fmla="*/ 477 h 719"/>
              <a:gd name="T6" fmla="*/ 284 w 719"/>
              <a:gd name="T7" fmla="*/ 479 h 719"/>
              <a:gd name="T8" fmla="*/ 280 w 719"/>
              <a:gd name="T9" fmla="*/ 477 h 719"/>
              <a:gd name="T10" fmla="*/ 275 w 719"/>
              <a:gd name="T11" fmla="*/ 475 h 719"/>
              <a:gd name="T12" fmla="*/ 200 w 719"/>
              <a:gd name="T13" fmla="*/ 400 h 719"/>
              <a:gd name="T14" fmla="*/ 198 w 719"/>
              <a:gd name="T15" fmla="*/ 396 h 719"/>
              <a:gd name="T16" fmla="*/ 197 w 719"/>
              <a:gd name="T17" fmla="*/ 391 h 719"/>
              <a:gd name="T18" fmla="*/ 198 w 719"/>
              <a:gd name="T19" fmla="*/ 387 h 719"/>
              <a:gd name="T20" fmla="*/ 200 w 719"/>
              <a:gd name="T21" fmla="*/ 382 h 719"/>
              <a:gd name="T22" fmla="*/ 205 w 719"/>
              <a:gd name="T23" fmla="*/ 380 h 719"/>
              <a:gd name="T24" fmla="*/ 209 w 719"/>
              <a:gd name="T25" fmla="*/ 379 h 719"/>
              <a:gd name="T26" fmla="*/ 213 w 719"/>
              <a:gd name="T27" fmla="*/ 380 h 719"/>
              <a:gd name="T28" fmla="*/ 217 w 719"/>
              <a:gd name="T29" fmla="*/ 382 h 719"/>
              <a:gd name="T30" fmla="*/ 284 w 719"/>
              <a:gd name="T31" fmla="*/ 450 h 719"/>
              <a:gd name="T32" fmla="*/ 503 w 719"/>
              <a:gd name="T33" fmla="*/ 247 h 719"/>
              <a:gd name="T34" fmla="*/ 507 w 719"/>
              <a:gd name="T35" fmla="*/ 243 h 719"/>
              <a:gd name="T36" fmla="*/ 512 w 719"/>
              <a:gd name="T37" fmla="*/ 243 h 719"/>
              <a:gd name="T38" fmla="*/ 516 w 719"/>
              <a:gd name="T39" fmla="*/ 243 h 719"/>
              <a:gd name="T40" fmla="*/ 519 w 719"/>
              <a:gd name="T41" fmla="*/ 247 h 719"/>
              <a:gd name="T42" fmla="*/ 522 w 719"/>
              <a:gd name="T43" fmla="*/ 251 h 719"/>
              <a:gd name="T44" fmla="*/ 523 w 719"/>
              <a:gd name="T45" fmla="*/ 255 h 719"/>
              <a:gd name="T46" fmla="*/ 522 w 719"/>
              <a:gd name="T47" fmla="*/ 260 h 719"/>
              <a:gd name="T48" fmla="*/ 519 w 719"/>
              <a:gd name="T49" fmla="*/ 263 h 719"/>
              <a:gd name="T50" fmla="*/ 707 w 719"/>
              <a:gd name="T51" fmla="*/ 0 h 719"/>
              <a:gd name="T52" fmla="*/ 12 w 719"/>
              <a:gd name="T53" fmla="*/ 0 h 719"/>
              <a:gd name="T54" fmla="*/ 8 w 719"/>
              <a:gd name="T55" fmla="*/ 2 h 719"/>
              <a:gd name="T56" fmla="*/ 4 w 719"/>
              <a:gd name="T57" fmla="*/ 5 h 719"/>
              <a:gd name="T58" fmla="*/ 1 w 719"/>
              <a:gd name="T59" fmla="*/ 8 h 719"/>
              <a:gd name="T60" fmla="*/ 0 w 719"/>
              <a:gd name="T61" fmla="*/ 13 h 719"/>
              <a:gd name="T62" fmla="*/ 0 w 719"/>
              <a:gd name="T63" fmla="*/ 707 h 719"/>
              <a:gd name="T64" fmla="*/ 1 w 719"/>
              <a:gd name="T65" fmla="*/ 713 h 719"/>
              <a:gd name="T66" fmla="*/ 4 w 719"/>
              <a:gd name="T67" fmla="*/ 716 h 719"/>
              <a:gd name="T68" fmla="*/ 8 w 719"/>
              <a:gd name="T69" fmla="*/ 719 h 719"/>
              <a:gd name="T70" fmla="*/ 12 w 719"/>
              <a:gd name="T71" fmla="*/ 719 h 719"/>
              <a:gd name="T72" fmla="*/ 707 w 719"/>
              <a:gd name="T73" fmla="*/ 719 h 719"/>
              <a:gd name="T74" fmla="*/ 711 w 719"/>
              <a:gd name="T75" fmla="*/ 719 h 719"/>
              <a:gd name="T76" fmla="*/ 716 w 719"/>
              <a:gd name="T77" fmla="*/ 716 h 719"/>
              <a:gd name="T78" fmla="*/ 718 w 719"/>
              <a:gd name="T79" fmla="*/ 713 h 719"/>
              <a:gd name="T80" fmla="*/ 719 w 719"/>
              <a:gd name="T81" fmla="*/ 707 h 719"/>
              <a:gd name="T82" fmla="*/ 719 w 719"/>
              <a:gd name="T83" fmla="*/ 13 h 719"/>
              <a:gd name="T84" fmla="*/ 718 w 719"/>
              <a:gd name="T85" fmla="*/ 8 h 719"/>
              <a:gd name="T86" fmla="*/ 716 w 719"/>
              <a:gd name="T87" fmla="*/ 5 h 719"/>
              <a:gd name="T88" fmla="*/ 711 w 719"/>
              <a:gd name="T89" fmla="*/ 2 h 719"/>
              <a:gd name="T90" fmla="*/ 707 w 719"/>
              <a:gd name="T91" fmla="*/ 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9" y="477"/>
                </a:lnTo>
                <a:lnTo>
                  <a:pt x="284" y="479"/>
                </a:lnTo>
                <a:lnTo>
                  <a:pt x="280" y="477"/>
                </a:lnTo>
                <a:lnTo>
                  <a:pt x="275" y="475"/>
                </a:lnTo>
                <a:lnTo>
                  <a:pt x="200" y="400"/>
                </a:lnTo>
                <a:lnTo>
                  <a:pt x="198" y="396"/>
                </a:lnTo>
                <a:lnTo>
                  <a:pt x="197" y="391"/>
                </a:lnTo>
                <a:lnTo>
                  <a:pt x="198" y="387"/>
                </a:lnTo>
                <a:lnTo>
                  <a:pt x="200" y="382"/>
                </a:lnTo>
                <a:lnTo>
                  <a:pt x="205" y="380"/>
                </a:lnTo>
                <a:lnTo>
                  <a:pt x="209" y="379"/>
                </a:lnTo>
                <a:lnTo>
                  <a:pt x="213" y="380"/>
                </a:lnTo>
                <a:lnTo>
                  <a:pt x="217" y="382"/>
                </a:lnTo>
                <a:lnTo>
                  <a:pt x="284" y="450"/>
                </a:lnTo>
                <a:lnTo>
                  <a:pt x="503" y="247"/>
                </a:lnTo>
                <a:lnTo>
                  <a:pt x="507" y="243"/>
                </a:lnTo>
                <a:lnTo>
                  <a:pt x="512" y="243"/>
                </a:lnTo>
                <a:lnTo>
                  <a:pt x="516" y="243"/>
                </a:lnTo>
                <a:lnTo>
                  <a:pt x="519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4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4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669">
            <a:extLst>
              <a:ext uri="{FF2B5EF4-FFF2-40B4-BE49-F238E27FC236}">
                <a16:creationId xmlns:a16="http://schemas.microsoft.com/office/drawing/2014/main" id="{3A13C0CE-DED9-4B8C-BCB0-E5BAD02D0DD6}"/>
              </a:ext>
            </a:extLst>
          </p:cNvPr>
          <p:cNvSpPr>
            <a:spLocks noEditPoints="1"/>
          </p:cNvSpPr>
          <p:nvPr/>
        </p:nvSpPr>
        <p:spPr bwMode="auto">
          <a:xfrm>
            <a:off x="3694113" y="3434424"/>
            <a:ext cx="285750" cy="285750"/>
          </a:xfrm>
          <a:custGeom>
            <a:avLst/>
            <a:gdLst>
              <a:gd name="T0" fmla="*/ 519 w 719"/>
              <a:gd name="T1" fmla="*/ 263 h 719"/>
              <a:gd name="T2" fmla="*/ 292 w 719"/>
              <a:gd name="T3" fmla="*/ 475 h 719"/>
              <a:gd name="T4" fmla="*/ 289 w 719"/>
              <a:gd name="T5" fmla="*/ 477 h 719"/>
              <a:gd name="T6" fmla="*/ 284 w 719"/>
              <a:gd name="T7" fmla="*/ 479 h 719"/>
              <a:gd name="T8" fmla="*/ 280 w 719"/>
              <a:gd name="T9" fmla="*/ 477 h 719"/>
              <a:gd name="T10" fmla="*/ 275 w 719"/>
              <a:gd name="T11" fmla="*/ 475 h 719"/>
              <a:gd name="T12" fmla="*/ 200 w 719"/>
              <a:gd name="T13" fmla="*/ 400 h 719"/>
              <a:gd name="T14" fmla="*/ 198 w 719"/>
              <a:gd name="T15" fmla="*/ 396 h 719"/>
              <a:gd name="T16" fmla="*/ 197 w 719"/>
              <a:gd name="T17" fmla="*/ 391 h 719"/>
              <a:gd name="T18" fmla="*/ 198 w 719"/>
              <a:gd name="T19" fmla="*/ 387 h 719"/>
              <a:gd name="T20" fmla="*/ 200 w 719"/>
              <a:gd name="T21" fmla="*/ 382 h 719"/>
              <a:gd name="T22" fmla="*/ 205 w 719"/>
              <a:gd name="T23" fmla="*/ 380 h 719"/>
              <a:gd name="T24" fmla="*/ 209 w 719"/>
              <a:gd name="T25" fmla="*/ 379 h 719"/>
              <a:gd name="T26" fmla="*/ 213 w 719"/>
              <a:gd name="T27" fmla="*/ 380 h 719"/>
              <a:gd name="T28" fmla="*/ 217 w 719"/>
              <a:gd name="T29" fmla="*/ 382 h 719"/>
              <a:gd name="T30" fmla="*/ 284 w 719"/>
              <a:gd name="T31" fmla="*/ 450 h 719"/>
              <a:gd name="T32" fmla="*/ 503 w 719"/>
              <a:gd name="T33" fmla="*/ 247 h 719"/>
              <a:gd name="T34" fmla="*/ 507 w 719"/>
              <a:gd name="T35" fmla="*/ 243 h 719"/>
              <a:gd name="T36" fmla="*/ 512 w 719"/>
              <a:gd name="T37" fmla="*/ 243 h 719"/>
              <a:gd name="T38" fmla="*/ 516 w 719"/>
              <a:gd name="T39" fmla="*/ 243 h 719"/>
              <a:gd name="T40" fmla="*/ 519 w 719"/>
              <a:gd name="T41" fmla="*/ 247 h 719"/>
              <a:gd name="T42" fmla="*/ 522 w 719"/>
              <a:gd name="T43" fmla="*/ 251 h 719"/>
              <a:gd name="T44" fmla="*/ 523 w 719"/>
              <a:gd name="T45" fmla="*/ 255 h 719"/>
              <a:gd name="T46" fmla="*/ 522 w 719"/>
              <a:gd name="T47" fmla="*/ 260 h 719"/>
              <a:gd name="T48" fmla="*/ 519 w 719"/>
              <a:gd name="T49" fmla="*/ 263 h 719"/>
              <a:gd name="T50" fmla="*/ 707 w 719"/>
              <a:gd name="T51" fmla="*/ 0 h 719"/>
              <a:gd name="T52" fmla="*/ 12 w 719"/>
              <a:gd name="T53" fmla="*/ 0 h 719"/>
              <a:gd name="T54" fmla="*/ 8 w 719"/>
              <a:gd name="T55" fmla="*/ 2 h 719"/>
              <a:gd name="T56" fmla="*/ 4 w 719"/>
              <a:gd name="T57" fmla="*/ 5 h 719"/>
              <a:gd name="T58" fmla="*/ 1 w 719"/>
              <a:gd name="T59" fmla="*/ 8 h 719"/>
              <a:gd name="T60" fmla="*/ 0 w 719"/>
              <a:gd name="T61" fmla="*/ 13 h 719"/>
              <a:gd name="T62" fmla="*/ 0 w 719"/>
              <a:gd name="T63" fmla="*/ 707 h 719"/>
              <a:gd name="T64" fmla="*/ 1 w 719"/>
              <a:gd name="T65" fmla="*/ 713 h 719"/>
              <a:gd name="T66" fmla="*/ 4 w 719"/>
              <a:gd name="T67" fmla="*/ 716 h 719"/>
              <a:gd name="T68" fmla="*/ 8 w 719"/>
              <a:gd name="T69" fmla="*/ 719 h 719"/>
              <a:gd name="T70" fmla="*/ 12 w 719"/>
              <a:gd name="T71" fmla="*/ 719 h 719"/>
              <a:gd name="T72" fmla="*/ 707 w 719"/>
              <a:gd name="T73" fmla="*/ 719 h 719"/>
              <a:gd name="T74" fmla="*/ 711 w 719"/>
              <a:gd name="T75" fmla="*/ 719 h 719"/>
              <a:gd name="T76" fmla="*/ 716 w 719"/>
              <a:gd name="T77" fmla="*/ 716 h 719"/>
              <a:gd name="T78" fmla="*/ 718 w 719"/>
              <a:gd name="T79" fmla="*/ 713 h 719"/>
              <a:gd name="T80" fmla="*/ 719 w 719"/>
              <a:gd name="T81" fmla="*/ 707 h 719"/>
              <a:gd name="T82" fmla="*/ 719 w 719"/>
              <a:gd name="T83" fmla="*/ 13 h 719"/>
              <a:gd name="T84" fmla="*/ 718 w 719"/>
              <a:gd name="T85" fmla="*/ 8 h 719"/>
              <a:gd name="T86" fmla="*/ 716 w 719"/>
              <a:gd name="T87" fmla="*/ 5 h 719"/>
              <a:gd name="T88" fmla="*/ 711 w 719"/>
              <a:gd name="T89" fmla="*/ 2 h 719"/>
              <a:gd name="T90" fmla="*/ 707 w 719"/>
              <a:gd name="T91" fmla="*/ 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9" y="477"/>
                </a:lnTo>
                <a:lnTo>
                  <a:pt x="284" y="479"/>
                </a:lnTo>
                <a:lnTo>
                  <a:pt x="280" y="477"/>
                </a:lnTo>
                <a:lnTo>
                  <a:pt x="275" y="475"/>
                </a:lnTo>
                <a:lnTo>
                  <a:pt x="200" y="400"/>
                </a:lnTo>
                <a:lnTo>
                  <a:pt x="198" y="396"/>
                </a:lnTo>
                <a:lnTo>
                  <a:pt x="197" y="391"/>
                </a:lnTo>
                <a:lnTo>
                  <a:pt x="198" y="387"/>
                </a:lnTo>
                <a:lnTo>
                  <a:pt x="200" y="382"/>
                </a:lnTo>
                <a:lnTo>
                  <a:pt x="205" y="380"/>
                </a:lnTo>
                <a:lnTo>
                  <a:pt x="209" y="379"/>
                </a:lnTo>
                <a:lnTo>
                  <a:pt x="213" y="380"/>
                </a:lnTo>
                <a:lnTo>
                  <a:pt x="217" y="382"/>
                </a:lnTo>
                <a:lnTo>
                  <a:pt x="284" y="450"/>
                </a:lnTo>
                <a:lnTo>
                  <a:pt x="503" y="247"/>
                </a:lnTo>
                <a:lnTo>
                  <a:pt x="507" y="243"/>
                </a:lnTo>
                <a:lnTo>
                  <a:pt x="512" y="243"/>
                </a:lnTo>
                <a:lnTo>
                  <a:pt x="516" y="243"/>
                </a:lnTo>
                <a:lnTo>
                  <a:pt x="519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4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4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839">
            <a:extLst>
              <a:ext uri="{FF2B5EF4-FFF2-40B4-BE49-F238E27FC236}">
                <a16:creationId xmlns:a16="http://schemas.microsoft.com/office/drawing/2014/main" id="{1021F688-0561-414C-A2E2-ABF28AE23814}"/>
              </a:ext>
            </a:extLst>
          </p:cNvPr>
          <p:cNvSpPr>
            <a:spLocks noEditPoints="1"/>
          </p:cNvSpPr>
          <p:nvPr/>
        </p:nvSpPr>
        <p:spPr bwMode="auto">
          <a:xfrm>
            <a:off x="3703638" y="4116802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1669">
            <a:extLst>
              <a:ext uri="{FF2B5EF4-FFF2-40B4-BE49-F238E27FC236}">
                <a16:creationId xmlns:a16="http://schemas.microsoft.com/office/drawing/2014/main" id="{2ECCA16E-FE1D-46AD-B7CC-DA7F2426F96C}"/>
              </a:ext>
            </a:extLst>
          </p:cNvPr>
          <p:cNvSpPr>
            <a:spLocks noEditPoints="1"/>
          </p:cNvSpPr>
          <p:nvPr/>
        </p:nvSpPr>
        <p:spPr bwMode="auto">
          <a:xfrm>
            <a:off x="3694113" y="4793738"/>
            <a:ext cx="285750" cy="285750"/>
          </a:xfrm>
          <a:custGeom>
            <a:avLst/>
            <a:gdLst>
              <a:gd name="T0" fmla="*/ 519 w 719"/>
              <a:gd name="T1" fmla="*/ 263 h 719"/>
              <a:gd name="T2" fmla="*/ 292 w 719"/>
              <a:gd name="T3" fmla="*/ 475 h 719"/>
              <a:gd name="T4" fmla="*/ 289 w 719"/>
              <a:gd name="T5" fmla="*/ 477 h 719"/>
              <a:gd name="T6" fmla="*/ 284 w 719"/>
              <a:gd name="T7" fmla="*/ 479 h 719"/>
              <a:gd name="T8" fmla="*/ 280 w 719"/>
              <a:gd name="T9" fmla="*/ 477 h 719"/>
              <a:gd name="T10" fmla="*/ 275 w 719"/>
              <a:gd name="T11" fmla="*/ 475 h 719"/>
              <a:gd name="T12" fmla="*/ 200 w 719"/>
              <a:gd name="T13" fmla="*/ 400 h 719"/>
              <a:gd name="T14" fmla="*/ 198 w 719"/>
              <a:gd name="T15" fmla="*/ 396 h 719"/>
              <a:gd name="T16" fmla="*/ 197 w 719"/>
              <a:gd name="T17" fmla="*/ 391 h 719"/>
              <a:gd name="T18" fmla="*/ 198 w 719"/>
              <a:gd name="T19" fmla="*/ 387 h 719"/>
              <a:gd name="T20" fmla="*/ 200 w 719"/>
              <a:gd name="T21" fmla="*/ 382 h 719"/>
              <a:gd name="T22" fmla="*/ 205 w 719"/>
              <a:gd name="T23" fmla="*/ 380 h 719"/>
              <a:gd name="T24" fmla="*/ 209 w 719"/>
              <a:gd name="T25" fmla="*/ 379 h 719"/>
              <a:gd name="T26" fmla="*/ 213 w 719"/>
              <a:gd name="T27" fmla="*/ 380 h 719"/>
              <a:gd name="T28" fmla="*/ 217 w 719"/>
              <a:gd name="T29" fmla="*/ 382 h 719"/>
              <a:gd name="T30" fmla="*/ 284 w 719"/>
              <a:gd name="T31" fmla="*/ 450 h 719"/>
              <a:gd name="T32" fmla="*/ 503 w 719"/>
              <a:gd name="T33" fmla="*/ 247 h 719"/>
              <a:gd name="T34" fmla="*/ 507 w 719"/>
              <a:gd name="T35" fmla="*/ 243 h 719"/>
              <a:gd name="T36" fmla="*/ 512 w 719"/>
              <a:gd name="T37" fmla="*/ 243 h 719"/>
              <a:gd name="T38" fmla="*/ 516 w 719"/>
              <a:gd name="T39" fmla="*/ 243 h 719"/>
              <a:gd name="T40" fmla="*/ 519 w 719"/>
              <a:gd name="T41" fmla="*/ 247 h 719"/>
              <a:gd name="T42" fmla="*/ 522 w 719"/>
              <a:gd name="T43" fmla="*/ 251 h 719"/>
              <a:gd name="T44" fmla="*/ 523 w 719"/>
              <a:gd name="T45" fmla="*/ 255 h 719"/>
              <a:gd name="T46" fmla="*/ 522 w 719"/>
              <a:gd name="T47" fmla="*/ 260 h 719"/>
              <a:gd name="T48" fmla="*/ 519 w 719"/>
              <a:gd name="T49" fmla="*/ 263 h 719"/>
              <a:gd name="T50" fmla="*/ 707 w 719"/>
              <a:gd name="T51" fmla="*/ 0 h 719"/>
              <a:gd name="T52" fmla="*/ 12 w 719"/>
              <a:gd name="T53" fmla="*/ 0 h 719"/>
              <a:gd name="T54" fmla="*/ 8 w 719"/>
              <a:gd name="T55" fmla="*/ 2 h 719"/>
              <a:gd name="T56" fmla="*/ 4 w 719"/>
              <a:gd name="T57" fmla="*/ 5 h 719"/>
              <a:gd name="T58" fmla="*/ 1 w 719"/>
              <a:gd name="T59" fmla="*/ 8 h 719"/>
              <a:gd name="T60" fmla="*/ 0 w 719"/>
              <a:gd name="T61" fmla="*/ 13 h 719"/>
              <a:gd name="T62" fmla="*/ 0 w 719"/>
              <a:gd name="T63" fmla="*/ 707 h 719"/>
              <a:gd name="T64" fmla="*/ 1 w 719"/>
              <a:gd name="T65" fmla="*/ 713 h 719"/>
              <a:gd name="T66" fmla="*/ 4 w 719"/>
              <a:gd name="T67" fmla="*/ 716 h 719"/>
              <a:gd name="T68" fmla="*/ 8 w 719"/>
              <a:gd name="T69" fmla="*/ 719 h 719"/>
              <a:gd name="T70" fmla="*/ 12 w 719"/>
              <a:gd name="T71" fmla="*/ 719 h 719"/>
              <a:gd name="T72" fmla="*/ 707 w 719"/>
              <a:gd name="T73" fmla="*/ 719 h 719"/>
              <a:gd name="T74" fmla="*/ 711 w 719"/>
              <a:gd name="T75" fmla="*/ 719 h 719"/>
              <a:gd name="T76" fmla="*/ 716 w 719"/>
              <a:gd name="T77" fmla="*/ 716 h 719"/>
              <a:gd name="T78" fmla="*/ 718 w 719"/>
              <a:gd name="T79" fmla="*/ 713 h 719"/>
              <a:gd name="T80" fmla="*/ 719 w 719"/>
              <a:gd name="T81" fmla="*/ 707 h 719"/>
              <a:gd name="T82" fmla="*/ 719 w 719"/>
              <a:gd name="T83" fmla="*/ 13 h 719"/>
              <a:gd name="T84" fmla="*/ 718 w 719"/>
              <a:gd name="T85" fmla="*/ 8 h 719"/>
              <a:gd name="T86" fmla="*/ 716 w 719"/>
              <a:gd name="T87" fmla="*/ 5 h 719"/>
              <a:gd name="T88" fmla="*/ 711 w 719"/>
              <a:gd name="T89" fmla="*/ 2 h 719"/>
              <a:gd name="T90" fmla="*/ 707 w 719"/>
              <a:gd name="T91" fmla="*/ 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9" y="477"/>
                </a:lnTo>
                <a:lnTo>
                  <a:pt x="284" y="479"/>
                </a:lnTo>
                <a:lnTo>
                  <a:pt x="280" y="477"/>
                </a:lnTo>
                <a:lnTo>
                  <a:pt x="275" y="475"/>
                </a:lnTo>
                <a:lnTo>
                  <a:pt x="200" y="400"/>
                </a:lnTo>
                <a:lnTo>
                  <a:pt x="198" y="396"/>
                </a:lnTo>
                <a:lnTo>
                  <a:pt x="197" y="391"/>
                </a:lnTo>
                <a:lnTo>
                  <a:pt x="198" y="387"/>
                </a:lnTo>
                <a:lnTo>
                  <a:pt x="200" y="382"/>
                </a:lnTo>
                <a:lnTo>
                  <a:pt x="205" y="380"/>
                </a:lnTo>
                <a:lnTo>
                  <a:pt x="209" y="379"/>
                </a:lnTo>
                <a:lnTo>
                  <a:pt x="213" y="380"/>
                </a:lnTo>
                <a:lnTo>
                  <a:pt x="217" y="382"/>
                </a:lnTo>
                <a:lnTo>
                  <a:pt x="284" y="450"/>
                </a:lnTo>
                <a:lnTo>
                  <a:pt x="503" y="247"/>
                </a:lnTo>
                <a:lnTo>
                  <a:pt x="507" y="243"/>
                </a:lnTo>
                <a:lnTo>
                  <a:pt x="512" y="243"/>
                </a:lnTo>
                <a:lnTo>
                  <a:pt x="516" y="243"/>
                </a:lnTo>
                <a:lnTo>
                  <a:pt x="519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4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4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839">
            <a:extLst>
              <a:ext uri="{FF2B5EF4-FFF2-40B4-BE49-F238E27FC236}">
                <a16:creationId xmlns:a16="http://schemas.microsoft.com/office/drawing/2014/main" id="{6FA48A29-6E8C-4E43-9B17-FF982A8D96D3}"/>
              </a:ext>
            </a:extLst>
          </p:cNvPr>
          <p:cNvSpPr>
            <a:spLocks noEditPoints="1"/>
          </p:cNvSpPr>
          <p:nvPr/>
        </p:nvSpPr>
        <p:spPr bwMode="auto">
          <a:xfrm>
            <a:off x="5960051" y="2757488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669">
            <a:extLst>
              <a:ext uri="{FF2B5EF4-FFF2-40B4-BE49-F238E27FC236}">
                <a16:creationId xmlns:a16="http://schemas.microsoft.com/office/drawing/2014/main" id="{BED699E2-9027-4458-B158-D4B04BAC432A}"/>
              </a:ext>
            </a:extLst>
          </p:cNvPr>
          <p:cNvSpPr>
            <a:spLocks noEditPoints="1"/>
          </p:cNvSpPr>
          <p:nvPr/>
        </p:nvSpPr>
        <p:spPr bwMode="auto">
          <a:xfrm>
            <a:off x="5950526" y="2075110"/>
            <a:ext cx="285750" cy="285750"/>
          </a:xfrm>
          <a:custGeom>
            <a:avLst/>
            <a:gdLst>
              <a:gd name="T0" fmla="*/ 519 w 719"/>
              <a:gd name="T1" fmla="*/ 263 h 719"/>
              <a:gd name="T2" fmla="*/ 292 w 719"/>
              <a:gd name="T3" fmla="*/ 475 h 719"/>
              <a:gd name="T4" fmla="*/ 289 w 719"/>
              <a:gd name="T5" fmla="*/ 477 h 719"/>
              <a:gd name="T6" fmla="*/ 284 w 719"/>
              <a:gd name="T7" fmla="*/ 479 h 719"/>
              <a:gd name="T8" fmla="*/ 280 w 719"/>
              <a:gd name="T9" fmla="*/ 477 h 719"/>
              <a:gd name="T10" fmla="*/ 275 w 719"/>
              <a:gd name="T11" fmla="*/ 475 h 719"/>
              <a:gd name="T12" fmla="*/ 200 w 719"/>
              <a:gd name="T13" fmla="*/ 400 h 719"/>
              <a:gd name="T14" fmla="*/ 198 w 719"/>
              <a:gd name="T15" fmla="*/ 396 h 719"/>
              <a:gd name="T16" fmla="*/ 197 w 719"/>
              <a:gd name="T17" fmla="*/ 391 h 719"/>
              <a:gd name="T18" fmla="*/ 198 w 719"/>
              <a:gd name="T19" fmla="*/ 387 h 719"/>
              <a:gd name="T20" fmla="*/ 200 w 719"/>
              <a:gd name="T21" fmla="*/ 382 h 719"/>
              <a:gd name="T22" fmla="*/ 205 w 719"/>
              <a:gd name="T23" fmla="*/ 380 h 719"/>
              <a:gd name="T24" fmla="*/ 209 w 719"/>
              <a:gd name="T25" fmla="*/ 379 h 719"/>
              <a:gd name="T26" fmla="*/ 213 w 719"/>
              <a:gd name="T27" fmla="*/ 380 h 719"/>
              <a:gd name="T28" fmla="*/ 217 w 719"/>
              <a:gd name="T29" fmla="*/ 382 h 719"/>
              <a:gd name="T30" fmla="*/ 284 w 719"/>
              <a:gd name="T31" fmla="*/ 450 h 719"/>
              <a:gd name="T32" fmla="*/ 503 w 719"/>
              <a:gd name="T33" fmla="*/ 247 h 719"/>
              <a:gd name="T34" fmla="*/ 507 w 719"/>
              <a:gd name="T35" fmla="*/ 243 h 719"/>
              <a:gd name="T36" fmla="*/ 512 w 719"/>
              <a:gd name="T37" fmla="*/ 243 h 719"/>
              <a:gd name="T38" fmla="*/ 516 w 719"/>
              <a:gd name="T39" fmla="*/ 243 h 719"/>
              <a:gd name="T40" fmla="*/ 519 w 719"/>
              <a:gd name="T41" fmla="*/ 247 h 719"/>
              <a:gd name="T42" fmla="*/ 522 w 719"/>
              <a:gd name="T43" fmla="*/ 251 h 719"/>
              <a:gd name="T44" fmla="*/ 523 w 719"/>
              <a:gd name="T45" fmla="*/ 255 h 719"/>
              <a:gd name="T46" fmla="*/ 522 w 719"/>
              <a:gd name="T47" fmla="*/ 260 h 719"/>
              <a:gd name="T48" fmla="*/ 519 w 719"/>
              <a:gd name="T49" fmla="*/ 263 h 719"/>
              <a:gd name="T50" fmla="*/ 707 w 719"/>
              <a:gd name="T51" fmla="*/ 0 h 719"/>
              <a:gd name="T52" fmla="*/ 12 w 719"/>
              <a:gd name="T53" fmla="*/ 0 h 719"/>
              <a:gd name="T54" fmla="*/ 8 w 719"/>
              <a:gd name="T55" fmla="*/ 2 h 719"/>
              <a:gd name="T56" fmla="*/ 4 w 719"/>
              <a:gd name="T57" fmla="*/ 5 h 719"/>
              <a:gd name="T58" fmla="*/ 1 w 719"/>
              <a:gd name="T59" fmla="*/ 8 h 719"/>
              <a:gd name="T60" fmla="*/ 0 w 719"/>
              <a:gd name="T61" fmla="*/ 13 h 719"/>
              <a:gd name="T62" fmla="*/ 0 w 719"/>
              <a:gd name="T63" fmla="*/ 707 h 719"/>
              <a:gd name="T64" fmla="*/ 1 w 719"/>
              <a:gd name="T65" fmla="*/ 713 h 719"/>
              <a:gd name="T66" fmla="*/ 4 w 719"/>
              <a:gd name="T67" fmla="*/ 716 h 719"/>
              <a:gd name="T68" fmla="*/ 8 w 719"/>
              <a:gd name="T69" fmla="*/ 719 h 719"/>
              <a:gd name="T70" fmla="*/ 12 w 719"/>
              <a:gd name="T71" fmla="*/ 719 h 719"/>
              <a:gd name="T72" fmla="*/ 707 w 719"/>
              <a:gd name="T73" fmla="*/ 719 h 719"/>
              <a:gd name="T74" fmla="*/ 711 w 719"/>
              <a:gd name="T75" fmla="*/ 719 h 719"/>
              <a:gd name="T76" fmla="*/ 716 w 719"/>
              <a:gd name="T77" fmla="*/ 716 h 719"/>
              <a:gd name="T78" fmla="*/ 718 w 719"/>
              <a:gd name="T79" fmla="*/ 713 h 719"/>
              <a:gd name="T80" fmla="*/ 719 w 719"/>
              <a:gd name="T81" fmla="*/ 707 h 719"/>
              <a:gd name="T82" fmla="*/ 719 w 719"/>
              <a:gd name="T83" fmla="*/ 13 h 719"/>
              <a:gd name="T84" fmla="*/ 718 w 719"/>
              <a:gd name="T85" fmla="*/ 8 h 719"/>
              <a:gd name="T86" fmla="*/ 716 w 719"/>
              <a:gd name="T87" fmla="*/ 5 h 719"/>
              <a:gd name="T88" fmla="*/ 711 w 719"/>
              <a:gd name="T89" fmla="*/ 2 h 719"/>
              <a:gd name="T90" fmla="*/ 707 w 719"/>
              <a:gd name="T91" fmla="*/ 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9" y="477"/>
                </a:lnTo>
                <a:lnTo>
                  <a:pt x="284" y="479"/>
                </a:lnTo>
                <a:lnTo>
                  <a:pt x="280" y="477"/>
                </a:lnTo>
                <a:lnTo>
                  <a:pt x="275" y="475"/>
                </a:lnTo>
                <a:lnTo>
                  <a:pt x="200" y="400"/>
                </a:lnTo>
                <a:lnTo>
                  <a:pt x="198" y="396"/>
                </a:lnTo>
                <a:lnTo>
                  <a:pt x="197" y="391"/>
                </a:lnTo>
                <a:lnTo>
                  <a:pt x="198" y="387"/>
                </a:lnTo>
                <a:lnTo>
                  <a:pt x="200" y="382"/>
                </a:lnTo>
                <a:lnTo>
                  <a:pt x="205" y="380"/>
                </a:lnTo>
                <a:lnTo>
                  <a:pt x="209" y="379"/>
                </a:lnTo>
                <a:lnTo>
                  <a:pt x="213" y="380"/>
                </a:lnTo>
                <a:lnTo>
                  <a:pt x="217" y="382"/>
                </a:lnTo>
                <a:lnTo>
                  <a:pt x="284" y="450"/>
                </a:lnTo>
                <a:lnTo>
                  <a:pt x="503" y="247"/>
                </a:lnTo>
                <a:lnTo>
                  <a:pt x="507" y="243"/>
                </a:lnTo>
                <a:lnTo>
                  <a:pt x="512" y="243"/>
                </a:lnTo>
                <a:lnTo>
                  <a:pt x="516" y="243"/>
                </a:lnTo>
                <a:lnTo>
                  <a:pt x="519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4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4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839">
            <a:extLst>
              <a:ext uri="{FF2B5EF4-FFF2-40B4-BE49-F238E27FC236}">
                <a16:creationId xmlns:a16="http://schemas.microsoft.com/office/drawing/2014/main" id="{68F8C329-13AF-43CD-ADEA-D4B069ECF608}"/>
              </a:ext>
            </a:extLst>
          </p:cNvPr>
          <p:cNvSpPr>
            <a:spLocks noEditPoints="1"/>
          </p:cNvSpPr>
          <p:nvPr/>
        </p:nvSpPr>
        <p:spPr bwMode="auto">
          <a:xfrm>
            <a:off x="5960051" y="4116802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1669">
            <a:extLst>
              <a:ext uri="{FF2B5EF4-FFF2-40B4-BE49-F238E27FC236}">
                <a16:creationId xmlns:a16="http://schemas.microsoft.com/office/drawing/2014/main" id="{F010DC82-CCCE-47D8-B2ED-0C4A7D005EAB}"/>
              </a:ext>
            </a:extLst>
          </p:cNvPr>
          <p:cNvSpPr>
            <a:spLocks noEditPoints="1"/>
          </p:cNvSpPr>
          <p:nvPr/>
        </p:nvSpPr>
        <p:spPr bwMode="auto">
          <a:xfrm>
            <a:off x="5950526" y="4793738"/>
            <a:ext cx="285750" cy="285750"/>
          </a:xfrm>
          <a:custGeom>
            <a:avLst/>
            <a:gdLst>
              <a:gd name="T0" fmla="*/ 519 w 719"/>
              <a:gd name="T1" fmla="*/ 263 h 719"/>
              <a:gd name="T2" fmla="*/ 292 w 719"/>
              <a:gd name="T3" fmla="*/ 475 h 719"/>
              <a:gd name="T4" fmla="*/ 289 w 719"/>
              <a:gd name="T5" fmla="*/ 477 h 719"/>
              <a:gd name="T6" fmla="*/ 284 w 719"/>
              <a:gd name="T7" fmla="*/ 479 h 719"/>
              <a:gd name="T8" fmla="*/ 280 w 719"/>
              <a:gd name="T9" fmla="*/ 477 h 719"/>
              <a:gd name="T10" fmla="*/ 275 w 719"/>
              <a:gd name="T11" fmla="*/ 475 h 719"/>
              <a:gd name="T12" fmla="*/ 200 w 719"/>
              <a:gd name="T13" fmla="*/ 400 h 719"/>
              <a:gd name="T14" fmla="*/ 198 w 719"/>
              <a:gd name="T15" fmla="*/ 396 h 719"/>
              <a:gd name="T16" fmla="*/ 197 w 719"/>
              <a:gd name="T17" fmla="*/ 391 h 719"/>
              <a:gd name="T18" fmla="*/ 198 w 719"/>
              <a:gd name="T19" fmla="*/ 387 h 719"/>
              <a:gd name="T20" fmla="*/ 200 w 719"/>
              <a:gd name="T21" fmla="*/ 382 h 719"/>
              <a:gd name="T22" fmla="*/ 205 w 719"/>
              <a:gd name="T23" fmla="*/ 380 h 719"/>
              <a:gd name="T24" fmla="*/ 209 w 719"/>
              <a:gd name="T25" fmla="*/ 379 h 719"/>
              <a:gd name="T26" fmla="*/ 213 w 719"/>
              <a:gd name="T27" fmla="*/ 380 h 719"/>
              <a:gd name="T28" fmla="*/ 217 w 719"/>
              <a:gd name="T29" fmla="*/ 382 h 719"/>
              <a:gd name="T30" fmla="*/ 284 w 719"/>
              <a:gd name="T31" fmla="*/ 450 h 719"/>
              <a:gd name="T32" fmla="*/ 503 w 719"/>
              <a:gd name="T33" fmla="*/ 247 h 719"/>
              <a:gd name="T34" fmla="*/ 507 w 719"/>
              <a:gd name="T35" fmla="*/ 243 h 719"/>
              <a:gd name="T36" fmla="*/ 512 w 719"/>
              <a:gd name="T37" fmla="*/ 243 h 719"/>
              <a:gd name="T38" fmla="*/ 516 w 719"/>
              <a:gd name="T39" fmla="*/ 243 h 719"/>
              <a:gd name="T40" fmla="*/ 519 w 719"/>
              <a:gd name="T41" fmla="*/ 247 h 719"/>
              <a:gd name="T42" fmla="*/ 522 w 719"/>
              <a:gd name="T43" fmla="*/ 251 h 719"/>
              <a:gd name="T44" fmla="*/ 523 w 719"/>
              <a:gd name="T45" fmla="*/ 255 h 719"/>
              <a:gd name="T46" fmla="*/ 522 w 719"/>
              <a:gd name="T47" fmla="*/ 260 h 719"/>
              <a:gd name="T48" fmla="*/ 519 w 719"/>
              <a:gd name="T49" fmla="*/ 263 h 719"/>
              <a:gd name="T50" fmla="*/ 707 w 719"/>
              <a:gd name="T51" fmla="*/ 0 h 719"/>
              <a:gd name="T52" fmla="*/ 12 w 719"/>
              <a:gd name="T53" fmla="*/ 0 h 719"/>
              <a:gd name="T54" fmla="*/ 8 w 719"/>
              <a:gd name="T55" fmla="*/ 2 h 719"/>
              <a:gd name="T56" fmla="*/ 4 w 719"/>
              <a:gd name="T57" fmla="*/ 5 h 719"/>
              <a:gd name="T58" fmla="*/ 1 w 719"/>
              <a:gd name="T59" fmla="*/ 8 h 719"/>
              <a:gd name="T60" fmla="*/ 0 w 719"/>
              <a:gd name="T61" fmla="*/ 13 h 719"/>
              <a:gd name="T62" fmla="*/ 0 w 719"/>
              <a:gd name="T63" fmla="*/ 707 h 719"/>
              <a:gd name="T64" fmla="*/ 1 w 719"/>
              <a:gd name="T65" fmla="*/ 713 h 719"/>
              <a:gd name="T66" fmla="*/ 4 w 719"/>
              <a:gd name="T67" fmla="*/ 716 h 719"/>
              <a:gd name="T68" fmla="*/ 8 w 719"/>
              <a:gd name="T69" fmla="*/ 719 h 719"/>
              <a:gd name="T70" fmla="*/ 12 w 719"/>
              <a:gd name="T71" fmla="*/ 719 h 719"/>
              <a:gd name="T72" fmla="*/ 707 w 719"/>
              <a:gd name="T73" fmla="*/ 719 h 719"/>
              <a:gd name="T74" fmla="*/ 711 w 719"/>
              <a:gd name="T75" fmla="*/ 719 h 719"/>
              <a:gd name="T76" fmla="*/ 716 w 719"/>
              <a:gd name="T77" fmla="*/ 716 h 719"/>
              <a:gd name="T78" fmla="*/ 718 w 719"/>
              <a:gd name="T79" fmla="*/ 713 h 719"/>
              <a:gd name="T80" fmla="*/ 719 w 719"/>
              <a:gd name="T81" fmla="*/ 707 h 719"/>
              <a:gd name="T82" fmla="*/ 719 w 719"/>
              <a:gd name="T83" fmla="*/ 13 h 719"/>
              <a:gd name="T84" fmla="*/ 718 w 719"/>
              <a:gd name="T85" fmla="*/ 8 h 719"/>
              <a:gd name="T86" fmla="*/ 716 w 719"/>
              <a:gd name="T87" fmla="*/ 5 h 719"/>
              <a:gd name="T88" fmla="*/ 711 w 719"/>
              <a:gd name="T89" fmla="*/ 2 h 719"/>
              <a:gd name="T90" fmla="*/ 707 w 719"/>
              <a:gd name="T91" fmla="*/ 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9" y="477"/>
                </a:lnTo>
                <a:lnTo>
                  <a:pt x="284" y="479"/>
                </a:lnTo>
                <a:lnTo>
                  <a:pt x="280" y="477"/>
                </a:lnTo>
                <a:lnTo>
                  <a:pt x="275" y="475"/>
                </a:lnTo>
                <a:lnTo>
                  <a:pt x="200" y="400"/>
                </a:lnTo>
                <a:lnTo>
                  <a:pt x="198" y="396"/>
                </a:lnTo>
                <a:lnTo>
                  <a:pt x="197" y="391"/>
                </a:lnTo>
                <a:lnTo>
                  <a:pt x="198" y="387"/>
                </a:lnTo>
                <a:lnTo>
                  <a:pt x="200" y="382"/>
                </a:lnTo>
                <a:lnTo>
                  <a:pt x="205" y="380"/>
                </a:lnTo>
                <a:lnTo>
                  <a:pt x="209" y="379"/>
                </a:lnTo>
                <a:lnTo>
                  <a:pt x="213" y="380"/>
                </a:lnTo>
                <a:lnTo>
                  <a:pt x="217" y="382"/>
                </a:lnTo>
                <a:lnTo>
                  <a:pt x="284" y="450"/>
                </a:lnTo>
                <a:lnTo>
                  <a:pt x="503" y="247"/>
                </a:lnTo>
                <a:lnTo>
                  <a:pt x="507" y="243"/>
                </a:lnTo>
                <a:lnTo>
                  <a:pt x="512" y="243"/>
                </a:lnTo>
                <a:lnTo>
                  <a:pt x="516" y="243"/>
                </a:lnTo>
                <a:lnTo>
                  <a:pt x="519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4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4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839">
            <a:extLst>
              <a:ext uri="{FF2B5EF4-FFF2-40B4-BE49-F238E27FC236}">
                <a16:creationId xmlns:a16="http://schemas.microsoft.com/office/drawing/2014/main" id="{14BFDE57-9DEC-423B-A062-ED178296AA5E}"/>
              </a:ext>
            </a:extLst>
          </p:cNvPr>
          <p:cNvSpPr>
            <a:spLocks noEditPoints="1"/>
          </p:cNvSpPr>
          <p:nvPr/>
        </p:nvSpPr>
        <p:spPr bwMode="auto">
          <a:xfrm>
            <a:off x="8216464" y="2757488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1669">
            <a:extLst>
              <a:ext uri="{FF2B5EF4-FFF2-40B4-BE49-F238E27FC236}">
                <a16:creationId xmlns:a16="http://schemas.microsoft.com/office/drawing/2014/main" id="{9070B90D-31CF-48E0-8F1B-E9E6E84CE017}"/>
              </a:ext>
            </a:extLst>
          </p:cNvPr>
          <p:cNvSpPr>
            <a:spLocks noEditPoints="1"/>
          </p:cNvSpPr>
          <p:nvPr/>
        </p:nvSpPr>
        <p:spPr bwMode="auto">
          <a:xfrm>
            <a:off x="8206939" y="3434424"/>
            <a:ext cx="285750" cy="285750"/>
          </a:xfrm>
          <a:custGeom>
            <a:avLst/>
            <a:gdLst>
              <a:gd name="T0" fmla="*/ 519 w 719"/>
              <a:gd name="T1" fmla="*/ 263 h 719"/>
              <a:gd name="T2" fmla="*/ 292 w 719"/>
              <a:gd name="T3" fmla="*/ 475 h 719"/>
              <a:gd name="T4" fmla="*/ 289 w 719"/>
              <a:gd name="T5" fmla="*/ 477 h 719"/>
              <a:gd name="T6" fmla="*/ 284 w 719"/>
              <a:gd name="T7" fmla="*/ 479 h 719"/>
              <a:gd name="T8" fmla="*/ 280 w 719"/>
              <a:gd name="T9" fmla="*/ 477 h 719"/>
              <a:gd name="T10" fmla="*/ 275 w 719"/>
              <a:gd name="T11" fmla="*/ 475 h 719"/>
              <a:gd name="T12" fmla="*/ 200 w 719"/>
              <a:gd name="T13" fmla="*/ 400 h 719"/>
              <a:gd name="T14" fmla="*/ 198 w 719"/>
              <a:gd name="T15" fmla="*/ 396 h 719"/>
              <a:gd name="T16" fmla="*/ 197 w 719"/>
              <a:gd name="T17" fmla="*/ 391 h 719"/>
              <a:gd name="T18" fmla="*/ 198 w 719"/>
              <a:gd name="T19" fmla="*/ 387 h 719"/>
              <a:gd name="T20" fmla="*/ 200 w 719"/>
              <a:gd name="T21" fmla="*/ 382 h 719"/>
              <a:gd name="T22" fmla="*/ 205 w 719"/>
              <a:gd name="T23" fmla="*/ 380 h 719"/>
              <a:gd name="T24" fmla="*/ 209 w 719"/>
              <a:gd name="T25" fmla="*/ 379 h 719"/>
              <a:gd name="T26" fmla="*/ 213 w 719"/>
              <a:gd name="T27" fmla="*/ 380 h 719"/>
              <a:gd name="T28" fmla="*/ 217 w 719"/>
              <a:gd name="T29" fmla="*/ 382 h 719"/>
              <a:gd name="T30" fmla="*/ 284 w 719"/>
              <a:gd name="T31" fmla="*/ 450 h 719"/>
              <a:gd name="T32" fmla="*/ 503 w 719"/>
              <a:gd name="T33" fmla="*/ 247 h 719"/>
              <a:gd name="T34" fmla="*/ 507 w 719"/>
              <a:gd name="T35" fmla="*/ 243 h 719"/>
              <a:gd name="T36" fmla="*/ 512 w 719"/>
              <a:gd name="T37" fmla="*/ 243 h 719"/>
              <a:gd name="T38" fmla="*/ 516 w 719"/>
              <a:gd name="T39" fmla="*/ 243 h 719"/>
              <a:gd name="T40" fmla="*/ 519 w 719"/>
              <a:gd name="T41" fmla="*/ 247 h 719"/>
              <a:gd name="T42" fmla="*/ 522 w 719"/>
              <a:gd name="T43" fmla="*/ 251 h 719"/>
              <a:gd name="T44" fmla="*/ 523 w 719"/>
              <a:gd name="T45" fmla="*/ 255 h 719"/>
              <a:gd name="T46" fmla="*/ 522 w 719"/>
              <a:gd name="T47" fmla="*/ 260 h 719"/>
              <a:gd name="T48" fmla="*/ 519 w 719"/>
              <a:gd name="T49" fmla="*/ 263 h 719"/>
              <a:gd name="T50" fmla="*/ 707 w 719"/>
              <a:gd name="T51" fmla="*/ 0 h 719"/>
              <a:gd name="T52" fmla="*/ 12 w 719"/>
              <a:gd name="T53" fmla="*/ 0 h 719"/>
              <a:gd name="T54" fmla="*/ 8 w 719"/>
              <a:gd name="T55" fmla="*/ 2 h 719"/>
              <a:gd name="T56" fmla="*/ 4 w 719"/>
              <a:gd name="T57" fmla="*/ 5 h 719"/>
              <a:gd name="T58" fmla="*/ 1 w 719"/>
              <a:gd name="T59" fmla="*/ 8 h 719"/>
              <a:gd name="T60" fmla="*/ 0 w 719"/>
              <a:gd name="T61" fmla="*/ 13 h 719"/>
              <a:gd name="T62" fmla="*/ 0 w 719"/>
              <a:gd name="T63" fmla="*/ 707 h 719"/>
              <a:gd name="T64" fmla="*/ 1 w 719"/>
              <a:gd name="T65" fmla="*/ 713 h 719"/>
              <a:gd name="T66" fmla="*/ 4 w 719"/>
              <a:gd name="T67" fmla="*/ 716 h 719"/>
              <a:gd name="T68" fmla="*/ 8 w 719"/>
              <a:gd name="T69" fmla="*/ 719 h 719"/>
              <a:gd name="T70" fmla="*/ 12 w 719"/>
              <a:gd name="T71" fmla="*/ 719 h 719"/>
              <a:gd name="T72" fmla="*/ 707 w 719"/>
              <a:gd name="T73" fmla="*/ 719 h 719"/>
              <a:gd name="T74" fmla="*/ 711 w 719"/>
              <a:gd name="T75" fmla="*/ 719 h 719"/>
              <a:gd name="T76" fmla="*/ 716 w 719"/>
              <a:gd name="T77" fmla="*/ 716 h 719"/>
              <a:gd name="T78" fmla="*/ 718 w 719"/>
              <a:gd name="T79" fmla="*/ 713 h 719"/>
              <a:gd name="T80" fmla="*/ 719 w 719"/>
              <a:gd name="T81" fmla="*/ 707 h 719"/>
              <a:gd name="T82" fmla="*/ 719 w 719"/>
              <a:gd name="T83" fmla="*/ 13 h 719"/>
              <a:gd name="T84" fmla="*/ 718 w 719"/>
              <a:gd name="T85" fmla="*/ 8 h 719"/>
              <a:gd name="T86" fmla="*/ 716 w 719"/>
              <a:gd name="T87" fmla="*/ 5 h 719"/>
              <a:gd name="T88" fmla="*/ 711 w 719"/>
              <a:gd name="T89" fmla="*/ 2 h 719"/>
              <a:gd name="T90" fmla="*/ 707 w 719"/>
              <a:gd name="T91" fmla="*/ 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9" y="477"/>
                </a:lnTo>
                <a:lnTo>
                  <a:pt x="284" y="479"/>
                </a:lnTo>
                <a:lnTo>
                  <a:pt x="280" y="477"/>
                </a:lnTo>
                <a:lnTo>
                  <a:pt x="275" y="475"/>
                </a:lnTo>
                <a:lnTo>
                  <a:pt x="200" y="400"/>
                </a:lnTo>
                <a:lnTo>
                  <a:pt x="198" y="396"/>
                </a:lnTo>
                <a:lnTo>
                  <a:pt x="197" y="391"/>
                </a:lnTo>
                <a:lnTo>
                  <a:pt x="198" y="387"/>
                </a:lnTo>
                <a:lnTo>
                  <a:pt x="200" y="382"/>
                </a:lnTo>
                <a:lnTo>
                  <a:pt x="205" y="380"/>
                </a:lnTo>
                <a:lnTo>
                  <a:pt x="209" y="379"/>
                </a:lnTo>
                <a:lnTo>
                  <a:pt x="213" y="380"/>
                </a:lnTo>
                <a:lnTo>
                  <a:pt x="217" y="382"/>
                </a:lnTo>
                <a:lnTo>
                  <a:pt x="284" y="450"/>
                </a:lnTo>
                <a:lnTo>
                  <a:pt x="503" y="247"/>
                </a:lnTo>
                <a:lnTo>
                  <a:pt x="507" y="243"/>
                </a:lnTo>
                <a:lnTo>
                  <a:pt x="512" y="243"/>
                </a:lnTo>
                <a:lnTo>
                  <a:pt x="516" y="243"/>
                </a:lnTo>
                <a:lnTo>
                  <a:pt x="519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4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4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1839">
            <a:extLst>
              <a:ext uri="{FF2B5EF4-FFF2-40B4-BE49-F238E27FC236}">
                <a16:creationId xmlns:a16="http://schemas.microsoft.com/office/drawing/2014/main" id="{D567FFCD-AC03-4186-A6CD-FFC1C2AB1A56}"/>
              </a:ext>
            </a:extLst>
          </p:cNvPr>
          <p:cNvSpPr>
            <a:spLocks noEditPoints="1"/>
          </p:cNvSpPr>
          <p:nvPr/>
        </p:nvSpPr>
        <p:spPr bwMode="auto">
          <a:xfrm>
            <a:off x="8216464" y="4116802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1669">
            <a:extLst>
              <a:ext uri="{FF2B5EF4-FFF2-40B4-BE49-F238E27FC236}">
                <a16:creationId xmlns:a16="http://schemas.microsoft.com/office/drawing/2014/main" id="{D7959C52-E86B-4987-B746-9956AF4E0035}"/>
              </a:ext>
            </a:extLst>
          </p:cNvPr>
          <p:cNvSpPr>
            <a:spLocks noEditPoints="1"/>
          </p:cNvSpPr>
          <p:nvPr/>
        </p:nvSpPr>
        <p:spPr bwMode="auto">
          <a:xfrm>
            <a:off x="8206939" y="4793738"/>
            <a:ext cx="285750" cy="285750"/>
          </a:xfrm>
          <a:custGeom>
            <a:avLst/>
            <a:gdLst>
              <a:gd name="T0" fmla="*/ 519 w 719"/>
              <a:gd name="T1" fmla="*/ 263 h 719"/>
              <a:gd name="T2" fmla="*/ 292 w 719"/>
              <a:gd name="T3" fmla="*/ 475 h 719"/>
              <a:gd name="T4" fmla="*/ 289 w 719"/>
              <a:gd name="T5" fmla="*/ 477 h 719"/>
              <a:gd name="T6" fmla="*/ 284 w 719"/>
              <a:gd name="T7" fmla="*/ 479 h 719"/>
              <a:gd name="T8" fmla="*/ 280 w 719"/>
              <a:gd name="T9" fmla="*/ 477 h 719"/>
              <a:gd name="T10" fmla="*/ 275 w 719"/>
              <a:gd name="T11" fmla="*/ 475 h 719"/>
              <a:gd name="T12" fmla="*/ 200 w 719"/>
              <a:gd name="T13" fmla="*/ 400 h 719"/>
              <a:gd name="T14" fmla="*/ 198 w 719"/>
              <a:gd name="T15" fmla="*/ 396 h 719"/>
              <a:gd name="T16" fmla="*/ 197 w 719"/>
              <a:gd name="T17" fmla="*/ 391 h 719"/>
              <a:gd name="T18" fmla="*/ 198 w 719"/>
              <a:gd name="T19" fmla="*/ 387 h 719"/>
              <a:gd name="T20" fmla="*/ 200 w 719"/>
              <a:gd name="T21" fmla="*/ 382 h 719"/>
              <a:gd name="T22" fmla="*/ 205 w 719"/>
              <a:gd name="T23" fmla="*/ 380 h 719"/>
              <a:gd name="T24" fmla="*/ 209 w 719"/>
              <a:gd name="T25" fmla="*/ 379 h 719"/>
              <a:gd name="T26" fmla="*/ 213 w 719"/>
              <a:gd name="T27" fmla="*/ 380 h 719"/>
              <a:gd name="T28" fmla="*/ 217 w 719"/>
              <a:gd name="T29" fmla="*/ 382 h 719"/>
              <a:gd name="T30" fmla="*/ 284 w 719"/>
              <a:gd name="T31" fmla="*/ 450 h 719"/>
              <a:gd name="T32" fmla="*/ 503 w 719"/>
              <a:gd name="T33" fmla="*/ 247 h 719"/>
              <a:gd name="T34" fmla="*/ 507 w 719"/>
              <a:gd name="T35" fmla="*/ 243 h 719"/>
              <a:gd name="T36" fmla="*/ 512 w 719"/>
              <a:gd name="T37" fmla="*/ 243 h 719"/>
              <a:gd name="T38" fmla="*/ 516 w 719"/>
              <a:gd name="T39" fmla="*/ 243 h 719"/>
              <a:gd name="T40" fmla="*/ 519 w 719"/>
              <a:gd name="T41" fmla="*/ 247 h 719"/>
              <a:gd name="T42" fmla="*/ 522 w 719"/>
              <a:gd name="T43" fmla="*/ 251 h 719"/>
              <a:gd name="T44" fmla="*/ 523 w 719"/>
              <a:gd name="T45" fmla="*/ 255 h 719"/>
              <a:gd name="T46" fmla="*/ 522 w 719"/>
              <a:gd name="T47" fmla="*/ 260 h 719"/>
              <a:gd name="T48" fmla="*/ 519 w 719"/>
              <a:gd name="T49" fmla="*/ 263 h 719"/>
              <a:gd name="T50" fmla="*/ 707 w 719"/>
              <a:gd name="T51" fmla="*/ 0 h 719"/>
              <a:gd name="T52" fmla="*/ 12 w 719"/>
              <a:gd name="T53" fmla="*/ 0 h 719"/>
              <a:gd name="T54" fmla="*/ 8 w 719"/>
              <a:gd name="T55" fmla="*/ 2 h 719"/>
              <a:gd name="T56" fmla="*/ 4 w 719"/>
              <a:gd name="T57" fmla="*/ 5 h 719"/>
              <a:gd name="T58" fmla="*/ 1 w 719"/>
              <a:gd name="T59" fmla="*/ 8 h 719"/>
              <a:gd name="T60" fmla="*/ 0 w 719"/>
              <a:gd name="T61" fmla="*/ 13 h 719"/>
              <a:gd name="T62" fmla="*/ 0 w 719"/>
              <a:gd name="T63" fmla="*/ 707 h 719"/>
              <a:gd name="T64" fmla="*/ 1 w 719"/>
              <a:gd name="T65" fmla="*/ 713 h 719"/>
              <a:gd name="T66" fmla="*/ 4 w 719"/>
              <a:gd name="T67" fmla="*/ 716 h 719"/>
              <a:gd name="T68" fmla="*/ 8 w 719"/>
              <a:gd name="T69" fmla="*/ 719 h 719"/>
              <a:gd name="T70" fmla="*/ 12 w 719"/>
              <a:gd name="T71" fmla="*/ 719 h 719"/>
              <a:gd name="T72" fmla="*/ 707 w 719"/>
              <a:gd name="T73" fmla="*/ 719 h 719"/>
              <a:gd name="T74" fmla="*/ 711 w 719"/>
              <a:gd name="T75" fmla="*/ 719 h 719"/>
              <a:gd name="T76" fmla="*/ 716 w 719"/>
              <a:gd name="T77" fmla="*/ 716 h 719"/>
              <a:gd name="T78" fmla="*/ 718 w 719"/>
              <a:gd name="T79" fmla="*/ 713 h 719"/>
              <a:gd name="T80" fmla="*/ 719 w 719"/>
              <a:gd name="T81" fmla="*/ 707 h 719"/>
              <a:gd name="T82" fmla="*/ 719 w 719"/>
              <a:gd name="T83" fmla="*/ 13 h 719"/>
              <a:gd name="T84" fmla="*/ 718 w 719"/>
              <a:gd name="T85" fmla="*/ 8 h 719"/>
              <a:gd name="T86" fmla="*/ 716 w 719"/>
              <a:gd name="T87" fmla="*/ 5 h 719"/>
              <a:gd name="T88" fmla="*/ 711 w 719"/>
              <a:gd name="T89" fmla="*/ 2 h 719"/>
              <a:gd name="T90" fmla="*/ 707 w 719"/>
              <a:gd name="T91" fmla="*/ 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9" y="477"/>
                </a:lnTo>
                <a:lnTo>
                  <a:pt x="284" y="479"/>
                </a:lnTo>
                <a:lnTo>
                  <a:pt x="280" y="477"/>
                </a:lnTo>
                <a:lnTo>
                  <a:pt x="275" y="475"/>
                </a:lnTo>
                <a:lnTo>
                  <a:pt x="200" y="400"/>
                </a:lnTo>
                <a:lnTo>
                  <a:pt x="198" y="396"/>
                </a:lnTo>
                <a:lnTo>
                  <a:pt x="197" y="391"/>
                </a:lnTo>
                <a:lnTo>
                  <a:pt x="198" y="387"/>
                </a:lnTo>
                <a:lnTo>
                  <a:pt x="200" y="382"/>
                </a:lnTo>
                <a:lnTo>
                  <a:pt x="205" y="380"/>
                </a:lnTo>
                <a:lnTo>
                  <a:pt x="209" y="379"/>
                </a:lnTo>
                <a:lnTo>
                  <a:pt x="213" y="380"/>
                </a:lnTo>
                <a:lnTo>
                  <a:pt x="217" y="382"/>
                </a:lnTo>
                <a:lnTo>
                  <a:pt x="284" y="450"/>
                </a:lnTo>
                <a:lnTo>
                  <a:pt x="503" y="247"/>
                </a:lnTo>
                <a:lnTo>
                  <a:pt x="507" y="243"/>
                </a:lnTo>
                <a:lnTo>
                  <a:pt x="512" y="243"/>
                </a:lnTo>
                <a:lnTo>
                  <a:pt x="516" y="243"/>
                </a:lnTo>
                <a:lnTo>
                  <a:pt x="519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4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4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839">
            <a:extLst>
              <a:ext uri="{FF2B5EF4-FFF2-40B4-BE49-F238E27FC236}">
                <a16:creationId xmlns:a16="http://schemas.microsoft.com/office/drawing/2014/main" id="{5511AE7C-28F0-4548-99AC-5278DA6BCABD}"/>
              </a:ext>
            </a:extLst>
          </p:cNvPr>
          <p:cNvSpPr>
            <a:spLocks noEditPoints="1"/>
          </p:cNvSpPr>
          <p:nvPr/>
        </p:nvSpPr>
        <p:spPr bwMode="auto">
          <a:xfrm>
            <a:off x="10472877" y="2757488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1669">
            <a:extLst>
              <a:ext uri="{FF2B5EF4-FFF2-40B4-BE49-F238E27FC236}">
                <a16:creationId xmlns:a16="http://schemas.microsoft.com/office/drawing/2014/main" id="{ABF4F7C3-4462-41CE-B808-407B417F6D53}"/>
              </a:ext>
            </a:extLst>
          </p:cNvPr>
          <p:cNvSpPr>
            <a:spLocks noEditPoints="1"/>
          </p:cNvSpPr>
          <p:nvPr/>
        </p:nvSpPr>
        <p:spPr bwMode="auto">
          <a:xfrm>
            <a:off x="10463352" y="3434424"/>
            <a:ext cx="285750" cy="285750"/>
          </a:xfrm>
          <a:custGeom>
            <a:avLst/>
            <a:gdLst>
              <a:gd name="T0" fmla="*/ 519 w 719"/>
              <a:gd name="T1" fmla="*/ 263 h 719"/>
              <a:gd name="T2" fmla="*/ 292 w 719"/>
              <a:gd name="T3" fmla="*/ 475 h 719"/>
              <a:gd name="T4" fmla="*/ 289 w 719"/>
              <a:gd name="T5" fmla="*/ 477 h 719"/>
              <a:gd name="T6" fmla="*/ 284 w 719"/>
              <a:gd name="T7" fmla="*/ 479 h 719"/>
              <a:gd name="T8" fmla="*/ 280 w 719"/>
              <a:gd name="T9" fmla="*/ 477 h 719"/>
              <a:gd name="T10" fmla="*/ 275 w 719"/>
              <a:gd name="T11" fmla="*/ 475 h 719"/>
              <a:gd name="T12" fmla="*/ 200 w 719"/>
              <a:gd name="T13" fmla="*/ 400 h 719"/>
              <a:gd name="T14" fmla="*/ 198 w 719"/>
              <a:gd name="T15" fmla="*/ 396 h 719"/>
              <a:gd name="T16" fmla="*/ 197 w 719"/>
              <a:gd name="T17" fmla="*/ 391 h 719"/>
              <a:gd name="T18" fmla="*/ 198 w 719"/>
              <a:gd name="T19" fmla="*/ 387 h 719"/>
              <a:gd name="T20" fmla="*/ 200 w 719"/>
              <a:gd name="T21" fmla="*/ 382 h 719"/>
              <a:gd name="T22" fmla="*/ 205 w 719"/>
              <a:gd name="T23" fmla="*/ 380 h 719"/>
              <a:gd name="T24" fmla="*/ 209 w 719"/>
              <a:gd name="T25" fmla="*/ 379 h 719"/>
              <a:gd name="T26" fmla="*/ 213 w 719"/>
              <a:gd name="T27" fmla="*/ 380 h 719"/>
              <a:gd name="T28" fmla="*/ 217 w 719"/>
              <a:gd name="T29" fmla="*/ 382 h 719"/>
              <a:gd name="T30" fmla="*/ 284 w 719"/>
              <a:gd name="T31" fmla="*/ 450 h 719"/>
              <a:gd name="T32" fmla="*/ 503 w 719"/>
              <a:gd name="T33" fmla="*/ 247 h 719"/>
              <a:gd name="T34" fmla="*/ 507 w 719"/>
              <a:gd name="T35" fmla="*/ 243 h 719"/>
              <a:gd name="T36" fmla="*/ 512 w 719"/>
              <a:gd name="T37" fmla="*/ 243 h 719"/>
              <a:gd name="T38" fmla="*/ 516 w 719"/>
              <a:gd name="T39" fmla="*/ 243 h 719"/>
              <a:gd name="T40" fmla="*/ 519 w 719"/>
              <a:gd name="T41" fmla="*/ 247 h 719"/>
              <a:gd name="T42" fmla="*/ 522 w 719"/>
              <a:gd name="T43" fmla="*/ 251 h 719"/>
              <a:gd name="T44" fmla="*/ 523 w 719"/>
              <a:gd name="T45" fmla="*/ 255 h 719"/>
              <a:gd name="T46" fmla="*/ 522 w 719"/>
              <a:gd name="T47" fmla="*/ 260 h 719"/>
              <a:gd name="T48" fmla="*/ 519 w 719"/>
              <a:gd name="T49" fmla="*/ 263 h 719"/>
              <a:gd name="T50" fmla="*/ 707 w 719"/>
              <a:gd name="T51" fmla="*/ 0 h 719"/>
              <a:gd name="T52" fmla="*/ 12 w 719"/>
              <a:gd name="T53" fmla="*/ 0 h 719"/>
              <a:gd name="T54" fmla="*/ 8 w 719"/>
              <a:gd name="T55" fmla="*/ 2 h 719"/>
              <a:gd name="T56" fmla="*/ 4 w 719"/>
              <a:gd name="T57" fmla="*/ 5 h 719"/>
              <a:gd name="T58" fmla="*/ 1 w 719"/>
              <a:gd name="T59" fmla="*/ 8 h 719"/>
              <a:gd name="T60" fmla="*/ 0 w 719"/>
              <a:gd name="T61" fmla="*/ 13 h 719"/>
              <a:gd name="T62" fmla="*/ 0 w 719"/>
              <a:gd name="T63" fmla="*/ 707 h 719"/>
              <a:gd name="T64" fmla="*/ 1 w 719"/>
              <a:gd name="T65" fmla="*/ 713 h 719"/>
              <a:gd name="T66" fmla="*/ 4 w 719"/>
              <a:gd name="T67" fmla="*/ 716 h 719"/>
              <a:gd name="T68" fmla="*/ 8 w 719"/>
              <a:gd name="T69" fmla="*/ 719 h 719"/>
              <a:gd name="T70" fmla="*/ 12 w 719"/>
              <a:gd name="T71" fmla="*/ 719 h 719"/>
              <a:gd name="T72" fmla="*/ 707 w 719"/>
              <a:gd name="T73" fmla="*/ 719 h 719"/>
              <a:gd name="T74" fmla="*/ 711 w 719"/>
              <a:gd name="T75" fmla="*/ 719 h 719"/>
              <a:gd name="T76" fmla="*/ 716 w 719"/>
              <a:gd name="T77" fmla="*/ 716 h 719"/>
              <a:gd name="T78" fmla="*/ 718 w 719"/>
              <a:gd name="T79" fmla="*/ 713 h 719"/>
              <a:gd name="T80" fmla="*/ 719 w 719"/>
              <a:gd name="T81" fmla="*/ 707 h 719"/>
              <a:gd name="T82" fmla="*/ 719 w 719"/>
              <a:gd name="T83" fmla="*/ 13 h 719"/>
              <a:gd name="T84" fmla="*/ 718 w 719"/>
              <a:gd name="T85" fmla="*/ 8 h 719"/>
              <a:gd name="T86" fmla="*/ 716 w 719"/>
              <a:gd name="T87" fmla="*/ 5 h 719"/>
              <a:gd name="T88" fmla="*/ 711 w 719"/>
              <a:gd name="T89" fmla="*/ 2 h 719"/>
              <a:gd name="T90" fmla="*/ 707 w 719"/>
              <a:gd name="T91" fmla="*/ 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9" y="477"/>
                </a:lnTo>
                <a:lnTo>
                  <a:pt x="284" y="479"/>
                </a:lnTo>
                <a:lnTo>
                  <a:pt x="280" y="477"/>
                </a:lnTo>
                <a:lnTo>
                  <a:pt x="275" y="475"/>
                </a:lnTo>
                <a:lnTo>
                  <a:pt x="200" y="400"/>
                </a:lnTo>
                <a:lnTo>
                  <a:pt x="198" y="396"/>
                </a:lnTo>
                <a:lnTo>
                  <a:pt x="197" y="391"/>
                </a:lnTo>
                <a:lnTo>
                  <a:pt x="198" y="387"/>
                </a:lnTo>
                <a:lnTo>
                  <a:pt x="200" y="382"/>
                </a:lnTo>
                <a:lnTo>
                  <a:pt x="205" y="380"/>
                </a:lnTo>
                <a:lnTo>
                  <a:pt x="209" y="379"/>
                </a:lnTo>
                <a:lnTo>
                  <a:pt x="213" y="380"/>
                </a:lnTo>
                <a:lnTo>
                  <a:pt x="217" y="382"/>
                </a:lnTo>
                <a:lnTo>
                  <a:pt x="284" y="450"/>
                </a:lnTo>
                <a:lnTo>
                  <a:pt x="503" y="247"/>
                </a:lnTo>
                <a:lnTo>
                  <a:pt x="507" y="243"/>
                </a:lnTo>
                <a:lnTo>
                  <a:pt x="512" y="243"/>
                </a:lnTo>
                <a:lnTo>
                  <a:pt x="516" y="243"/>
                </a:lnTo>
                <a:lnTo>
                  <a:pt x="519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4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4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669">
            <a:extLst>
              <a:ext uri="{FF2B5EF4-FFF2-40B4-BE49-F238E27FC236}">
                <a16:creationId xmlns:a16="http://schemas.microsoft.com/office/drawing/2014/main" id="{2313CEF6-CA68-4859-9557-458529F12297}"/>
              </a:ext>
            </a:extLst>
          </p:cNvPr>
          <p:cNvSpPr>
            <a:spLocks noEditPoints="1"/>
          </p:cNvSpPr>
          <p:nvPr/>
        </p:nvSpPr>
        <p:spPr bwMode="auto">
          <a:xfrm>
            <a:off x="10463352" y="4793738"/>
            <a:ext cx="285750" cy="285750"/>
          </a:xfrm>
          <a:custGeom>
            <a:avLst/>
            <a:gdLst>
              <a:gd name="T0" fmla="*/ 519 w 719"/>
              <a:gd name="T1" fmla="*/ 263 h 719"/>
              <a:gd name="T2" fmla="*/ 292 w 719"/>
              <a:gd name="T3" fmla="*/ 475 h 719"/>
              <a:gd name="T4" fmla="*/ 289 w 719"/>
              <a:gd name="T5" fmla="*/ 477 h 719"/>
              <a:gd name="T6" fmla="*/ 284 w 719"/>
              <a:gd name="T7" fmla="*/ 479 h 719"/>
              <a:gd name="T8" fmla="*/ 280 w 719"/>
              <a:gd name="T9" fmla="*/ 477 h 719"/>
              <a:gd name="T10" fmla="*/ 275 w 719"/>
              <a:gd name="T11" fmla="*/ 475 h 719"/>
              <a:gd name="T12" fmla="*/ 200 w 719"/>
              <a:gd name="T13" fmla="*/ 400 h 719"/>
              <a:gd name="T14" fmla="*/ 198 w 719"/>
              <a:gd name="T15" fmla="*/ 396 h 719"/>
              <a:gd name="T16" fmla="*/ 197 w 719"/>
              <a:gd name="T17" fmla="*/ 391 h 719"/>
              <a:gd name="T18" fmla="*/ 198 w 719"/>
              <a:gd name="T19" fmla="*/ 387 h 719"/>
              <a:gd name="T20" fmla="*/ 200 w 719"/>
              <a:gd name="T21" fmla="*/ 382 h 719"/>
              <a:gd name="T22" fmla="*/ 205 w 719"/>
              <a:gd name="T23" fmla="*/ 380 h 719"/>
              <a:gd name="T24" fmla="*/ 209 w 719"/>
              <a:gd name="T25" fmla="*/ 379 h 719"/>
              <a:gd name="T26" fmla="*/ 213 w 719"/>
              <a:gd name="T27" fmla="*/ 380 h 719"/>
              <a:gd name="T28" fmla="*/ 217 w 719"/>
              <a:gd name="T29" fmla="*/ 382 h 719"/>
              <a:gd name="T30" fmla="*/ 284 w 719"/>
              <a:gd name="T31" fmla="*/ 450 h 719"/>
              <a:gd name="T32" fmla="*/ 503 w 719"/>
              <a:gd name="T33" fmla="*/ 247 h 719"/>
              <a:gd name="T34" fmla="*/ 507 w 719"/>
              <a:gd name="T35" fmla="*/ 243 h 719"/>
              <a:gd name="T36" fmla="*/ 512 w 719"/>
              <a:gd name="T37" fmla="*/ 243 h 719"/>
              <a:gd name="T38" fmla="*/ 516 w 719"/>
              <a:gd name="T39" fmla="*/ 243 h 719"/>
              <a:gd name="T40" fmla="*/ 519 w 719"/>
              <a:gd name="T41" fmla="*/ 247 h 719"/>
              <a:gd name="T42" fmla="*/ 522 w 719"/>
              <a:gd name="T43" fmla="*/ 251 h 719"/>
              <a:gd name="T44" fmla="*/ 523 w 719"/>
              <a:gd name="T45" fmla="*/ 255 h 719"/>
              <a:gd name="T46" fmla="*/ 522 w 719"/>
              <a:gd name="T47" fmla="*/ 260 h 719"/>
              <a:gd name="T48" fmla="*/ 519 w 719"/>
              <a:gd name="T49" fmla="*/ 263 h 719"/>
              <a:gd name="T50" fmla="*/ 707 w 719"/>
              <a:gd name="T51" fmla="*/ 0 h 719"/>
              <a:gd name="T52" fmla="*/ 12 w 719"/>
              <a:gd name="T53" fmla="*/ 0 h 719"/>
              <a:gd name="T54" fmla="*/ 8 w 719"/>
              <a:gd name="T55" fmla="*/ 2 h 719"/>
              <a:gd name="T56" fmla="*/ 4 w 719"/>
              <a:gd name="T57" fmla="*/ 5 h 719"/>
              <a:gd name="T58" fmla="*/ 1 w 719"/>
              <a:gd name="T59" fmla="*/ 8 h 719"/>
              <a:gd name="T60" fmla="*/ 0 w 719"/>
              <a:gd name="T61" fmla="*/ 13 h 719"/>
              <a:gd name="T62" fmla="*/ 0 w 719"/>
              <a:gd name="T63" fmla="*/ 707 h 719"/>
              <a:gd name="T64" fmla="*/ 1 w 719"/>
              <a:gd name="T65" fmla="*/ 713 h 719"/>
              <a:gd name="T66" fmla="*/ 4 w 719"/>
              <a:gd name="T67" fmla="*/ 716 h 719"/>
              <a:gd name="T68" fmla="*/ 8 w 719"/>
              <a:gd name="T69" fmla="*/ 719 h 719"/>
              <a:gd name="T70" fmla="*/ 12 w 719"/>
              <a:gd name="T71" fmla="*/ 719 h 719"/>
              <a:gd name="T72" fmla="*/ 707 w 719"/>
              <a:gd name="T73" fmla="*/ 719 h 719"/>
              <a:gd name="T74" fmla="*/ 711 w 719"/>
              <a:gd name="T75" fmla="*/ 719 h 719"/>
              <a:gd name="T76" fmla="*/ 716 w 719"/>
              <a:gd name="T77" fmla="*/ 716 h 719"/>
              <a:gd name="T78" fmla="*/ 718 w 719"/>
              <a:gd name="T79" fmla="*/ 713 h 719"/>
              <a:gd name="T80" fmla="*/ 719 w 719"/>
              <a:gd name="T81" fmla="*/ 707 h 719"/>
              <a:gd name="T82" fmla="*/ 719 w 719"/>
              <a:gd name="T83" fmla="*/ 13 h 719"/>
              <a:gd name="T84" fmla="*/ 718 w 719"/>
              <a:gd name="T85" fmla="*/ 8 h 719"/>
              <a:gd name="T86" fmla="*/ 716 w 719"/>
              <a:gd name="T87" fmla="*/ 5 h 719"/>
              <a:gd name="T88" fmla="*/ 711 w 719"/>
              <a:gd name="T89" fmla="*/ 2 h 719"/>
              <a:gd name="T90" fmla="*/ 707 w 719"/>
              <a:gd name="T91" fmla="*/ 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9" y="477"/>
                </a:lnTo>
                <a:lnTo>
                  <a:pt x="284" y="479"/>
                </a:lnTo>
                <a:lnTo>
                  <a:pt x="280" y="477"/>
                </a:lnTo>
                <a:lnTo>
                  <a:pt x="275" y="475"/>
                </a:lnTo>
                <a:lnTo>
                  <a:pt x="200" y="400"/>
                </a:lnTo>
                <a:lnTo>
                  <a:pt x="198" y="396"/>
                </a:lnTo>
                <a:lnTo>
                  <a:pt x="197" y="391"/>
                </a:lnTo>
                <a:lnTo>
                  <a:pt x="198" y="387"/>
                </a:lnTo>
                <a:lnTo>
                  <a:pt x="200" y="382"/>
                </a:lnTo>
                <a:lnTo>
                  <a:pt x="205" y="380"/>
                </a:lnTo>
                <a:lnTo>
                  <a:pt x="209" y="379"/>
                </a:lnTo>
                <a:lnTo>
                  <a:pt x="213" y="380"/>
                </a:lnTo>
                <a:lnTo>
                  <a:pt x="217" y="382"/>
                </a:lnTo>
                <a:lnTo>
                  <a:pt x="284" y="450"/>
                </a:lnTo>
                <a:lnTo>
                  <a:pt x="503" y="247"/>
                </a:lnTo>
                <a:lnTo>
                  <a:pt x="507" y="243"/>
                </a:lnTo>
                <a:lnTo>
                  <a:pt x="512" y="243"/>
                </a:lnTo>
                <a:lnTo>
                  <a:pt x="516" y="243"/>
                </a:lnTo>
                <a:lnTo>
                  <a:pt x="519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4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4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35F316-3B67-4B11-ACEC-87F6AFA6677B}"/>
              </a:ext>
            </a:extLst>
          </p:cNvPr>
          <p:cNvSpPr/>
          <p:nvPr/>
        </p:nvSpPr>
        <p:spPr>
          <a:xfrm>
            <a:off x="839788" y="5446014"/>
            <a:ext cx="10512425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400" dirty="0"/>
              <a:t>“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Duis </a:t>
            </a:r>
            <a:r>
              <a:rPr lang="en-US" sz="1400" dirty="0" err="1"/>
              <a:t>suscipit</a:t>
            </a:r>
            <a:r>
              <a:rPr lang="en-US" sz="1400" dirty="0"/>
              <a:t> in </a:t>
            </a:r>
            <a:r>
              <a:rPr lang="en-US" sz="1400" dirty="0" err="1"/>
              <a:t>tellus</a:t>
            </a:r>
            <a:r>
              <a:rPr lang="en-US" sz="1400" dirty="0"/>
              <a:t> ac </a:t>
            </a:r>
            <a:r>
              <a:rPr lang="en-US" sz="1400" dirty="0" err="1"/>
              <a:t>bibendum</a:t>
            </a:r>
            <a:r>
              <a:rPr lang="en-US" sz="1400" dirty="0"/>
              <a:t>. Sed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lacus</a:t>
            </a:r>
            <a:r>
              <a:rPr lang="en-US" sz="1400" dirty="0"/>
              <a:t> vitae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finibus</a:t>
            </a:r>
            <a:r>
              <a:rPr lang="en-US" sz="1400" dirty="0"/>
              <a:t>,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nisi </a:t>
            </a:r>
            <a:r>
              <a:rPr lang="en-US" sz="1400" dirty="0" err="1"/>
              <a:t>ullamcorper</a:t>
            </a:r>
            <a:r>
              <a:rPr lang="en-US" sz="1400" dirty="0"/>
              <a:t>. </a:t>
            </a:r>
            <a:r>
              <a:rPr lang="en-US" sz="1400" dirty="0" err="1"/>
              <a:t>Quisque</a:t>
            </a:r>
            <a:r>
              <a:rPr lang="en-US" sz="1400" dirty="0"/>
              <a:t> </a:t>
            </a:r>
            <a:r>
              <a:rPr lang="en-US" sz="1400" dirty="0" err="1"/>
              <a:t>volutpat</a:t>
            </a:r>
            <a:r>
              <a:rPr lang="en-US" sz="1400" dirty="0"/>
              <a:t> </a:t>
            </a:r>
            <a:r>
              <a:rPr lang="en-US" sz="1400" dirty="0" err="1"/>
              <a:t>leo</a:t>
            </a:r>
            <a:r>
              <a:rPr lang="en-US" sz="1400" dirty="0"/>
              <a:t> at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placerat</a:t>
            </a:r>
            <a:r>
              <a:rPr lang="en-US" sz="1400" dirty="0"/>
              <a:t>,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 </a:t>
            </a:r>
            <a:r>
              <a:rPr lang="en-US" sz="1400" dirty="0" err="1"/>
              <a:t>Proin</a:t>
            </a:r>
            <a:r>
              <a:rPr lang="en-US" sz="1400" dirty="0"/>
              <a:t> et </a:t>
            </a:r>
            <a:r>
              <a:rPr lang="en-US" sz="1400" dirty="0" err="1"/>
              <a:t>luctus</a:t>
            </a:r>
            <a:r>
              <a:rPr lang="en-US" sz="1400" dirty="0"/>
              <a:t> </a:t>
            </a:r>
            <a:r>
              <a:rPr lang="en-US" sz="1400" dirty="0" err="1"/>
              <a:t>nisl</a:t>
            </a:r>
            <a:r>
              <a:rPr lang="en-US" sz="1400" dirty="0"/>
              <a:t>,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viverra</a:t>
            </a:r>
            <a:r>
              <a:rPr lang="en-US" sz="1400" dirty="0"/>
              <a:t> </a:t>
            </a:r>
            <a:r>
              <a:rPr lang="en-US" sz="1400" dirty="0" err="1"/>
              <a:t>eros</a:t>
            </a:r>
            <a:r>
              <a:rPr lang="en-US" sz="1400" dirty="0"/>
              <a:t>. </a:t>
            </a:r>
            <a:r>
              <a:rPr lang="en-US" sz="1400" dirty="0" err="1"/>
              <a:t>Suspendisse</a:t>
            </a:r>
            <a:r>
              <a:rPr lang="en-US" sz="1400" dirty="0"/>
              <a:t> pharetra </a:t>
            </a:r>
            <a:r>
              <a:rPr lang="en-US" sz="1400" dirty="0" err="1"/>
              <a:t>mattis</a:t>
            </a:r>
            <a:r>
              <a:rPr lang="en-US" sz="1400" dirty="0"/>
              <a:t> </a:t>
            </a:r>
            <a:r>
              <a:rPr lang="en-US" sz="1400" dirty="0" err="1"/>
              <a:t>purus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semper. </a:t>
            </a:r>
            <a:r>
              <a:rPr lang="en-US" sz="1400" dirty="0" err="1"/>
              <a:t>Donec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condimentum</a:t>
            </a:r>
            <a:r>
              <a:rPr lang="en-US" sz="1400" dirty="0"/>
              <a:t> </a:t>
            </a:r>
            <a:r>
              <a:rPr lang="en-US" sz="1400" dirty="0" err="1"/>
              <a:t>sapien</a:t>
            </a:r>
            <a:r>
              <a:rPr lang="en-US" sz="1400" dirty="0"/>
              <a:t>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osuere</a:t>
            </a:r>
            <a:r>
              <a:rPr lang="en-US" sz="1400" dirty="0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35907426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431800" y="191214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TAB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A22ABB57-F0EC-4286-B1AC-36841ACD99BD}" type="datetime1">
              <a:rPr lang="en-US" smtClean="0"/>
              <a:t>4/7/2024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794E2DD-4F38-4D2A-97E5-5D7467AA1DEC}" type="slidenum">
              <a:rPr lang="en-US" smtClean="0"/>
              <a:t>12</a:t>
            </a:fld>
            <a:endParaRPr lang="en-US"/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ED91F0B6-90D9-461D-80A2-5674BF75D1F8}"/>
              </a:ext>
            </a:extLst>
          </p:cNvPr>
          <p:cNvSpPr/>
          <p:nvPr/>
        </p:nvSpPr>
        <p:spPr>
          <a:xfrm>
            <a:off x="953945" y="1190624"/>
            <a:ext cx="2895600" cy="738663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</a:p>
        </p:txBody>
      </p:sp>
      <p:sp>
        <p:nvSpPr>
          <p:cNvPr id="26" name="Rectangle: Top Corners Rounded 25">
            <a:extLst>
              <a:ext uri="{FF2B5EF4-FFF2-40B4-BE49-F238E27FC236}">
                <a16:creationId xmlns:a16="http://schemas.microsoft.com/office/drawing/2014/main" id="{D02B4924-2CAD-4E50-8D0C-0DE42736222A}"/>
              </a:ext>
            </a:extLst>
          </p:cNvPr>
          <p:cNvSpPr/>
          <p:nvPr/>
        </p:nvSpPr>
        <p:spPr>
          <a:xfrm>
            <a:off x="4648200" y="1190624"/>
            <a:ext cx="2895600" cy="738663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</a:p>
        </p:txBody>
      </p:sp>
      <p:sp>
        <p:nvSpPr>
          <p:cNvPr id="31" name="Rectangle: Top Corners Rounded 30">
            <a:extLst>
              <a:ext uri="{FF2B5EF4-FFF2-40B4-BE49-F238E27FC236}">
                <a16:creationId xmlns:a16="http://schemas.microsoft.com/office/drawing/2014/main" id="{1CFF4D6A-BD90-48E3-8576-1146342B4B54}"/>
              </a:ext>
            </a:extLst>
          </p:cNvPr>
          <p:cNvSpPr/>
          <p:nvPr/>
        </p:nvSpPr>
        <p:spPr>
          <a:xfrm>
            <a:off x="8342455" y="1190624"/>
            <a:ext cx="2895600" cy="738663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B517FB-DEB8-4A37-9655-3E6DBDF9262D}"/>
              </a:ext>
            </a:extLst>
          </p:cNvPr>
          <p:cNvSpPr/>
          <p:nvPr/>
        </p:nvSpPr>
        <p:spPr>
          <a:xfrm>
            <a:off x="953945" y="2050470"/>
            <a:ext cx="2895600" cy="32835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B8EB5EA-E068-45CE-B708-EDC1EEB1E803}"/>
              </a:ext>
            </a:extLst>
          </p:cNvPr>
          <p:cNvSpPr/>
          <p:nvPr/>
        </p:nvSpPr>
        <p:spPr>
          <a:xfrm>
            <a:off x="4648200" y="2050470"/>
            <a:ext cx="2895600" cy="328352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A8797D6-2E1D-4201-A477-162F024A71B3}"/>
              </a:ext>
            </a:extLst>
          </p:cNvPr>
          <p:cNvSpPr/>
          <p:nvPr/>
        </p:nvSpPr>
        <p:spPr>
          <a:xfrm>
            <a:off x="8342455" y="2050470"/>
            <a:ext cx="2895600" cy="32835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73717B2-3B01-4F49-B05A-0071FEC63C96}"/>
              </a:ext>
            </a:extLst>
          </p:cNvPr>
          <p:cNvCxnSpPr/>
          <p:nvPr/>
        </p:nvCxnSpPr>
        <p:spPr>
          <a:xfrm>
            <a:off x="1143000" y="3081536"/>
            <a:ext cx="990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2EC5F4E-E51B-4F82-AE81-E1B1F29D8E86}"/>
              </a:ext>
            </a:extLst>
          </p:cNvPr>
          <p:cNvCxnSpPr/>
          <p:nvPr/>
        </p:nvCxnSpPr>
        <p:spPr>
          <a:xfrm>
            <a:off x="1143000" y="4275336"/>
            <a:ext cx="990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5E19D58-9499-4C85-BC9F-C05CE481E51B}"/>
              </a:ext>
            </a:extLst>
          </p:cNvPr>
          <p:cNvSpPr/>
          <p:nvPr/>
        </p:nvSpPr>
        <p:spPr>
          <a:xfrm>
            <a:off x="1030145" y="5460999"/>
            <a:ext cx="2743200" cy="60960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GN UP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107A8B0-A2B0-4A02-9872-2FBBE6B283CE}"/>
              </a:ext>
            </a:extLst>
          </p:cNvPr>
          <p:cNvSpPr/>
          <p:nvPr/>
        </p:nvSpPr>
        <p:spPr>
          <a:xfrm>
            <a:off x="4724400" y="5460999"/>
            <a:ext cx="2743200" cy="60960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GN UP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E3BBE412-646A-4655-9AF4-298420D7CEB3}"/>
              </a:ext>
            </a:extLst>
          </p:cNvPr>
          <p:cNvSpPr/>
          <p:nvPr/>
        </p:nvSpPr>
        <p:spPr>
          <a:xfrm>
            <a:off x="8418655" y="5460999"/>
            <a:ext cx="2743200" cy="609601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GN UP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D9E5CEA-42F0-47D4-9FFA-783E9825B922}"/>
              </a:ext>
            </a:extLst>
          </p:cNvPr>
          <p:cNvSpPr/>
          <p:nvPr/>
        </p:nvSpPr>
        <p:spPr>
          <a:xfrm>
            <a:off x="1185801" y="2304393"/>
            <a:ext cx="243188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C11DA66-0F0E-40CC-894F-A4813A6C95CA}"/>
              </a:ext>
            </a:extLst>
          </p:cNvPr>
          <p:cNvSpPr/>
          <p:nvPr/>
        </p:nvSpPr>
        <p:spPr>
          <a:xfrm>
            <a:off x="1185801" y="3423726"/>
            <a:ext cx="243188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D6A8A85-E502-4CDC-8921-A33A89BF7077}"/>
              </a:ext>
            </a:extLst>
          </p:cNvPr>
          <p:cNvSpPr/>
          <p:nvPr/>
        </p:nvSpPr>
        <p:spPr>
          <a:xfrm>
            <a:off x="1185801" y="4543058"/>
            <a:ext cx="243188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41A1713-F21F-40E5-B8AA-6751453760D3}"/>
              </a:ext>
            </a:extLst>
          </p:cNvPr>
          <p:cNvSpPr/>
          <p:nvPr/>
        </p:nvSpPr>
        <p:spPr>
          <a:xfrm>
            <a:off x="4880056" y="2304393"/>
            <a:ext cx="243188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A5E5038-EB95-46AC-9BF1-60CA03137783}"/>
              </a:ext>
            </a:extLst>
          </p:cNvPr>
          <p:cNvSpPr/>
          <p:nvPr/>
        </p:nvSpPr>
        <p:spPr>
          <a:xfrm>
            <a:off x="4880056" y="3423726"/>
            <a:ext cx="243188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1A3DBC7-1E3E-404D-9D26-206D0CA4297B}"/>
              </a:ext>
            </a:extLst>
          </p:cNvPr>
          <p:cNvSpPr/>
          <p:nvPr/>
        </p:nvSpPr>
        <p:spPr>
          <a:xfrm>
            <a:off x="4880056" y="4543058"/>
            <a:ext cx="243188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5BF0EC5-E4C8-4D1B-98BC-B0E61E929CE3}"/>
              </a:ext>
            </a:extLst>
          </p:cNvPr>
          <p:cNvSpPr/>
          <p:nvPr/>
        </p:nvSpPr>
        <p:spPr>
          <a:xfrm>
            <a:off x="8574311" y="2304393"/>
            <a:ext cx="243188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18CE07C-1650-4515-A42E-F7CDD66BC368}"/>
              </a:ext>
            </a:extLst>
          </p:cNvPr>
          <p:cNvSpPr/>
          <p:nvPr/>
        </p:nvSpPr>
        <p:spPr>
          <a:xfrm>
            <a:off x="8574311" y="3423726"/>
            <a:ext cx="243188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42A36A6-C8C4-4334-8B8F-6885196E0D69}"/>
              </a:ext>
            </a:extLst>
          </p:cNvPr>
          <p:cNvSpPr/>
          <p:nvPr/>
        </p:nvSpPr>
        <p:spPr>
          <a:xfrm>
            <a:off x="8574311" y="4543058"/>
            <a:ext cx="243188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7752084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431800" y="191214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TAB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A22ABB57-F0EC-4286-B1AC-36841ACD99BD}" type="datetime1">
              <a:rPr lang="en-US" smtClean="0"/>
              <a:t>4/7/2024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794E2DD-4F38-4D2A-97E5-5D7467AA1DEC}" type="slidenum">
              <a:rPr lang="en-US" smtClean="0"/>
              <a:t>13</a:t>
            </a:fld>
            <a:endParaRPr lang="en-US"/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34A113B8-3EEB-493A-A356-B2637981E369}"/>
              </a:ext>
            </a:extLst>
          </p:cNvPr>
          <p:cNvSpPr/>
          <p:nvPr/>
        </p:nvSpPr>
        <p:spPr>
          <a:xfrm>
            <a:off x="431800" y="1190624"/>
            <a:ext cx="2633817" cy="738663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37B5AF5-A556-49C8-8800-7C8CC3169898}"/>
              </a:ext>
            </a:extLst>
          </p:cNvPr>
          <p:cNvSpPr/>
          <p:nvPr/>
        </p:nvSpPr>
        <p:spPr>
          <a:xfrm>
            <a:off x="431800" y="2032000"/>
            <a:ext cx="2633817" cy="4025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: Top Corners Rounded 29">
            <a:extLst>
              <a:ext uri="{FF2B5EF4-FFF2-40B4-BE49-F238E27FC236}">
                <a16:creationId xmlns:a16="http://schemas.microsoft.com/office/drawing/2014/main" id="{4B1049CE-09D6-447F-8082-31A1AA90D0C8}"/>
              </a:ext>
            </a:extLst>
          </p:cNvPr>
          <p:cNvSpPr/>
          <p:nvPr/>
        </p:nvSpPr>
        <p:spPr>
          <a:xfrm>
            <a:off x="3329994" y="1190624"/>
            <a:ext cx="2633817" cy="738663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7F947FB-6620-47A8-B944-CEAFA39A0A45}"/>
              </a:ext>
            </a:extLst>
          </p:cNvPr>
          <p:cNvSpPr/>
          <p:nvPr/>
        </p:nvSpPr>
        <p:spPr>
          <a:xfrm>
            <a:off x="3329994" y="2032000"/>
            <a:ext cx="2633817" cy="4025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: Top Corners Rounded 33">
            <a:extLst>
              <a:ext uri="{FF2B5EF4-FFF2-40B4-BE49-F238E27FC236}">
                <a16:creationId xmlns:a16="http://schemas.microsoft.com/office/drawing/2014/main" id="{61202648-D277-425B-AF9D-10D66C73E1E5}"/>
              </a:ext>
            </a:extLst>
          </p:cNvPr>
          <p:cNvSpPr/>
          <p:nvPr/>
        </p:nvSpPr>
        <p:spPr>
          <a:xfrm>
            <a:off x="6228189" y="1190624"/>
            <a:ext cx="2633817" cy="738663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8B089A9-270F-43C1-8635-AC7CF0D0DB42}"/>
              </a:ext>
            </a:extLst>
          </p:cNvPr>
          <p:cNvSpPr/>
          <p:nvPr/>
        </p:nvSpPr>
        <p:spPr>
          <a:xfrm>
            <a:off x="6228189" y="2032000"/>
            <a:ext cx="2633817" cy="4025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: Top Corners Rounded 48">
            <a:extLst>
              <a:ext uri="{FF2B5EF4-FFF2-40B4-BE49-F238E27FC236}">
                <a16:creationId xmlns:a16="http://schemas.microsoft.com/office/drawing/2014/main" id="{17170B07-20ED-443D-AACA-32841CB6D744}"/>
              </a:ext>
            </a:extLst>
          </p:cNvPr>
          <p:cNvSpPr/>
          <p:nvPr/>
        </p:nvSpPr>
        <p:spPr>
          <a:xfrm>
            <a:off x="9126383" y="1190624"/>
            <a:ext cx="2633817" cy="738663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E288438-07FF-4A3E-BB8E-DE25DA6E3913}"/>
              </a:ext>
            </a:extLst>
          </p:cNvPr>
          <p:cNvSpPr/>
          <p:nvPr/>
        </p:nvSpPr>
        <p:spPr>
          <a:xfrm>
            <a:off x="9126383" y="2032000"/>
            <a:ext cx="2633817" cy="4025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3CE8846-E7D6-4EC5-B015-A980E2A70770}"/>
              </a:ext>
            </a:extLst>
          </p:cNvPr>
          <p:cNvSpPr/>
          <p:nvPr/>
        </p:nvSpPr>
        <p:spPr>
          <a:xfrm>
            <a:off x="573958" y="5478912"/>
            <a:ext cx="2349500" cy="451988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OREM IPSUM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4CB945FE-40D2-4106-9E97-483ED0E7D180}"/>
              </a:ext>
            </a:extLst>
          </p:cNvPr>
          <p:cNvSpPr/>
          <p:nvPr/>
        </p:nvSpPr>
        <p:spPr>
          <a:xfrm>
            <a:off x="3472152" y="5478912"/>
            <a:ext cx="2349500" cy="451988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OREM IPSUM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0FCC19B7-EEED-4D10-8D70-D5E31F2B3507}"/>
              </a:ext>
            </a:extLst>
          </p:cNvPr>
          <p:cNvSpPr/>
          <p:nvPr/>
        </p:nvSpPr>
        <p:spPr>
          <a:xfrm>
            <a:off x="6370347" y="5478912"/>
            <a:ext cx="2349500" cy="451988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OREM IPSUM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701885FC-3E9B-4502-983A-4E89EDC92676}"/>
              </a:ext>
            </a:extLst>
          </p:cNvPr>
          <p:cNvSpPr/>
          <p:nvPr/>
        </p:nvSpPr>
        <p:spPr>
          <a:xfrm>
            <a:off x="9268541" y="5478912"/>
            <a:ext cx="2349500" cy="451988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OREM IPSUM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82C0A4B-450F-42D5-A0DF-68E99F8B53DB}"/>
              </a:ext>
            </a:extLst>
          </p:cNvPr>
          <p:cNvSpPr/>
          <p:nvPr/>
        </p:nvSpPr>
        <p:spPr>
          <a:xfrm>
            <a:off x="792316" y="2265911"/>
            <a:ext cx="1912784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6000" dirty="0">
                <a:solidFill>
                  <a:schemeClr val="accent1"/>
                </a:solidFill>
              </a:rPr>
              <a:t>$20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EF5831E-7FA3-4B38-8C35-23BBD87BF6A4}"/>
              </a:ext>
            </a:extLst>
          </p:cNvPr>
          <p:cNvSpPr/>
          <p:nvPr/>
        </p:nvSpPr>
        <p:spPr>
          <a:xfrm>
            <a:off x="3690510" y="2265911"/>
            <a:ext cx="1912784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6000" dirty="0">
                <a:solidFill>
                  <a:schemeClr val="accent2"/>
                </a:solidFill>
              </a:rPr>
              <a:t>$40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EA6DC6F-E0D0-465F-9DEC-B08736360651}"/>
              </a:ext>
            </a:extLst>
          </p:cNvPr>
          <p:cNvSpPr/>
          <p:nvPr/>
        </p:nvSpPr>
        <p:spPr>
          <a:xfrm>
            <a:off x="6588705" y="2265911"/>
            <a:ext cx="1912784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6000" dirty="0">
                <a:solidFill>
                  <a:schemeClr val="accent1"/>
                </a:solidFill>
              </a:rPr>
              <a:t>$60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584E6-E8CB-4405-A215-14C6B24588A3}"/>
              </a:ext>
            </a:extLst>
          </p:cNvPr>
          <p:cNvSpPr/>
          <p:nvPr/>
        </p:nvSpPr>
        <p:spPr>
          <a:xfrm>
            <a:off x="9486899" y="2265911"/>
            <a:ext cx="1912784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6000" dirty="0">
                <a:solidFill>
                  <a:schemeClr val="accent2"/>
                </a:solidFill>
              </a:rPr>
              <a:t>$80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686F06A-ABB5-43D4-8C71-B220E89F0DEF}"/>
              </a:ext>
            </a:extLst>
          </p:cNvPr>
          <p:cNvSpPr/>
          <p:nvPr/>
        </p:nvSpPr>
        <p:spPr>
          <a:xfrm>
            <a:off x="565440" y="3421545"/>
            <a:ext cx="2349500" cy="172354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1400" dirty="0"/>
              <a:t>“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Duis </a:t>
            </a:r>
            <a:r>
              <a:rPr lang="en-US" sz="1400" dirty="0" err="1"/>
              <a:t>suscipit</a:t>
            </a:r>
            <a:r>
              <a:rPr lang="en-US" sz="1400" dirty="0"/>
              <a:t> in </a:t>
            </a:r>
            <a:r>
              <a:rPr lang="en-US" sz="1400" dirty="0" err="1"/>
              <a:t>tellus</a:t>
            </a:r>
            <a:r>
              <a:rPr lang="en-US" sz="1400" dirty="0"/>
              <a:t> ac </a:t>
            </a:r>
            <a:r>
              <a:rPr lang="en-US" sz="1400" dirty="0" err="1"/>
              <a:t>bibendum</a:t>
            </a:r>
            <a:r>
              <a:rPr lang="en-US" sz="1400" dirty="0"/>
              <a:t>. Sed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lacus</a:t>
            </a:r>
            <a:r>
              <a:rPr lang="en-US" sz="1400" dirty="0"/>
              <a:t> vitae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finibus</a:t>
            </a:r>
            <a:r>
              <a:rPr lang="en-US" sz="1400" dirty="0"/>
              <a:t>,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nisi </a:t>
            </a:r>
            <a:r>
              <a:rPr lang="en-US" sz="1400" dirty="0" err="1"/>
              <a:t>ullamcorper</a:t>
            </a:r>
            <a:r>
              <a:rPr lang="en-US" sz="1400" dirty="0"/>
              <a:t>. </a:t>
            </a:r>
            <a:r>
              <a:rPr lang="en-US" sz="1400" dirty="0" err="1"/>
              <a:t>Quisque</a:t>
            </a:r>
            <a:r>
              <a:rPr lang="en-US" sz="1400" dirty="0"/>
              <a:t> </a:t>
            </a:r>
            <a:r>
              <a:rPr lang="en-US" sz="1400" dirty="0" err="1"/>
              <a:t>volutpat</a:t>
            </a:r>
            <a:r>
              <a:rPr lang="en-US" sz="1400" dirty="0"/>
              <a:t> </a:t>
            </a:r>
            <a:r>
              <a:rPr lang="en-US" sz="1400" dirty="0" err="1"/>
              <a:t>leo</a:t>
            </a:r>
            <a:r>
              <a:rPr lang="en-US" sz="1400" dirty="0"/>
              <a:t> at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placerat</a:t>
            </a:r>
            <a:r>
              <a:rPr lang="en-US" sz="1400" dirty="0"/>
              <a:t>,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”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0682BA8-4F30-443D-8282-AE31C78EED8D}"/>
              </a:ext>
            </a:extLst>
          </p:cNvPr>
          <p:cNvSpPr/>
          <p:nvPr/>
        </p:nvSpPr>
        <p:spPr>
          <a:xfrm>
            <a:off x="3472152" y="3421545"/>
            <a:ext cx="2349500" cy="172354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1400" dirty="0"/>
              <a:t>“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Duis </a:t>
            </a:r>
            <a:r>
              <a:rPr lang="en-US" sz="1400" dirty="0" err="1"/>
              <a:t>suscipit</a:t>
            </a:r>
            <a:r>
              <a:rPr lang="en-US" sz="1400" dirty="0"/>
              <a:t> in </a:t>
            </a:r>
            <a:r>
              <a:rPr lang="en-US" sz="1400" dirty="0" err="1"/>
              <a:t>tellus</a:t>
            </a:r>
            <a:r>
              <a:rPr lang="en-US" sz="1400" dirty="0"/>
              <a:t> ac </a:t>
            </a:r>
            <a:r>
              <a:rPr lang="en-US" sz="1400" dirty="0" err="1"/>
              <a:t>bibendum</a:t>
            </a:r>
            <a:r>
              <a:rPr lang="en-US" sz="1400" dirty="0"/>
              <a:t>. Sed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lacus</a:t>
            </a:r>
            <a:r>
              <a:rPr lang="en-US" sz="1400" dirty="0"/>
              <a:t> vitae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finibus</a:t>
            </a:r>
            <a:r>
              <a:rPr lang="en-US" sz="1400" dirty="0"/>
              <a:t>,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nisi </a:t>
            </a:r>
            <a:r>
              <a:rPr lang="en-US" sz="1400" dirty="0" err="1"/>
              <a:t>ullamcorper</a:t>
            </a:r>
            <a:r>
              <a:rPr lang="en-US" sz="1400" dirty="0"/>
              <a:t>. </a:t>
            </a:r>
            <a:r>
              <a:rPr lang="en-US" sz="1400" dirty="0" err="1"/>
              <a:t>Quisque</a:t>
            </a:r>
            <a:r>
              <a:rPr lang="en-US" sz="1400" dirty="0"/>
              <a:t> </a:t>
            </a:r>
            <a:r>
              <a:rPr lang="en-US" sz="1400" dirty="0" err="1"/>
              <a:t>volutpat</a:t>
            </a:r>
            <a:r>
              <a:rPr lang="en-US" sz="1400" dirty="0"/>
              <a:t> </a:t>
            </a:r>
            <a:r>
              <a:rPr lang="en-US" sz="1400" dirty="0" err="1"/>
              <a:t>leo</a:t>
            </a:r>
            <a:r>
              <a:rPr lang="en-US" sz="1400" dirty="0"/>
              <a:t> at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placerat</a:t>
            </a:r>
            <a:r>
              <a:rPr lang="en-US" sz="1400" dirty="0"/>
              <a:t>,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”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B64E2AC-0191-43F8-8076-0CCFDDBCA1A0}"/>
              </a:ext>
            </a:extLst>
          </p:cNvPr>
          <p:cNvSpPr/>
          <p:nvPr/>
        </p:nvSpPr>
        <p:spPr>
          <a:xfrm>
            <a:off x="6370347" y="3421545"/>
            <a:ext cx="2349500" cy="172354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1400" dirty="0"/>
              <a:t>“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Duis </a:t>
            </a:r>
            <a:r>
              <a:rPr lang="en-US" sz="1400" dirty="0" err="1"/>
              <a:t>suscipit</a:t>
            </a:r>
            <a:r>
              <a:rPr lang="en-US" sz="1400" dirty="0"/>
              <a:t> in </a:t>
            </a:r>
            <a:r>
              <a:rPr lang="en-US" sz="1400" dirty="0" err="1"/>
              <a:t>tellus</a:t>
            </a:r>
            <a:r>
              <a:rPr lang="en-US" sz="1400" dirty="0"/>
              <a:t> ac </a:t>
            </a:r>
            <a:r>
              <a:rPr lang="en-US" sz="1400" dirty="0" err="1"/>
              <a:t>bibendum</a:t>
            </a:r>
            <a:r>
              <a:rPr lang="en-US" sz="1400" dirty="0"/>
              <a:t>. Sed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lacus</a:t>
            </a:r>
            <a:r>
              <a:rPr lang="en-US" sz="1400" dirty="0"/>
              <a:t> vitae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finibus</a:t>
            </a:r>
            <a:r>
              <a:rPr lang="en-US" sz="1400" dirty="0"/>
              <a:t>,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nisi </a:t>
            </a:r>
            <a:r>
              <a:rPr lang="en-US" sz="1400" dirty="0" err="1"/>
              <a:t>ullamcorper</a:t>
            </a:r>
            <a:r>
              <a:rPr lang="en-US" sz="1400" dirty="0"/>
              <a:t>. </a:t>
            </a:r>
            <a:r>
              <a:rPr lang="en-US" sz="1400" dirty="0" err="1"/>
              <a:t>Quisque</a:t>
            </a:r>
            <a:r>
              <a:rPr lang="en-US" sz="1400" dirty="0"/>
              <a:t> </a:t>
            </a:r>
            <a:r>
              <a:rPr lang="en-US" sz="1400" dirty="0" err="1"/>
              <a:t>volutpat</a:t>
            </a:r>
            <a:r>
              <a:rPr lang="en-US" sz="1400" dirty="0"/>
              <a:t> </a:t>
            </a:r>
            <a:r>
              <a:rPr lang="en-US" sz="1400" dirty="0" err="1"/>
              <a:t>leo</a:t>
            </a:r>
            <a:r>
              <a:rPr lang="en-US" sz="1400" dirty="0"/>
              <a:t> at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placerat</a:t>
            </a:r>
            <a:r>
              <a:rPr lang="en-US" sz="1400" dirty="0"/>
              <a:t>,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”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1B7EFCB-5A16-4D70-BD7F-E04C816F495B}"/>
              </a:ext>
            </a:extLst>
          </p:cNvPr>
          <p:cNvSpPr/>
          <p:nvPr/>
        </p:nvSpPr>
        <p:spPr>
          <a:xfrm>
            <a:off x="9268541" y="3421545"/>
            <a:ext cx="2349500" cy="172354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1400" dirty="0"/>
              <a:t>“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Duis </a:t>
            </a:r>
            <a:r>
              <a:rPr lang="en-US" sz="1400" dirty="0" err="1"/>
              <a:t>suscipit</a:t>
            </a:r>
            <a:r>
              <a:rPr lang="en-US" sz="1400" dirty="0"/>
              <a:t> in </a:t>
            </a:r>
            <a:r>
              <a:rPr lang="en-US" sz="1400" dirty="0" err="1"/>
              <a:t>tellus</a:t>
            </a:r>
            <a:r>
              <a:rPr lang="en-US" sz="1400" dirty="0"/>
              <a:t> ac </a:t>
            </a:r>
            <a:r>
              <a:rPr lang="en-US" sz="1400" dirty="0" err="1"/>
              <a:t>bibendum</a:t>
            </a:r>
            <a:r>
              <a:rPr lang="en-US" sz="1400" dirty="0"/>
              <a:t>. Sed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lacus</a:t>
            </a:r>
            <a:r>
              <a:rPr lang="en-US" sz="1400" dirty="0"/>
              <a:t> vitae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finibus</a:t>
            </a:r>
            <a:r>
              <a:rPr lang="en-US" sz="1400" dirty="0"/>
              <a:t>,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nisi </a:t>
            </a:r>
            <a:r>
              <a:rPr lang="en-US" sz="1400" dirty="0" err="1"/>
              <a:t>ullamcorper</a:t>
            </a:r>
            <a:r>
              <a:rPr lang="en-US" sz="1400" dirty="0"/>
              <a:t>. </a:t>
            </a:r>
            <a:r>
              <a:rPr lang="en-US" sz="1400" dirty="0" err="1"/>
              <a:t>Quisque</a:t>
            </a:r>
            <a:r>
              <a:rPr lang="en-US" sz="1400" dirty="0"/>
              <a:t> </a:t>
            </a:r>
            <a:r>
              <a:rPr lang="en-US" sz="1400" dirty="0" err="1"/>
              <a:t>volutpat</a:t>
            </a:r>
            <a:r>
              <a:rPr lang="en-US" sz="1400" dirty="0"/>
              <a:t> </a:t>
            </a:r>
            <a:r>
              <a:rPr lang="en-US" sz="1400" dirty="0" err="1"/>
              <a:t>leo</a:t>
            </a:r>
            <a:r>
              <a:rPr lang="en-US" sz="1400" dirty="0"/>
              <a:t> at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placerat</a:t>
            </a:r>
            <a:r>
              <a:rPr lang="en-US" sz="1400" dirty="0"/>
              <a:t>,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1710059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431800" y="191214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TAB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A22ABB57-F0EC-4286-B1AC-36841ACD99BD}" type="datetime1">
              <a:rPr lang="en-US" smtClean="0"/>
              <a:t>4/7/2024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794E2DD-4F38-4D2A-97E5-5D7467AA1DEC}" type="slidenum">
              <a:rPr lang="en-US" smtClean="0"/>
              <a:t>14</a:t>
            </a:fld>
            <a:endParaRPr lang="en-US"/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127EDD55-11E4-4AC6-ADAB-3087A724F798}"/>
              </a:ext>
            </a:extLst>
          </p:cNvPr>
          <p:cNvGraphicFramePr>
            <a:graphicFrameLocks noGrp="1"/>
          </p:cNvGraphicFramePr>
          <p:nvPr/>
        </p:nvGraphicFramePr>
        <p:xfrm>
          <a:off x="514350" y="1146276"/>
          <a:ext cx="11163290" cy="4987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329">
                  <a:extLst>
                    <a:ext uri="{9D8B030D-6E8A-4147-A177-3AD203B41FA5}">
                      <a16:colId xmlns:a16="http://schemas.microsoft.com/office/drawing/2014/main" val="2564411398"/>
                    </a:ext>
                  </a:extLst>
                </a:gridCol>
                <a:gridCol w="1116329">
                  <a:extLst>
                    <a:ext uri="{9D8B030D-6E8A-4147-A177-3AD203B41FA5}">
                      <a16:colId xmlns:a16="http://schemas.microsoft.com/office/drawing/2014/main" val="2851696159"/>
                    </a:ext>
                  </a:extLst>
                </a:gridCol>
                <a:gridCol w="1116329">
                  <a:extLst>
                    <a:ext uri="{9D8B030D-6E8A-4147-A177-3AD203B41FA5}">
                      <a16:colId xmlns:a16="http://schemas.microsoft.com/office/drawing/2014/main" val="1005280288"/>
                    </a:ext>
                  </a:extLst>
                </a:gridCol>
                <a:gridCol w="1116329">
                  <a:extLst>
                    <a:ext uri="{9D8B030D-6E8A-4147-A177-3AD203B41FA5}">
                      <a16:colId xmlns:a16="http://schemas.microsoft.com/office/drawing/2014/main" val="796509677"/>
                    </a:ext>
                  </a:extLst>
                </a:gridCol>
                <a:gridCol w="1116329">
                  <a:extLst>
                    <a:ext uri="{9D8B030D-6E8A-4147-A177-3AD203B41FA5}">
                      <a16:colId xmlns:a16="http://schemas.microsoft.com/office/drawing/2014/main" val="576146675"/>
                    </a:ext>
                  </a:extLst>
                </a:gridCol>
                <a:gridCol w="1116329">
                  <a:extLst>
                    <a:ext uri="{9D8B030D-6E8A-4147-A177-3AD203B41FA5}">
                      <a16:colId xmlns:a16="http://schemas.microsoft.com/office/drawing/2014/main" val="1204493047"/>
                    </a:ext>
                  </a:extLst>
                </a:gridCol>
                <a:gridCol w="1116329">
                  <a:extLst>
                    <a:ext uri="{9D8B030D-6E8A-4147-A177-3AD203B41FA5}">
                      <a16:colId xmlns:a16="http://schemas.microsoft.com/office/drawing/2014/main" val="4047152836"/>
                    </a:ext>
                  </a:extLst>
                </a:gridCol>
                <a:gridCol w="1116329">
                  <a:extLst>
                    <a:ext uri="{9D8B030D-6E8A-4147-A177-3AD203B41FA5}">
                      <a16:colId xmlns:a16="http://schemas.microsoft.com/office/drawing/2014/main" val="1401925559"/>
                    </a:ext>
                  </a:extLst>
                </a:gridCol>
                <a:gridCol w="1116329">
                  <a:extLst>
                    <a:ext uri="{9D8B030D-6E8A-4147-A177-3AD203B41FA5}">
                      <a16:colId xmlns:a16="http://schemas.microsoft.com/office/drawing/2014/main" val="2877765805"/>
                    </a:ext>
                  </a:extLst>
                </a:gridCol>
                <a:gridCol w="1116329">
                  <a:extLst>
                    <a:ext uri="{9D8B030D-6E8A-4147-A177-3AD203B41FA5}">
                      <a16:colId xmlns:a16="http://schemas.microsoft.com/office/drawing/2014/main" val="3744357276"/>
                    </a:ext>
                  </a:extLst>
                </a:gridCol>
              </a:tblGrid>
              <a:tr h="481908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ption 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ption 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ption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ption 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ption 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ption 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ption 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ption 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ption 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8385598"/>
                  </a:ext>
                </a:extLst>
              </a:tr>
              <a:tr h="515657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516819"/>
                  </a:ext>
                </a:extLst>
              </a:tr>
              <a:tr h="515657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273471"/>
                  </a:ext>
                </a:extLst>
              </a:tr>
              <a:tr h="515657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212300"/>
                  </a:ext>
                </a:extLst>
              </a:tr>
              <a:tr h="515657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374459"/>
                  </a:ext>
                </a:extLst>
              </a:tr>
              <a:tr h="515657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1948398"/>
                  </a:ext>
                </a:extLst>
              </a:tr>
              <a:tr h="481908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390209"/>
                  </a:ext>
                </a:extLst>
              </a:tr>
              <a:tr h="481908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5539212"/>
                  </a:ext>
                </a:extLst>
              </a:tr>
              <a:tr h="481908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3355569"/>
                  </a:ext>
                </a:extLst>
              </a:tr>
              <a:tr h="481908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2978886"/>
                  </a:ext>
                </a:extLst>
              </a:tr>
            </a:tbl>
          </a:graphicData>
        </a:graphic>
      </p:graphicFrame>
      <p:sp>
        <p:nvSpPr>
          <p:cNvPr id="33" name="Freeform 931">
            <a:extLst>
              <a:ext uri="{FF2B5EF4-FFF2-40B4-BE49-F238E27FC236}">
                <a16:creationId xmlns:a16="http://schemas.microsoft.com/office/drawing/2014/main" id="{18F32A1D-71CA-4AD5-9539-FAF183805419}"/>
              </a:ext>
            </a:extLst>
          </p:cNvPr>
          <p:cNvSpPr>
            <a:spLocks noEditPoints="1"/>
          </p:cNvSpPr>
          <p:nvPr/>
        </p:nvSpPr>
        <p:spPr bwMode="auto">
          <a:xfrm>
            <a:off x="941546" y="2254748"/>
            <a:ext cx="219075" cy="285750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4505D76-F7DD-4014-A236-15E811AB714E}"/>
              </a:ext>
            </a:extLst>
          </p:cNvPr>
          <p:cNvGrpSpPr/>
          <p:nvPr/>
        </p:nvGrpSpPr>
        <p:grpSpPr>
          <a:xfrm>
            <a:off x="907415" y="2763043"/>
            <a:ext cx="287337" cy="287338"/>
            <a:chOff x="5465763" y="1943100"/>
            <a:chExt cx="287337" cy="287338"/>
          </a:xfrm>
          <a:solidFill>
            <a:schemeClr val="bg1"/>
          </a:solidFill>
        </p:grpSpPr>
        <p:sp>
          <p:nvSpPr>
            <p:cNvPr id="37" name="Freeform 1026">
              <a:extLst>
                <a:ext uri="{FF2B5EF4-FFF2-40B4-BE49-F238E27FC236}">
                  <a16:creationId xmlns:a16="http://schemas.microsoft.com/office/drawing/2014/main" id="{F9D3D0C3-01F4-41F1-9678-4324AE6ED9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0225" y="1943100"/>
              <a:ext cx="142875" cy="190500"/>
            </a:xfrm>
            <a:custGeom>
              <a:avLst/>
              <a:gdLst>
                <a:gd name="T0" fmla="*/ 228 w 361"/>
                <a:gd name="T1" fmla="*/ 133 h 481"/>
                <a:gd name="T2" fmla="*/ 228 w 361"/>
                <a:gd name="T3" fmla="*/ 12 h 481"/>
                <a:gd name="T4" fmla="*/ 349 w 361"/>
                <a:gd name="T5" fmla="*/ 133 h 481"/>
                <a:gd name="T6" fmla="*/ 228 w 361"/>
                <a:gd name="T7" fmla="*/ 133 h 481"/>
                <a:gd name="T8" fmla="*/ 358 w 361"/>
                <a:gd name="T9" fmla="*/ 125 h 481"/>
                <a:gd name="T10" fmla="*/ 237 w 361"/>
                <a:gd name="T11" fmla="*/ 3 h 481"/>
                <a:gd name="T12" fmla="*/ 234 w 361"/>
                <a:gd name="T13" fmla="*/ 1 h 481"/>
                <a:gd name="T14" fmla="*/ 228 w 361"/>
                <a:gd name="T15" fmla="*/ 0 h 481"/>
                <a:gd name="T16" fmla="*/ 11 w 361"/>
                <a:gd name="T17" fmla="*/ 0 h 481"/>
                <a:gd name="T18" fmla="*/ 7 w 361"/>
                <a:gd name="T19" fmla="*/ 1 h 481"/>
                <a:gd name="T20" fmla="*/ 3 w 361"/>
                <a:gd name="T21" fmla="*/ 4 h 481"/>
                <a:gd name="T22" fmla="*/ 1 w 361"/>
                <a:gd name="T23" fmla="*/ 7 h 481"/>
                <a:gd name="T24" fmla="*/ 0 w 361"/>
                <a:gd name="T25" fmla="*/ 12 h 481"/>
                <a:gd name="T26" fmla="*/ 0 w 361"/>
                <a:gd name="T27" fmla="*/ 470 h 481"/>
                <a:gd name="T28" fmla="*/ 1 w 361"/>
                <a:gd name="T29" fmla="*/ 474 h 481"/>
                <a:gd name="T30" fmla="*/ 3 w 361"/>
                <a:gd name="T31" fmla="*/ 478 h 481"/>
                <a:gd name="T32" fmla="*/ 7 w 361"/>
                <a:gd name="T33" fmla="*/ 480 h 481"/>
                <a:gd name="T34" fmla="*/ 11 w 361"/>
                <a:gd name="T35" fmla="*/ 481 h 481"/>
                <a:gd name="T36" fmla="*/ 349 w 361"/>
                <a:gd name="T37" fmla="*/ 481 h 481"/>
                <a:gd name="T38" fmla="*/ 354 w 361"/>
                <a:gd name="T39" fmla="*/ 480 h 481"/>
                <a:gd name="T40" fmla="*/ 357 w 361"/>
                <a:gd name="T41" fmla="*/ 478 h 481"/>
                <a:gd name="T42" fmla="*/ 360 w 361"/>
                <a:gd name="T43" fmla="*/ 474 h 481"/>
                <a:gd name="T44" fmla="*/ 361 w 361"/>
                <a:gd name="T45" fmla="*/ 470 h 481"/>
                <a:gd name="T46" fmla="*/ 361 w 361"/>
                <a:gd name="T47" fmla="*/ 133 h 481"/>
                <a:gd name="T48" fmla="*/ 360 w 361"/>
                <a:gd name="T49" fmla="*/ 129 h 481"/>
                <a:gd name="T50" fmla="*/ 358 w 361"/>
                <a:gd name="T51" fmla="*/ 125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481">
                  <a:moveTo>
                    <a:pt x="228" y="133"/>
                  </a:moveTo>
                  <a:lnTo>
                    <a:pt x="228" y="12"/>
                  </a:lnTo>
                  <a:lnTo>
                    <a:pt x="349" y="133"/>
                  </a:lnTo>
                  <a:lnTo>
                    <a:pt x="228" y="133"/>
                  </a:lnTo>
                  <a:close/>
                  <a:moveTo>
                    <a:pt x="358" y="125"/>
                  </a:moveTo>
                  <a:lnTo>
                    <a:pt x="237" y="3"/>
                  </a:lnTo>
                  <a:lnTo>
                    <a:pt x="234" y="1"/>
                  </a:lnTo>
                  <a:lnTo>
                    <a:pt x="228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470"/>
                  </a:lnTo>
                  <a:lnTo>
                    <a:pt x="1" y="474"/>
                  </a:lnTo>
                  <a:lnTo>
                    <a:pt x="3" y="478"/>
                  </a:lnTo>
                  <a:lnTo>
                    <a:pt x="7" y="480"/>
                  </a:lnTo>
                  <a:lnTo>
                    <a:pt x="11" y="481"/>
                  </a:lnTo>
                  <a:lnTo>
                    <a:pt x="349" y="481"/>
                  </a:lnTo>
                  <a:lnTo>
                    <a:pt x="354" y="480"/>
                  </a:lnTo>
                  <a:lnTo>
                    <a:pt x="357" y="478"/>
                  </a:lnTo>
                  <a:lnTo>
                    <a:pt x="360" y="474"/>
                  </a:lnTo>
                  <a:lnTo>
                    <a:pt x="361" y="470"/>
                  </a:lnTo>
                  <a:lnTo>
                    <a:pt x="361" y="133"/>
                  </a:lnTo>
                  <a:lnTo>
                    <a:pt x="360" y="129"/>
                  </a:lnTo>
                  <a:lnTo>
                    <a:pt x="358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027">
              <a:extLst>
                <a:ext uri="{FF2B5EF4-FFF2-40B4-BE49-F238E27FC236}">
                  <a16:creationId xmlns:a16="http://schemas.microsoft.com/office/drawing/2014/main" id="{FA24C361-D2C6-476F-80C5-2DB97E737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5763" y="2133600"/>
              <a:ext cx="58738" cy="96838"/>
            </a:xfrm>
            <a:custGeom>
              <a:avLst/>
              <a:gdLst>
                <a:gd name="T0" fmla="*/ 73 w 146"/>
                <a:gd name="T1" fmla="*/ 191 h 242"/>
                <a:gd name="T2" fmla="*/ 69 w 146"/>
                <a:gd name="T3" fmla="*/ 191 h 242"/>
                <a:gd name="T4" fmla="*/ 65 w 146"/>
                <a:gd name="T5" fmla="*/ 189 h 242"/>
                <a:gd name="T6" fmla="*/ 61 w 146"/>
                <a:gd name="T7" fmla="*/ 187 h 242"/>
                <a:gd name="T8" fmla="*/ 58 w 146"/>
                <a:gd name="T9" fmla="*/ 185 h 242"/>
                <a:gd name="T10" fmla="*/ 55 w 146"/>
                <a:gd name="T11" fmla="*/ 182 h 242"/>
                <a:gd name="T12" fmla="*/ 54 w 146"/>
                <a:gd name="T13" fmla="*/ 178 h 242"/>
                <a:gd name="T14" fmla="*/ 52 w 146"/>
                <a:gd name="T15" fmla="*/ 174 h 242"/>
                <a:gd name="T16" fmla="*/ 52 w 146"/>
                <a:gd name="T17" fmla="*/ 170 h 242"/>
                <a:gd name="T18" fmla="*/ 52 w 146"/>
                <a:gd name="T19" fmla="*/ 165 h 242"/>
                <a:gd name="T20" fmla="*/ 54 w 146"/>
                <a:gd name="T21" fmla="*/ 161 h 242"/>
                <a:gd name="T22" fmla="*/ 55 w 146"/>
                <a:gd name="T23" fmla="*/ 157 h 242"/>
                <a:gd name="T24" fmla="*/ 58 w 146"/>
                <a:gd name="T25" fmla="*/ 154 h 242"/>
                <a:gd name="T26" fmla="*/ 61 w 146"/>
                <a:gd name="T27" fmla="*/ 151 h 242"/>
                <a:gd name="T28" fmla="*/ 65 w 146"/>
                <a:gd name="T29" fmla="*/ 149 h 242"/>
                <a:gd name="T30" fmla="*/ 69 w 146"/>
                <a:gd name="T31" fmla="*/ 148 h 242"/>
                <a:gd name="T32" fmla="*/ 73 w 146"/>
                <a:gd name="T33" fmla="*/ 147 h 242"/>
                <a:gd name="T34" fmla="*/ 78 w 146"/>
                <a:gd name="T35" fmla="*/ 148 h 242"/>
                <a:gd name="T36" fmla="*/ 82 w 146"/>
                <a:gd name="T37" fmla="*/ 149 h 242"/>
                <a:gd name="T38" fmla="*/ 85 w 146"/>
                <a:gd name="T39" fmla="*/ 151 h 242"/>
                <a:gd name="T40" fmla="*/ 88 w 146"/>
                <a:gd name="T41" fmla="*/ 154 h 242"/>
                <a:gd name="T42" fmla="*/ 91 w 146"/>
                <a:gd name="T43" fmla="*/ 157 h 242"/>
                <a:gd name="T44" fmla="*/ 93 w 146"/>
                <a:gd name="T45" fmla="*/ 161 h 242"/>
                <a:gd name="T46" fmla="*/ 94 w 146"/>
                <a:gd name="T47" fmla="*/ 165 h 242"/>
                <a:gd name="T48" fmla="*/ 95 w 146"/>
                <a:gd name="T49" fmla="*/ 170 h 242"/>
                <a:gd name="T50" fmla="*/ 94 w 146"/>
                <a:gd name="T51" fmla="*/ 174 h 242"/>
                <a:gd name="T52" fmla="*/ 93 w 146"/>
                <a:gd name="T53" fmla="*/ 178 h 242"/>
                <a:gd name="T54" fmla="*/ 91 w 146"/>
                <a:gd name="T55" fmla="*/ 182 h 242"/>
                <a:gd name="T56" fmla="*/ 88 w 146"/>
                <a:gd name="T57" fmla="*/ 185 h 242"/>
                <a:gd name="T58" fmla="*/ 85 w 146"/>
                <a:gd name="T59" fmla="*/ 187 h 242"/>
                <a:gd name="T60" fmla="*/ 82 w 146"/>
                <a:gd name="T61" fmla="*/ 189 h 242"/>
                <a:gd name="T62" fmla="*/ 78 w 146"/>
                <a:gd name="T63" fmla="*/ 191 h 242"/>
                <a:gd name="T64" fmla="*/ 73 w 146"/>
                <a:gd name="T65" fmla="*/ 191 h 242"/>
                <a:gd name="T66" fmla="*/ 134 w 146"/>
                <a:gd name="T67" fmla="*/ 0 h 242"/>
                <a:gd name="T68" fmla="*/ 12 w 146"/>
                <a:gd name="T69" fmla="*/ 0 h 242"/>
                <a:gd name="T70" fmla="*/ 8 w 146"/>
                <a:gd name="T71" fmla="*/ 1 h 242"/>
                <a:gd name="T72" fmla="*/ 4 w 146"/>
                <a:gd name="T73" fmla="*/ 4 h 242"/>
                <a:gd name="T74" fmla="*/ 1 w 146"/>
                <a:gd name="T75" fmla="*/ 9 h 242"/>
                <a:gd name="T76" fmla="*/ 0 w 146"/>
                <a:gd name="T77" fmla="*/ 13 h 242"/>
                <a:gd name="T78" fmla="*/ 0 w 146"/>
                <a:gd name="T79" fmla="*/ 230 h 242"/>
                <a:gd name="T80" fmla="*/ 1 w 146"/>
                <a:gd name="T81" fmla="*/ 235 h 242"/>
                <a:gd name="T82" fmla="*/ 4 w 146"/>
                <a:gd name="T83" fmla="*/ 238 h 242"/>
                <a:gd name="T84" fmla="*/ 8 w 146"/>
                <a:gd name="T85" fmla="*/ 241 h 242"/>
                <a:gd name="T86" fmla="*/ 12 w 146"/>
                <a:gd name="T87" fmla="*/ 242 h 242"/>
                <a:gd name="T88" fmla="*/ 134 w 146"/>
                <a:gd name="T89" fmla="*/ 242 h 242"/>
                <a:gd name="T90" fmla="*/ 139 w 146"/>
                <a:gd name="T91" fmla="*/ 241 h 242"/>
                <a:gd name="T92" fmla="*/ 143 w 146"/>
                <a:gd name="T93" fmla="*/ 238 h 242"/>
                <a:gd name="T94" fmla="*/ 145 w 146"/>
                <a:gd name="T95" fmla="*/ 235 h 242"/>
                <a:gd name="T96" fmla="*/ 146 w 146"/>
                <a:gd name="T97" fmla="*/ 230 h 242"/>
                <a:gd name="T98" fmla="*/ 146 w 146"/>
                <a:gd name="T99" fmla="*/ 13 h 242"/>
                <a:gd name="T100" fmla="*/ 145 w 146"/>
                <a:gd name="T101" fmla="*/ 9 h 242"/>
                <a:gd name="T102" fmla="*/ 143 w 146"/>
                <a:gd name="T103" fmla="*/ 4 h 242"/>
                <a:gd name="T104" fmla="*/ 139 w 146"/>
                <a:gd name="T105" fmla="*/ 1 h 242"/>
                <a:gd name="T106" fmla="*/ 134 w 146"/>
                <a:gd name="T107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6" h="242">
                  <a:moveTo>
                    <a:pt x="73" y="191"/>
                  </a:moveTo>
                  <a:lnTo>
                    <a:pt x="69" y="191"/>
                  </a:lnTo>
                  <a:lnTo>
                    <a:pt x="65" y="189"/>
                  </a:lnTo>
                  <a:lnTo>
                    <a:pt x="61" y="187"/>
                  </a:lnTo>
                  <a:lnTo>
                    <a:pt x="58" y="185"/>
                  </a:lnTo>
                  <a:lnTo>
                    <a:pt x="55" y="182"/>
                  </a:lnTo>
                  <a:lnTo>
                    <a:pt x="54" y="178"/>
                  </a:lnTo>
                  <a:lnTo>
                    <a:pt x="52" y="174"/>
                  </a:lnTo>
                  <a:lnTo>
                    <a:pt x="52" y="170"/>
                  </a:lnTo>
                  <a:lnTo>
                    <a:pt x="52" y="165"/>
                  </a:lnTo>
                  <a:lnTo>
                    <a:pt x="54" y="161"/>
                  </a:lnTo>
                  <a:lnTo>
                    <a:pt x="55" y="157"/>
                  </a:lnTo>
                  <a:lnTo>
                    <a:pt x="58" y="154"/>
                  </a:lnTo>
                  <a:lnTo>
                    <a:pt x="61" y="151"/>
                  </a:lnTo>
                  <a:lnTo>
                    <a:pt x="65" y="149"/>
                  </a:lnTo>
                  <a:lnTo>
                    <a:pt x="69" y="148"/>
                  </a:lnTo>
                  <a:lnTo>
                    <a:pt x="73" y="147"/>
                  </a:lnTo>
                  <a:lnTo>
                    <a:pt x="78" y="148"/>
                  </a:lnTo>
                  <a:lnTo>
                    <a:pt x="82" y="149"/>
                  </a:lnTo>
                  <a:lnTo>
                    <a:pt x="85" y="151"/>
                  </a:lnTo>
                  <a:lnTo>
                    <a:pt x="88" y="154"/>
                  </a:lnTo>
                  <a:lnTo>
                    <a:pt x="91" y="157"/>
                  </a:lnTo>
                  <a:lnTo>
                    <a:pt x="93" y="161"/>
                  </a:lnTo>
                  <a:lnTo>
                    <a:pt x="94" y="165"/>
                  </a:lnTo>
                  <a:lnTo>
                    <a:pt x="95" y="170"/>
                  </a:lnTo>
                  <a:lnTo>
                    <a:pt x="94" y="174"/>
                  </a:lnTo>
                  <a:lnTo>
                    <a:pt x="93" y="178"/>
                  </a:lnTo>
                  <a:lnTo>
                    <a:pt x="91" y="182"/>
                  </a:lnTo>
                  <a:lnTo>
                    <a:pt x="88" y="185"/>
                  </a:lnTo>
                  <a:lnTo>
                    <a:pt x="85" y="187"/>
                  </a:lnTo>
                  <a:lnTo>
                    <a:pt x="82" y="189"/>
                  </a:lnTo>
                  <a:lnTo>
                    <a:pt x="78" y="191"/>
                  </a:lnTo>
                  <a:lnTo>
                    <a:pt x="73" y="191"/>
                  </a:lnTo>
                  <a:close/>
                  <a:moveTo>
                    <a:pt x="13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230"/>
                  </a:lnTo>
                  <a:lnTo>
                    <a:pt x="1" y="235"/>
                  </a:lnTo>
                  <a:lnTo>
                    <a:pt x="4" y="238"/>
                  </a:lnTo>
                  <a:lnTo>
                    <a:pt x="8" y="241"/>
                  </a:lnTo>
                  <a:lnTo>
                    <a:pt x="12" y="242"/>
                  </a:lnTo>
                  <a:lnTo>
                    <a:pt x="134" y="242"/>
                  </a:lnTo>
                  <a:lnTo>
                    <a:pt x="139" y="241"/>
                  </a:lnTo>
                  <a:lnTo>
                    <a:pt x="143" y="238"/>
                  </a:lnTo>
                  <a:lnTo>
                    <a:pt x="145" y="235"/>
                  </a:lnTo>
                  <a:lnTo>
                    <a:pt x="146" y="230"/>
                  </a:lnTo>
                  <a:lnTo>
                    <a:pt x="146" y="13"/>
                  </a:lnTo>
                  <a:lnTo>
                    <a:pt x="145" y="9"/>
                  </a:lnTo>
                  <a:lnTo>
                    <a:pt x="143" y="4"/>
                  </a:lnTo>
                  <a:lnTo>
                    <a:pt x="139" y="1"/>
                  </a:lnTo>
                  <a:lnTo>
                    <a:pt x="1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028">
              <a:extLst>
                <a:ext uri="{FF2B5EF4-FFF2-40B4-BE49-F238E27FC236}">
                  <a16:creationId xmlns:a16="http://schemas.microsoft.com/office/drawing/2014/main" id="{09F199BF-8482-4947-9F10-D55180521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63" y="2143125"/>
              <a:ext cx="214313" cy="77788"/>
            </a:xfrm>
            <a:custGeom>
              <a:avLst/>
              <a:gdLst>
                <a:gd name="T0" fmla="*/ 305 w 541"/>
                <a:gd name="T1" fmla="*/ 72 h 193"/>
                <a:gd name="T2" fmla="*/ 303 w 541"/>
                <a:gd name="T3" fmla="*/ 72 h 193"/>
                <a:gd name="T4" fmla="*/ 301 w 541"/>
                <a:gd name="T5" fmla="*/ 72 h 193"/>
                <a:gd name="T6" fmla="*/ 246 w 541"/>
                <a:gd name="T7" fmla="*/ 72 h 193"/>
                <a:gd name="T8" fmla="*/ 245 w 541"/>
                <a:gd name="T9" fmla="*/ 71 h 193"/>
                <a:gd name="T10" fmla="*/ 243 w 541"/>
                <a:gd name="T11" fmla="*/ 69 h 193"/>
                <a:gd name="T12" fmla="*/ 235 w 541"/>
                <a:gd name="T13" fmla="*/ 62 h 193"/>
                <a:gd name="T14" fmla="*/ 225 w 541"/>
                <a:gd name="T15" fmla="*/ 52 h 193"/>
                <a:gd name="T16" fmla="*/ 214 w 541"/>
                <a:gd name="T17" fmla="*/ 42 h 193"/>
                <a:gd name="T18" fmla="*/ 200 w 541"/>
                <a:gd name="T19" fmla="*/ 31 h 193"/>
                <a:gd name="T20" fmla="*/ 184 w 541"/>
                <a:gd name="T21" fmla="*/ 21 h 193"/>
                <a:gd name="T22" fmla="*/ 165 w 541"/>
                <a:gd name="T23" fmla="*/ 12 h 193"/>
                <a:gd name="T24" fmla="*/ 155 w 541"/>
                <a:gd name="T25" fmla="*/ 9 h 193"/>
                <a:gd name="T26" fmla="*/ 144 w 541"/>
                <a:gd name="T27" fmla="*/ 5 h 193"/>
                <a:gd name="T28" fmla="*/ 133 w 541"/>
                <a:gd name="T29" fmla="*/ 2 h 193"/>
                <a:gd name="T30" fmla="*/ 120 w 541"/>
                <a:gd name="T31" fmla="*/ 0 h 193"/>
                <a:gd name="T32" fmla="*/ 119 w 541"/>
                <a:gd name="T33" fmla="*/ 0 h 193"/>
                <a:gd name="T34" fmla="*/ 118 w 541"/>
                <a:gd name="T35" fmla="*/ 0 h 193"/>
                <a:gd name="T36" fmla="*/ 12 w 541"/>
                <a:gd name="T37" fmla="*/ 0 h 193"/>
                <a:gd name="T38" fmla="*/ 7 w 541"/>
                <a:gd name="T39" fmla="*/ 1 h 193"/>
                <a:gd name="T40" fmla="*/ 3 w 541"/>
                <a:gd name="T41" fmla="*/ 4 h 193"/>
                <a:gd name="T42" fmla="*/ 1 w 541"/>
                <a:gd name="T43" fmla="*/ 7 h 193"/>
                <a:gd name="T44" fmla="*/ 0 w 541"/>
                <a:gd name="T45" fmla="*/ 12 h 193"/>
                <a:gd name="T46" fmla="*/ 0 w 541"/>
                <a:gd name="T47" fmla="*/ 180 h 193"/>
                <a:gd name="T48" fmla="*/ 1 w 541"/>
                <a:gd name="T49" fmla="*/ 185 h 193"/>
                <a:gd name="T50" fmla="*/ 3 w 541"/>
                <a:gd name="T51" fmla="*/ 190 h 193"/>
                <a:gd name="T52" fmla="*/ 7 w 541"/>
                <a:gd name="T53" fmla="*/ 192 h 193"/>
                <a:gd name="T54" fmla="*/ 12 w 541"/>
                <a:gd name="T55" fmla="*/ 193 h 193"/>
                <a:gd name="T56" fmla="*/ 528 w 541"/>
                <a:gd name="T57" fmla="*/ 193 h 193"/>
                <a:gd name="T58" fmla="*/ 533 w 541"/>
                <a:gd name="T59" fmla="*/ 192 h 193"/>
                <a:gd name="T60" fmla="*/ 536 w 541"/>
                <a:gd name="T61" fmla="*/ 190 h 193"/>
                <a:gd name="T62" fmla="*/ 539 w 541"/>
                <a:gd name="T63" fmla="*/ 185 h 193"/>
                <a:gd name="T64" fmla="*/ 541 w 541"/>
                <a:gd name="T65" fmla="*/ 180 h 193"/>
                <a:gd name="T66" fmla="*/ 539 w 541"/>
                <a:gd name="T67" fmla="*/ 174 h 193"/>
                <a:gd name="T68" fmla="*/ 538 w 541"/>
                <a:gd name="T69" fmla="*/ 169 h 193"/>
                <a:gd name="T70" fmla="*/ 537 w 541"/>
                <a:gd name="T71" fmla="*/ 163 h 193"/>
                <a:gd name="T72" fmla="*/ 535 w 541"/>
                <a:gd name="T73" fmla="*/ 158 h 193"/>
                <a:gd name="T74" fmla="*/ 532 w 541"/>
                <a:gd name="T75" fmla="*/ 152 h 193"/>
                <a:gd name="T76" fmla="*/ 528 w 541"/>
                <a:gd name="T77" fmla="*/ 147 h 193"/>
                <a:gd name="T78" fmla="*/ 524 w 541"/>
                <a:gd name="T79" fmla="*/ 142 h 193"/>
                <a:gd name="T80" fmla="*/ 519 w 541"/>
                <a:gd name="T81" fmla="*/ 136 h 193"/>
                <a:gd name="T82" fmla="*/ 511 w 541"/>
                <a:gd name="T83" fmla="*/ 128 h 193"/>
                <a:gd name="T84" fmla="*/ 503 w 541"/>
                <a:gd name="T85" fmla="*/ 122 h 193"/>
                <a:gd name="T86" fmla="*/ 493 w 541"/>
                <a:gd name="T87" fmla="*/ 116 h 193"/>
                <a:gd name="T88" fmla="*/ 481 w 541"/>
                <a:gd name="T89" fmla="*/ 110 h 193"/>
                <a:gd name="T90" fmla="*/ 470 w 541"/>
                <a:gd name="T91" fmla="*/ 104 h 193"/>
                <a:gd name="T92" fmla="*/ 458 w 541"/>
                <a:gd name="T93" fmla="*/ 99 h 193"/>
                <a:gd name="T94" fmla="*/ 445 w 541"/>
                <a:gd name="T95" fmla="*/ 94 h 193"/>
                <a:gd name="T96" fmla="*/ 431 w 541"/>
                <a:gd name="T97" fmla="*/ 90 h 193"/>
                <a:gd name="T98" fmla="*/ 417 w 541"/>
                <a:gd name="T99" fmla="*/ 86 h 193"/>
                <a:gd name="T100" fmla="*/ 402 w 541"/>
                <a:gd name="T101" fmla="*/ 82 h 193"/>
                <a:gd name="T102" fmla="*/ 387 w 541"/>
                <a:gd name="T103" fmla="*/ 79 h 193"/>
                <a:gd name="T104" fmla="*/ 370 w 541"/>
                <a:gd name="T105" fmla="*/ 76 h 193"/>
                <a:gd name="T106" fmla="*/ 355 w 541"/>
                <a:gd name="T107" fmla="*/ 74 h 193"/>
                <a:gd name="T108" fmla="*/ 339 w 541"/>
                <a:gd name="T109" fmla="*/ 73 h 193"/>
                <a:gd name="T110" fmla="*/ 321 w 541"/>
                <a:gd name="T111" fmla="*/ 72 h 193"/>
                <a:gd name="T112" fmla="*/ 305 w 541"/>
                <a:gd name="T113" fmla="*/ 7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41" h="193">
                  <a:moveTo>
                    <a:pt x="305" y="72"/>
                  </a:moveTo>
                  <a:lnTo>
                    <a:pt x="303" y="72"/>
                  </a:lnTo>
                  <a:lnTo>
                    <a:pt x="301" y="72"/>
                  </a:lnTo>
                  <a:lnTo>
                    <a:pt x="246" y="72"/>
                  </a:lnTo>
                  <a:lnTo>
                    <a:pt x="245" y="71"/>
                  </a:lnTo>
                  <a:lnTo>
                    <a:pt x="243" y="69"/>
                  </a:lnTo>
                  <a:lnTo>
                    <a:pt x="235" y="62"/>
                  </a:lnTo>
                  <a:lnTo>
                    <a:pt x="225" y="52"/>
                  </a:lnTo>
                  <a:lnTo>
                    <a:pt x="214" y="42"/>
                  </a:lnTo>
                  <a:lnTo>
                    <a:pt x="200" y="31"/>
                  </a:lnTo>
                  <a:lnTo>
                    <a:pt x="184" y="21"/>
                  </a:lnTo>
                  <a:lnTo>
                    <a:pt x="165" y="12"/>
                  </a:lnTo>
                  <a:lnTo>
                    <a:pt x="155" y="9"/>
                  </a:lnTo>
                  <a:lnTo>
                    <a:pt x="144" y="5"/>
                  </a:lnTo>
                  <a:lnTo>
                    <a:pt x="133" y="2"/>
                  </a:lnTo>
                  <a:lnTo>
                    <a:pt x="120" y="0"/>
                  </a:lnTo>
                  <a:lnTo>
                    <a:pt x="119" y="0"/>
                  </a:lnTo>
                  <a:lnTo>
                    <a:pt x="11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80"/>
                  </a:lnTo>
                  <a:lnTo>
                    <a:pt x="1" y="185"/>
                  </a:lnTo>
                  <a:lnTo>
                    <a:pt x="3" y="190"/>
                  </a:lnTo>
                  <a:lnTo>
                    <a:pt x="7" y="192"/>
                  </a:lnTo>
                  <a:lnTo>
                    <a:pt x="12" y="193"/>
                  </a:lnTo>
                  <a:lnTo>
                    <a:pt x="528" y="193"/>
                  </a:lnTo>
                  <a:lnTo>
                    <a:pt x="533" y="192"/>
                  </a:lnTo>
                  <a:lnTo>
                    <a:pt x="536" y="190"/>
                  </a:lnTo>
                  <a:lnTo>
                    <a:pt x="539" y="185"/>
                  </a:lnTo>
                  <a:lnTo>
                    <a:pt x="541" y="180"/>
                  </a:lnTo>
                  <a:lnTo>
                    <a:pt x="539" y="174"/>
                  </a:lnTo>
                  <a:lnTo>
                    <a:pt x="538" y="169"/>
                  </a:lnTo>
                  <a:lnTo>
                    <a:pt x="537" y="163"/>
                  </a:lnTo>
                  <a:lnTo>
                    <a:pt x="535" y="158"/>
                  </a:lnTo>
                  <a:lnTo>
                    <a:pt x="532" y="152"/>
                  </a:lnTo>
                  <a:lnTo>
                    <a:pt x="528" y="147"/>
                  </a:lnTo>
                  <a:lnTo>
                    <a:pt x="524" y="142"/>
                  </a:lnTo>
                  <a:lnTo>
                    <a:pt x="519" y="136"/>
                  </a:lnTo>
                  <a:lnTo>
                    <a:pt x="511" y="128"/>
                  </a:lnTo>
                  <a:lnTo>
                    <a:pt x="503" y="122"/>
                  </a:lnTo>
                  <a:lnTo>
                    <a:pt x="493" y="116"/>
                  </a:lnTo>
                  <a:lnTo>
                    <a:pt x="481" y="110"/>
                  </a:lnTo>
                  <a:lnTo>
                    <a:pt x="470" y="104"/>
                  </a:lnTo>
                  <a:lnTo>
                    <a:pt x="458" y="99"/>
                  </a:lnTo>
                  <a:lnTo>
                    <a:pt x="445" y="94"/>
                  </a:lnTo>
                  <a:lnTo>
                    <a:pt x="431" y="90"/>
                  </a:lnTo>
                  <a:lnTo>
                    <a:pt x="417" y="86"/>
                  </a:lnTo>
                  <a:lnTo>
                    <a:pt x="402" y="82"/>
                  </a:lnTo>
                  <a:lnTo>
                    <a:pt x="387" y="79"/>
                  </a:lnTo>
                  <a:lnTo>
                    <a:pt x="370" y="76"/>
                  </a:lnTo>
                  <a:lnTo>
                    <a:pt x="355" y="74"/>
                  </a:lnTo>
                  <a:lnTo>
                    <a:pt x="339" y="73"/>
                  </a:lnTo>
                  <a:lnTo>
                    <a:pt x="321" y="72"/>
                  </a:lnTo>
                  <a:lnTo>
                    <a:pt x="305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321C75A-8123-452A-BD50-BCFA60A6ACC2}"/>
              </a:ext>
            </a:extLst>
          </p:cNvPr>
          <p:cNvGrpSpPr/>
          <p:nvPr/>
        </p:nvGrpSpPr>
        <p:grpSpPr>
          <a:xfrm>
            <a:off x="907414" y="1778000"/>
            <a:ext cx="287338" cy="260350"/>
            <a:chOff x="6448425" y="796925"/>
            <a:chExt cx="287338" cy="260350"/>
          </a:xfrm>
          <a:solidFill>
            <a:schemeClr val="bg1"/>
          </a:solidFill>
        </p:grpSpPr>
        <p:sp>
          <p:nvSpPr>
            <p:cNvPr id="41" name="Freeform 3562">
              <a:extLst>
                <a:ext uri="{FF2B5EF4-FFF2-40B4-BE49-F238E27FC236}">
                  <a16:creationId xmlns:a16="http://schemas.microsoft.com/office/drawing/2014/main" id="{C041ED40-A7EB-44BF-90AA-18E28D3D0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8425" y="796925"/>
              <a:ext cx="277812" cy="161925"/>
            </a:xfrm>
            <a:custGeom>
              <a:avLst/>
              <a:gdLst>
                <a:gd name="T0" fmla="*/ 8 w 701"/>
                <a:gd name="T1" fmla="*/ 285 h 408"/>
                <a:gd name="T2" fmla="*/ 5 w 701"/>
                <a:gd name="T3" fmla="*/ 288 h 408"/>
                <a:gd name="T4" fmla="*/ 2 w 701"/>
                <a:gd name="T5" fmla="*/ 290 h 408"/>
                <a:gd name="T6" fmla="*/ 1 w 701"/>
                <a:gd name="T7" fmla="*/ 293 h 408"/>
                <a:gd name="T8" fmla="*/ 0 w 701"/>
                <a:gd name="T9" fmla="*/ 297 h 408"/>
                <a:gd name="T10" fmla="*/ 1 w 701"/>
                <a:gd name="T11" fmla="*/ 300 h 408"/>
                <a:gd name="T12" fmla="*/ 2 w 701"/>
                <a:gd name="T13" fmla="*/ 303 h 408"/>
                <a:gd name="T14" fmla="*/ 5 w 701"/>
                <a:gd name="T15" fmla="*/ 306 h 408"/>
                <a:gd name="T16" fmla="*/ 8 w 701"/>
                <a:gd name="T17" fmla="*/ 308 h 408"/>
                <a:gd name="T18" fmla="*/ 259 w 701"/>
                <a:gd name="T19" fmla="*/ 408 h 408"/>
                <a:gd name="T20" fmla="*/ 701 w 701"/>
                <a:gd name="T21" fmla="*/ 0 h 408"/>
                <a:gd name="T22" fmla="*/ 8 w 701"/>
                <a:gd name="T23" fmla="*/ 285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1" h="408">
                  <a:moveTo>
                    <a:pt x="8" y="285"/>
                  </a:moveTo>
                  <a:lnTo>
                    <a:pt x="5" y="288"/>
                  </a:lnTo>
                  <a:lnTo>
                    <a:pt x="2" y="290"/>
                  </a:lnTo>
                  <a:lnTo>
                    <a:pt x="1" y="293"/>
                  </a:lnTo>
                  <a:lnTo>
                    <a:pt x="0" y="297"/>
                  </a:lnTo>
                  <a:lnTo>
                    <a:pt x="1" y="300"/>
                  </a:lnTo>
                  <a:lnTo>
                    <a:pt x="2" y="303"/>
                  </a:lnTo>
                  <a:lnTo>
                    <a:pt x="5" y="306"/>
                  </a:lnTo>
                  <a:lnTo>
                    <a:pt x="8" y="308"/>
                  </a:lnTo>
                  <a:lnTo>
                    <a:pt x="259" y="408"/>
                  </a:lnTo>
                  <a:lnTo>
                    <a:pt x="701" y="0"/>
                  </a:lnTo>
                  <a:lnTo>
                    <a:pt x="8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563">
              <a:extLst>
                <a:ext uri="{FF2B5EF4-FFF2-40B4-BE49-F238E27FC236}">
                  <a16:creationId xmlns:a16="http://schemas.microsoft.com/office/drawing/2014/main" id="{F26FAE1C-776F-4C80-8D71-19A3D8653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788" y="800100"/>
              <a:ext cx="180975" cy="257175"/>
            </a:xfrm>
            <a:custGeom>
              <a:avLst/>
              <a:gdLst>
                <a:gd name="T0" fmla="*/ 0 w 456"/>
                <a:gd name="T1" fmla="*/ 424 h 646"/>
                <a:gd name="T2" fmla="*/ 0 w 456"/>
                <a:gd name="T3" fmla="*/ 635 h 646"/>
                <a:gd name="T4" fmla="*/ 0 w 456"/>
                <a:gd name="T5" fmla="*/ 639 h 646"/>
                <a:gd name="T6" fmla="*/ 3 w 456"/>
                <a:gd name="T7" fmla="*/ 642 h 646"/>
                <a:gd name="T8" fmla="*/ 5 w 456"/>
                <a:gd name="T9" fmla="*/ 645 h 646"/>
                <a:gd name="T10" fmla="*/ 9 w 456"/>
                <a:gd name="T11" fmla="*/ 646 h 646"/>
                <a:gd name="T12" fmla="*/ 11 w 456"/>
                <a:gd name="T13" fmla="*/ 646 h 646"/>
                <a:gd name="T14" fmla="*/ 12 w 456"/>
                <a:gd name="T15" fmla="*/ 646 h 646"/>
                <a:gd name="T16" fmla="*/ 16 w 456"/>
                <a:gd name="T17" fmla="*/ 646 h 646"/>
                <a:gd name="T18" fmla="*/ 18 w 456"/>
                <a:gd name="T19" fmla="*/ 645 h 646"/>
                <a:gd name="T20" fmla="*/ 21 w 456"/>
                <a:gd name="T21" fmla="*/ 644 h 646"/>
                <a:gd name="T22" fmla="*/ 22 w 456"/>
                <a:gd name="T23" fmla="*/ 641 h 646"/>
                <a:gd name="T24" fmla="*/ 126 w 456"/>
                <a:gd name="T25" fmla="*/ 469 h 646"/>
                <a:gd name="T26" fmla="*/ 315 w 456"/>
                <a:gd name="T27" fmla="*/ 569 h 646"/>
                <a:gd name="T28" fmla="*/ 317 w 456"/>
                <a:gd name="T29" fmla="*/ 570 h 646"/>
                <a:gd name="T30" fmla="*/ 320 w 456"/>
                <a:gd name="T31" fmla="*/ 572 h 646"/>
                <a:gd name="T32" fmla="*/ 323 w 456"/>
                <a:gd name="T33" fmla="*/ 570 h 646"/>
                <a:gd name="T34" fmla="*/ 325 w 456"/>
                <a:gd name="T35" fmla="*/ 570 h 646"/>
                <a:gd name="T36" fmla="*/ 329 w 456"/>
                <a:gd name="T37" fmla="*/ 567 h 646"/>
                <a:gd name="T38" fmla="*/ 332 w 456"/>
                <a:gd name="T39" fmla="*/ 561 h 646"/>
                <a:gd name="T40" fmla="*/ 456 w 456"/>
                <a:gd name="T41" fmla="*/ 0 h 646"/>
                <a:gd name="T42" fmla="*/ 0 w 456"/>
                <a:gd name="T43" fmla="*/ 42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6" h="646">
                  <a:moveTo>
                    <a:pt x="0" y="424"/>
                  </a:moveTo>
                  <a:lnTo>
                    <a:pt x="0" y="635"/>
                  </a:lnTo>
                  <a:lnTo>
                    <a:pt x="0" y="639"/>
                  </a:lnTo>
                  <a:lnTo>
                    <a:pt x="3" y="642"/>
                  </a:lnTo>
                  <a:lnTo>
                    <a:pt x="5" y="645"/>
                  </a:lnTo>
                  <a:lnTo>
                    <a:pt x="9" y="646"/>
                  </a:lnTo>
                  <a:lnTo>
                    <a:pt x="11" y="646"/>
                  </a:lnTo>
                  <a:lnTo>
                    <a:pt x="12" y="646"/>
                  </a:lnTo>
                  <a:lnTo>
                    <a:pt x="16" y="646"/>
                  </a:lnTo>
                  <a:lnTo>
                    <a:pt x="18" y="645"/>
                  </a:lnTo>
                  <a:lnTo>
                    <a:pt x="21" y="644"/>
                  </a:lnTo>
                  <a:lnTo>
                    <a:pt x="22" y="641"/>
                  </a:lnTo>
                  <a:lnTo>
                    <a:pt x="126" y="469"/>
                  </a:lnTo>
                  <a:lnTo>
                    <a:pt x="315" y="569"/>
                  </a:lnTo>
                  <a:lnTo>
                    <a:pt x="317" y="570"/>
                  </a:lnTo>
                  <a:lnTo>
                    <a:pt x="320" y="572"/>
                  </a:lnTo>
                  <a:lnTo>
                    <a:pt x="323" y="570"/>
                  </a:lnTo>
                  <a:lnTo>
                    <a:pt x="325" y="570"/>
                  </a:lnTo>
                  <a:lnTo>
                    <a:pt x="329" y="567"/>
                  </a:lnTo>
                  <a:lnTo>
                    <a:pt x="332" y="561"/>
                  </a:lnTo>
                  <a:lnTo>
                    <a:pt x="456" y="0"/>
                  </a:lnTo>
                  <a:lnTo>
                    <a:pt x="0" y="4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6B2E2B7-DD7D-401A-B8DF-B7F3009D6DED}"/>
              </a:ext>
            </a:extLst>
          </p:cNvPr>
          <p:cNvGrpSpPr/>
          <p:nvPr/>
        </p:nvGrpSpPr>
        <p:grpSpPr>
          <a:xfrm>
            <a:off x="909796" y="3833120"/>
            <a:ext cx="282575" cy="249238"/>
            <a:chOff x="5465763" y="812800"/>
            <a:chExt cx="282575" cy="249238"/>
          </a:xfrm>
          <a:solidFill>
            <a:schemeClr val="bg1"/>
          </a:solidFill>
        </p:grpSpPr>
        <p:sp>
          <p:nvSpPr>
            <p:cNvPr id="44" name="Freeform 642">
              <a:extLst>
                <a:ext uri="{FF2B5EF4-FFF2-40B4-BE49-F238E27FC236}">
                  <a16:creationId xmlns:a16="http://schemas.microsoft.com/office/drawing/2014/main" id="{317EFC46-9949-4BD9-A244-C6680B6264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7675" y="812800"/>
              <a:ext cx="63500" cy="247650"/>
            </a:xfrm>
            <a:custGeom>
              <a:avLst/>
              <a:gdLst>
                <a:gd name="T0" fmla="*/ 147 w 196"/>
                <a:gd name="T1" fmla="*/ 720 h 782"/>
                <a:gd name="T2" fmla="*/ 145 w 196"/>
                <a:gd name="T3" fmla="*/ 725 h 782"/>
                <a:gd name="T4" fmla="*/ 142 w 196"/>
                <a:gd name="T5" fmla="*/ 729 h 782"/>
                <a:gd name="T6" fmla="*/ 136 w 196"/>
                <a:gd name="T7" fmla="*/ 732 h 782"/>
                <a:gd name="T8" fmla="*/ 55 w 196"/>
                <a:gd name="T9" fmla="*/ 732 h 782"/>
                <a:gd name="T10" fmla="*/ 48 w 196"/>
                <a:gd name="T11" fmla="*/ 731 h 782"/>
                <a:gd name="T12" fmla="*/ 44 w 196"/>
                <a:gd name="T13" fmla="*/ 727 h 782"/>
                <a:gd name="T14" fmla="*/ 41 w 196"/>
                <a:gd name="T15" fmla="*/ 723 h 782"/>
                <a:gd name="T16" fmla="*/ 40 w 196"/>
                <a:gd name="T17" fmla="*/ 717 h 782"/>
                <a:gd name="T18" fmla="*/ 40 w 196"/>
                <a:gd name="T19" fmla="*/ 558 h 782"/>
                <a:gd name="T20" fmla="*/ 42 w 196"/>
                <a:gd name="T21" fmla="*/ 552 h 782"/>
                <a:gd name="T22" fmla="*/ 46 w 196"/>
                <a:gd name="T23" fmla="*/ 548 h 782"/>
                <a:gd name="T24" fmla="*/ 52 w 196"/>
                <a:gd name="T25" fmla="*/ 546 h 782"/>
                <a:gd name="T26" fmla="*/ 133 w 196"/>
                <a:gd name="T27" fmla="*/ 546 h 782"/>
                <a:gd name="T28" fmla="*/ 139 w 196"/>
                <a:gd name="T29" fmla="*/ 547 h 782"/>
                <a:gd name="T30" fmla="*/ 144 w 196"/>
                <a:gd name="T31" fmla="*/ 550 h 782"/>
                <a:gd name="T32" fmla="*/ 147 w 196"/>
                <a:gd name="T33" fmla="*/ 555 h 782"/>
                <a:gd name="T34" fmla="*/ 148 w 196"/>
                <a:gd name="T35" fmla="*/ 561 h 782"/>
                <a:gd name="T36" fmla="*/ 66 w 196"/>
                <a:gd name="T37" fmla="*/ 91 h 782"/>
                <a:gd name="T38" fmla="*/ 67 w 196"/>
                <a:gd name="T39" fmla="*/ 85 h 782"/>
                <a:gd name="T40" fmla="*/ 70 w 196"/>
                <a:gd name="T41" fmla="*/ 81 h 782"/>
                <a:gd name="T42" fmla="*/ 75 w 196"/>
                <a:gd name="T43" fmla="*/ 77 h 782"/>
                <a:gd name="T44" fmla="*/ 81 w 196"/>
                <a:gd name="T45" fmla="*/ 76 h 782"/>
                <a:gd name="T46" fmla="*/ 87 w 196"/>
                <a:gd name="T47" fmla="*/ 77 h 782"/>
                <a:gd name="T48" fmla="*/ 91 w 196"/>
                <a:gd name="T49" fmla="*/ 81 h 782"/>
                <a:gd name="T50" fmla="*/ 95 w 196"/>
                <a:gd name="T51" fmla="*/ 85 h 782"/>
                <a:gd name="T52" fmla="*/ 96 w 196"/>
                <a:gd name="T53" fmla="*/ 91 h 782"/>
                <a:gd name="T54" fmla="*/ 96 w 196"/>
                <a:gd name="T55" fmla="*/ 512 h 782"/>
                <a:gd name="T56" fmla="*/ 93 w 196"/>
                <a:gd name="T57" fmla="*/ 517 h 782"/>
                <a:gd name="T58" fmla="*/ 89 w 196"/>
                <a:gd name="T59" fmla="*/ 521 h 782"/>
                <a:gd name="T60" fmla="*/ 84 w 196"/>
                <a:gd name="T61" fmla="*/ 524 h 782"/>
                <a:gd name="T62" fmla="*/ 77 w 196"/>
                <a:gd name="T63" fmla="*/ 524 h 782"/>
                <a:gd name="T64" fmla="*/ 72 w 196"/>
                <a:gd name="T65" fmla="*/ 521 h 782"/>
                <a:gd name="T66" fmla="*/ 68 w 196"/>
                <a:gd name="T67" fmla="*/ 517 h 782"/>
                <a:gd name="T68" fmla="*/ 66 w 196"/>
                <a:gd name="T69" fmla="*/ 512 h 782"/>
                <a:gd name="T70" fmla="*/ 66 w 196"/>
                <a:gd name="T71" fmla="*/ 91 h 782"/>
                <a:gd name="T72" fmla="*/ 15 w 196"/>
                <a:gd name="T73" fmla="*/ 0 h 782"/>
                <a:gd name="T74" fmla="*/ 10 w 196"/>
                <a:gd name="T75" fmla="*/ 1 h 782"/>
                <a:gd name="T76" fmla="*/ 4 w 196"/>
                <a:gd name="T77" fmla="*/ 4 h 782"/>
                <a:gd name="T78" fmla="*/ 1 w 196"/>
                <a:gd name="T79" fmla="*/ 9 h 782"/>
                <a:gd name="T80" fmla="*/ 0 w 196"/>
                <a:gd name="T81" fmla="*/ 15 h 782"/>
                <a:gd name="T82" fmla="*/ 1 w 196"/>
                <a:gd name="T83" fmla="*/ 770 h 782"/>
                <a:gd name="T84" fmla="*/ 3 w 196"/>
                <a:gd name="T85" fmla="*/ 776 h 782"/>
                <a:gd name="T86" fmla="*/ 8 w 196"/>
                <a:gd name="T87" fmla="*/ 780 h 782"/>
                <a:gd name="T88" fmla="*/ 13 w 196"/>
                <a:gd name="T89" fmla="*/ 782 h 782"/>
                <a:gd name="T90" fmla="*/ 181 w 196"/>
                <a:gd name="T91" fmla="*/ 782 h 782"/>
                <a:gd name="T92" fmla="*/ 187 w 196"/>
                <a:gd name="T93" fmla="*/ 781 h 782"/>
                <a:gd name="T94" fmla="*/ 192 w 196"/>
                <a:gd name="T95" fmla="*/ 778 h 782"/>
                <a:gd name="T96" fmla="*/ 195 w 196"/>
                <a:gd name="T97" fmla="*/ 773 h 782"/>
                <a:gd name="T98" fmla="*/ 196 w 196"/>
                <a:gd name="T99" fmla="*/ 767 h 782"/>
                <a:gd name="T100" fmla="*/ 196 w 196"/>
                <a:gd name="T101" fmla="*/ 12 h 782"/>
                <a:gd name="T102" fmla="*/ 193 w 196"/>
                <a:gd name="T103" fmla="*/ 7 h 782"/>
                <a:gd name="T104" fmla="*/ 190 w 196"/>
                <a:gd name="T105" fmla="*/ 2 h 782"/>
                <a:gd name="T106" fmla="*/ 185 w 196"/>
                <a:gd name="T107" fmla="*/ 0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782">
                  <a:moveTo>
                    <a:pt x="148" y="717"/>
                  </a:moveTo>
                  <a:lnTo>
                    <a:pt x="147" y="720"/>
                  </a:lnTo>
                  <a:lnTo>
                    <a:pt x="147" y="723"/>
                  </a:lnTo>
                  <a:lnTo>
                    <a:pt x="145" y="725"/>
                  </a:lnTo>
                  <a:lnTo>
                    <a:pt x="144" y="727"/>
                  </a:lnTo>
                  <a:lnTo>
                    <a:pt x="142" y="729"/>
                  </a:lnTo>
                  <a:lnTo>
                    <a:pt x="139" y="731"/>
                  </a:lnTo>
                  <a:lnTo>
                    <a:pt x="136" y="732"/>
                  </a:lnTo>
                  <a:lnTo>
                    <a:pt x="133" y="732"/>
                  </a:lnTo>
                  <a:lnTo>
                    <a:pt x="55" y="732"/>
                  </a:lnTo>
                  <a:lnTo>
                    <a:pt x="52" y="732"/>
                  </a:lnTo>
                  <a:lnTo>
                    <a:pt x="48" y="731"/>
                  </a:lnTo>
                  <a:lnTo>
                    <a:pt x="46" y="729"/>
                  </a:lnTo>
                  <a:lnTo>
                    <a:pt x="44" y="727"/>
                  </a:lnTo>
                  <a:lnTo>
                    <a:pt x="42" y="725"/>
                  </a:lnTo>
                  <a:lnTo>
                    <a:pt x="41" y="723"/>
                  </a:lnTo>
                  <a:lnTo>
                    <a:pt x="40" y="720"/>
                  </a:lnTo>
                  <a:lnTo>
                    <a:pt x="40" y="717"/>
                  </a:lnTo>
                  <a:lnTo>
                    <a:pt x="40" y="561"/>
                  </a:lnTo>
                  <a:lnTo>
                    <a:pt x="40" y="558"/>
                  </a:lnTo>
                  <a:lnTo>
                    <a:pt x="41" y="555"/>
                  </a:lnTo>
                  <a:lnTo>
                    <a:pt x="42" y="552"/>
                  </a:lnTo>
                  <a:lnTo>
                    <a:pt x="44" y="550"/>
                  </a:lnTo>
                  <a:lnTo>
                    <a:pt x="46" y="548"/>
                  </a:lnTo>
                  <a:lnTo>
                    <a:pt x="48" y="547"/>
                  </a:lnTo>
                  <a:lnTo>
                    <a:pt x="52" y="546"/>
                  </a:lnTo>
                  <a:lnTo>
                    <a:pt x="55" y="546"/>
                  </a:lnTo>
                  <a:lnTo>
                    <a:pt x="133" y="546"/>
                  </a:lnTo>
                  <a:lnTo>
                    <a:pt x="136" y="546"/>
                  </a:lnTo>
                  <a:lnTo>
                    <a:pt x="139" y="547"/>
                  </a:lnTo>
                  <a:lnTo>
                    <a:pt x="142" y="548"/>
                  </a:lnTo>
                  <a:lnTo>
                    <a:pt x="144" y="550"/>
                  </a:lnTo>
                  <a:lnTo>
                    <a:pt x="145" y="552"/>
                  </a:lnTo>
                  <a:lnTo>
                    <a:pt x="147" y="555"/>
                  </a:lnTo>
                  <a:lnTo>
                    <a:pt x="147" y="558"/>
                  </a:lnTo>
                  <a:lnTo>
                    <a:pt x="148" y="561"/>
                  </a:lnTo>
                  <a:lnTo>
                    <a:pt x="148" y="717"/>
                  </a:lnTo>
                  <a:close/>
                  <a:moveTo>
                    <a:pt x="66" y="91"/>
                  </a:moveTo>
                  <a:lnTo>
                    <a:pt x="66" y="88"/>
                  </a:lnTo>
                  <a:lnTo>
                    <a:pt x="67" y="85"/>
                  </a:lnTo>
                  <a:lnTo>
                    <a:pt x="68" y="83"/>
                  </a:lnTo>
                  <a:lnTo>
                    <a:pt x="70" y="81"/>
                  </a:lnTo>
                  <a:lnTo>
                    <a:pt x="72" y="78"/>
                  </a:lnTo>
                  <a:lnTo>
                    <a:pt x="75" y="77"/>
                  </a:lnTo>
                  <a:lnTo>
                    <a:pt x="77" y="76"/>
                  </a:lnTo>
                  <a:lnTo>
                    <a:pt x="81" y="76"/>
                  </a:lnTo>
                  <a:lnTo>
                    <a:pt x="84" y="76"/>
                  </a:lnTo>
                  <a:lnTo>
                    <a:pt x="87" y="77"/>
                  </a:lnTo>
                  <a:lnTo>
                    <a:pt x="89" y="78"/>
                  </a:lnTo>
                  <a:lnTo>
                    <a:pt x="91" y="81"/>
                  </a:lnTo>
                  <a:lnTo>
                    <a:pt x="93" y="83"/>
                  </a:lnTo>
                  <a:lnTo>
                    <a:pt x="95" y="85"/>
                  </a:lnTo>
                  <a:lnTo>
                    <a:pt x="96" y="88"/>
                  </a:lnTo>
                  <a:lnTo>
                    <a:pt x="96" y="91"/>
                  </a:lnTo>
                  <a:lnTo>
                    <a:pt x="96" y="509"/>
                  </a:lnTo>
                  <a:lnTo>
                    <a:pt x="96" y="512"/>
                  </a:lnTo>
                  <a:lnTo>
                    <a:pt x="95" y="514"/>
                  </a:lnTo>
                  <a:lnTo>
                    <a:pt x="93" y="517"/>
                  </a:lnTo>
                  <a:lnTo>
                    <a:pt x="91" y="519"/>
                  </a:lnTo>
                  <a:lnTo>
                    <a:pt x="89" y="521"/>
                  </a:lnTo>
                  <a:lnTo>
                    <a:pt x="87" y="522"/>
                  </a:lnTo>
                  <a:lnTo>
                    <a:pt x="84" y="524"/>
                  </a:lnTo>
                  <a:lnTo>
                    <a:pt x="81" y="524"/>
                  </a:lnTo>
                  <a:lnTo>
                    <a:pt x="77" y="524"/>
                  </a:lnTo>
                  <a:lnTo>
                    <a:pt x="75" y="522"/>
                  </a:lnTo>
                  <a:lnTo>
                    <a:pt x="72" y="521"/>
                  </a:lnTo>
                  <a:lnTo>
                    <a:pt x="70" y="519"/>
                  </a:lnTo>
                  <a:lnTo>
                    <a:pt x="68" y="517"/>
                  </a:lnTo>
                  <a:lnTo>
                    <a:pt x="67" y="514"/>
                  </a:lnTo>
                  <a:lnTo>
                    <a:pt x="66" y="512"/>
                  </a:lnTo>
                  <a:lnTo>
                    <a:pt x="66" y="509"/>
                  </a:lnTo>
                  <a:lnTo>
                    <a:pt x="66" y="91"/>
                  </a:lnTo>
                  <a:close/>
                  <a:moveTo>
                    <a:pt x="181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767"/>
                  </a:lnTo>
                  <a:lnTo>
                    <a:pt x="1" y="770"/>
                  </a:lnTo>
                  <a:lnTo>
                    <a:pt x="1" y="773"/>
                  </a:lnTo>
                  <a:lnTo>
                    <a:pt x="3" y="776"/>
                  </a:lnTo>
                  <a:lnTo>
                    <a:pt x="4" y="778"/>
                  </a:lnTo>
                  <a:lnTo>
                    <a:pt x="8" y="780"/>
                  </a:lnTo>
                  <a:lnTo>
                    <a:pt x="10" y="781"/>
                  </a:lnTo>
                  <a:lnTo>
                    <a:pt x="13" y="782"/>
                  </a:lnTo>
                  <a:lnTo>
                    <a:pt x="15" y="782"/>
                  </a:lnTo>
                  <a:lnTo>
                    <a:pt x="181" y="782"/>
                  </a:lnTo>
                  <a:lnTo>
                    <a:pt x="185" y="782"/>
                  </a:lnTo>
                  <a:lnTo>
                    <a:pt x="187" y="781"/>
                  </a:lnTo>
                  <a:lnTo>
                    <a:pt x="190" y="780"/>
                  </a:lnTo>
                  <a:lnTo>
                    <a:pt x="192" y="778"/>
                  </a:lnTo>
                  <a:lnTo>
                    <a:pt x="193" y="776"/>
                  </a:lnTo>
                  <a:lnTo>
                    <a:pt x="195" y="773"/>
                  </a:lnTo>
                  <a:lnTo>
                    <a:pt x="196" y="770"/>
                  </a:lnTo>
                  <a:lnTo>
                    <a:pt x="196" y="767"/>
                  </a:lnTo>
                  <a:lnTo>
                    <a:pt x="196" y="15"/>
                  </a:lnTo>
                  <a:lnTo>
                    <a:pt x="196" y="12"/>
                  </a:lnTo>
                  <a:lnTo>
                    <a:pt x="195" y="9"/>
                  </a:lnTo>
                  <a:lnTo>
                    <a:pt x="193" y="7"/>
                  </a:lnTo>
                  <a:lnTo>
                    <a:pt x="192" y="4"/>
                  </a:lnTo>
                  <a:lnTo>
                    <a:pt x="190" y="2"/>
                  </a:lnTo>
                  <a:lnTo>
                    <a:pt x="187" y="1"/>
                  </a:lnTo>
                  <a:lnTo>
                    <a:pt x="185" y="0"/>
                  </a:lnTo>
                  <a:lnTo>
                    <a:pt x="1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643">
              <a:extLst>
                <a:ext uri="{FF2B5EF4-FFF2-40B4-BE49-F238E27FC236}">
                  <a16:creationId xmlns:a16="http://schemas.microsoft.com/office/drawing/2014/main" id="{26D76CDE-EF94-4198-8329-4F9C0EDEC5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0700" y="844550"/>
              <a:ext cx="147638" cy="217488"/>
            </a:xfrm>
            <a:custGeom>
              <a:avLst/>
              <a:gdLst>
                <a:gd name="T0" fmla="*/ 61 w 469"/>
                <a:gd name="T1" fmla="*/ 632 h 684"/>
                <a:gd name="T2" fmla="*/ 53 w 469"/>
                <a:gd name="T3" fmla="*/ 627 h 684"/>
                <a:gd name="T4" fmla="*/ 49 w 469"/>
                <a:gd name="T5" fmla="*/ 620 h 684"/>
                <a:gd name="T6" fmla="*/ 50 w 469"/>
                <a:gd name="T7" fmla="*/ 611 h 684"/>
                <a:gd name="T8" fmla="*/ 55 w 469"/>
                <a:gd name="T9" fmla="*/ 605 h 684"/>
                <a:gd name="T10" fmla="*/ 64 w 469"/>
                <a:gd name="T11" fmla="*/ 602 h 684"/>
                <a:gd name="T12" fmla="*/ 147 w 469"/>
                <a:gd name="T13" fmla="*/ 603 h 684"/>
                <a:gd name="T14" fmla="*/ 154 w 469"/>
                <a:gd name="T15" fmla="*/ 609 h 684"/>
                <a:gd name="T16" fmla="*/ 157 w 469"/>
                <a:gd name="T17" fmla="*/ 617 h 684"/>
                <a:gd name="T18" fmla="*/ 154 w 469"/>
                <a:gd name="T19" fmla="*/ 625 h 684"/>
                <a:gd name="T20" fmla="*/ 147 w 469"/>
                <a:gd name="T21" fmla="*/ 631 h 684"/>
                <a:gd name="T22" fmla="*/ 74 w 469"/>
                <a:gd name="T23" fmla="*/ 252 h 684"/>
                <a:gd name="T24" fmla="*/ 77 w 469"/>
                <a:gd name="T25" fmla="*/ 243 h 684"/>
                <a:gd name="T26" fmla="*/ 83 w 469"/>
                <a:gd name="T27" fmla="*/ 238 h 684"/>
                <a:gd name="T28" fmla="*/ 93 w 469"/>
                <a:gd name="T29" fmla="*/ 237 h 684"/>
                <a:gd name="T30" fmla="*/ 100 w 469"/>
                <a:gd name="T31" fmla="*/ 241 h 684"/>
                <a:gd name="T32" fmla="*/ 104 w 469"/>
                <a:gd name="T33" fmla="*/ 249 h 684"/>
                <a:gd name="T34" fmla="*/ 104 w 469"/>
                <a:gd name="T35" fmla="*/ 542 h 684"/>
                <a:gd name="T36" fmla="*/ 100 w 469"/>
                <a:gd name="T37" fmla="*/ 549 h 684"/>
                <a:gd name="T38" fmla="*/ 93 w 469"/>
                <a:gd name="T39" fmla="*/ 553 h 684"/>
                <a:gd name="T40" fmla="*/ 83 w 469"/>
                <a:gd name="T41" fmla="*/ 553 h 684"/>
                <a:gd name="T42" fmla="*/ 77 w 469"/>
                <a:gd name="T43" fmla="*/ 547 h 684"/>
                <a:gd name="T44" fmla="*/ 74 w 469"/>
                <a:gd name="T45" fmla="*/ 539 h 684"/>
                <a:gd name="T46" fmla="*/ 260 w 469"/>
                <a:gd name="T47" fmla="*/ 11 h 684"/>
                <a:gd name="T48" fmla="*/ 255 w 469"/>
                <a:gd name="T49" fmla="*/ 3 h 684"/>
                <a:gd name="T50" fmla="*/ 247 w 469"/>
                <a:gd name="T51" fmla="*/ 0 h 684"/>
                <a:gd name="T52" fmla="*/ 150 w 469"/>
                <a:gd name="T53" fmla="*/ 33 h 684"/>
                <a:gd name="T54" fmla="*/ 143 w 469"/>
                <a:gd name="T55" fmla="*/ 38 h 684"/>
                <a:gd name="T56" fmla="*/ 140 w 469"/>
                <a:gd name="T57" fmla="*/ 46 h 684"/>
                <a:gd name="T58" fmla="*/ 180 w 469"/>
                <a:gd name="T59" fmla="*/ 170 h 684"/>
                <a:gd name="T60" fmla="*/ 9 w 469"/>
                <a:gd name="T61" fmla="*/ 171 h 684"/>
                <a:gd name="T62" fmla="*/ 3 w 469"/>
                <a:gd name="T63" fmla="*/ 177 h 684"/>
                <a:gd name="T64" fmla="*/ 0 w 469"/>
                <a:gd name="T65" fmla="*/ 185 h 684"/>
                <a:gd name="T66" fmla="*/ 2 w 469"/>
                <a:gd name="T67" fmla="*/ 673 h 684"/>
                <a:gd name="T68" fmla="*/ 7 w 469"/>
                <a:gd name="T69" fmla="*/ 680 h 684"/>
                <a:gd name="T70" fmla="*/ 15 w 469"/>
                <a:gd name="T71" fmla="*/ 682 h 684"/>
                <a:gd name="T72" fmla="*/ 202 w 469"/>
                <a:gd name="T73" fmla="*/ 681 h 684"/>
                <a:gd name="T74" fmla="*/ 209 w 469"/>
                <a:gd name="T75" fmla="*/ 676 h 684"/>
                <a:gd name="T76" fmla="*/ 211 w 469"/>
                <a:gd name="T77" fmla="*/ 667 h 684"/>
                <a:gd name="T78" fmla="*/ 350 w 469"/>
                <a:gd name="T79" fmla="*/ 677 h 684"/>
                <a:gd name="T80" fmla="*/ 357 w 469"/>
                <a:gd name="T81" fmla="*/ 683 h 684"/>
                <a:gd name="T82" fmla="*/ 366 w 469"/>
                <a:gd name="T83" fmla="*/ 684 h 684"/>
                <a:gd name="T84" fmla="*/ 463 w 469"/>
                <a:gd name="T85" fmla="*/ 650 h 684"/>
                <a:gd name="T86" fmla="*/ 468 w 469"/>
                <a:gd name="T87" fmla="*/ 643 h 684"/>
                <a:gd name="T88" fmla="*/ 469 w 469"/>
                <a:gd name="T89" fmla="*/ 635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9" h="684">
                  <a:moveTo>
                    <a:pt x="142" y="632"/>
                  </a:moveTo>
                  <a:lnTo>
                    <a:pt x="64" y="632"/>
                  </a:lnTo>
                  <a:lnTo>
                    <a:pt x="61" y="632"/>
                  </a:lnTo>
                  <a:lnTo>
                    <a:pt x="57" y="631"/>
                  </a:lnTo>
                  <a:lnTo>
                    <a:pt x="55" y="629"/>
                  </a:lnTo>
                  <a:lnTo>
                    <a:pt x="53" y="627"/>
                  </a:lnTo>
                  <a:lnTo>
                    <a:pt x="51" y="625"/>
                  </a:lnTo>
                  <a:lnTo>
                    <a:pt x="50" y="623"/>
                  </a:lnTo>
                  <a:lnTo>
                    <a:pt x="49" y="620"/>
                  </a:lnTo>
                  <a:lnTo>
                    <a:pt x="48" y="617"/>
                  </a:lnTo>
                  <a:lnTo>
                    <a:pt x="49" y="614"/>
                  </a:lnTo>
                  <a:lnTo>
                    <a:pt x="50" y="611"/>
                  </a:lnTo>
                  <a:lnTo>
                    <a:pt x="51" y="609"/>
                  </a:lnTo>
                  <a:lnTo>
                    <a:pt x="53" y="606"/>
                  </a:lnTo>
                  <a:lnTo>
                    <a:pt x="55" y="605"/>
                  </a:lnTo>
                  <a:lnTo>
                    <a:pt x="57" y="603"/>
                  </a:lnTo>
                  <a:lnTo>
                    <a:pt x="61" y="603"/>
                  </a:lnTo>
                  <a:lnTo>
                    <a:pt x="64" y="602"/>
                  </a:lnTo>
                  <a:lnTo>
                    <a:pt x="142" y="602"/>
                  </a:lnTo>
                  <a:lnTo>
                    <a:pt x="144" y="603"/>
                  </a:lnTo>
                  <a:lnTo>
                    <a:pt x="147" y="603"/>
                  </a:lnTo>
                  <a:lnTo>
                    <a:pt x="150" y="605"/>
                  </a:lnTo>
                  <a:lnTo>
                    <a:pt x="152" y="606"/>
                  </a:lnTo>
                  <a:lnTo>
                    <a:pt x="154" y="609"/>
                  </a:lnTo>
                  <a:lnTo>
                    <a:pt x="155" y="611"/>
                  </a:lnTo>
                  <a:lnTo>
                    <a:pt x="156" y="614"/>
                  </a:lnTo>
                  <a:lnTo>
                    <a:pt x="157" y="617"/>
                  </a:lnTo>
                  <a:lnTo>
                    <a:pt x="156" y="620"/>
                  </a:lnTo>
                  <a:lnTo>
                    <a:pt x="155" y="623"/>
                  </a:lnTo>
                  <a:lnTo>
                    <a:pt x="154" y="625"/>
                  </a:lnTo>
                  <a:lnTo>
                    <a:pt x="152" y="627"/>
                  </a:lnTo>
                  <a:lnTo>
                    <a:pt x="150" y="629"/>
                  </a:lnTo>
                  <a:lnTo>
                    <a:pt x="147" y="631"/>
                  </a:lnTo>
                  <a:lnTo>
                    <a:pt x="144" y="632"/>
                  </a:lnTo>
                  <a:lnTo>
                    <a:pt x="142" y="632"/>
                  </a:lnTo>
                  <a:close/>
                  <a:moveTo>
                    <a:pt x="74" y="252"/>
                  </a:moveTo>
                  <a:lnTo>
                    <a:pt x="74" y="249"/>
                  </a:lnTo>
                  <a:lnTo>
                    <a:pt x="76" y="247"/>
                  </a:lnTo>
                  <a:lnTo>
                    <a:pt x="77" y="243"/>
                  </a:lnTo>
                  <a:lnTo>
                    <a:pt x="79" y="241"/>
                  </a:lnTo>
                  <a:lnTo>
                    <a:pt x="81" y="239"/>
                  </a:lnTo>
                  <a:lnTo>
                    <a:pt x="83" y="238"/>
                  </a:lnTo>
                  <a:lnTo>
                    <a:pt x="86" y="237"/>
                  </a:lnTo>
                  <a:lnTo>
                    <a:pt x="89" y="237"/>
                  </a:lnTo>
                  <a:lnTo>
                    <a:pt x="93" y="237"/>
                  </a:lnTo>
                  <a:lnTo>
                    <a:pt x="95" y="238"/>
                  </a:lnTo>
                  <a:lnTo>
                    <a:pt x="98" y="239"/>
                  </a:lnTo>
                  <a:lnTo>
                    <a:pt x="100" y="241"/>
                  </a:lnTo>
                  <a:lnTo>
                    <a:pt x="102" y="243"/>
                  </a:lnTo>
                  <a:lnTo>
                    <a:pt x="103" y="247"/>
                  </a:lnTo>
                  <a:lnTo>
                    <a:pt x="104" y="249"/>
                  </a:lnTo>
                  <a:lnTo>
                    <a:pt x="104" y="252"/>
                  </a:lnTo>
                  <a:lnTo>
                    <a:pt x="104" y="539"/>
                  </a:lnTo>
                  <a:lnTo>
                    <a:pt x="104" y="542"/>
                  </a:lnTo>
                  <a:lnTo>
                    <a:pt x="103" y="545"/>
                  </a:lnTo>
                  <a:lnTo>
                    <a:pt x="102" y="547"/>
                  </a:lnTo>
                  <a:lnTo>
                    <a:pt x="100" y="549"/>
                  </a:lnTo>
                  <a:lnTo>
                    <a:pt x="98" y="551"/>
                  </a:lnTo>
                  <a:lnTo>
                    <a:pt x="95" y="553"/>
                  </a:lnTo>
                  <a:lnTo>
                    <a:pt x="93" y="553"/>
                  </a:lnTo>
                  <a:lnTo>
                    <a:pt x="89" y="554"/>
                  </a:lnTo>
                  <a:lnTo>
                    <a:pt x="86" y="553"/>
                  </a:lnTo>
                  <a:lnTo>
                    <a:pt x="83" y="553"/>
                  </a:lnTo>
                  <a:lnTo>
                    <a:pt x="81" y="551"/>
                  </a:lnTo>
                  <a:lnTo>
                    <a:pt x="79" y="549"/>
                  </a:lnTo>
                  <a:lnTo>
                    <a:pt x="77" y="547"/>
                  </a:lnTo>
                  <a:lnTo>
                    <a:pt x="76" y="545"/>
                  </a:lnTo>
                  <a:lnTo>
                    <a:pt x="74" y="542"/>
                  </a:lnTo>
                  <a:lnTo>
                    <a:pt x="74" y="539"/>
                  </a:lnTo>
                  <a:lnTo>
                    <a:pt x="74" y="252"/>
                  </a:lnTo>
                  <a:close/>
                  <a:moveTo>
                    <a:pt x="469" y="633"/>
                  </a:moveTo>
                  <a:lnTo>
                    <a:pt x="260" y="11"/>
                  </a:lnTo>
                  <a:lnTo>
                    <a:pt x="259" y="7"/>
                  </a:lnTo>
                  <a:lnTo>
                    <a:pt x="257" y="5"/>
                  </a:lnTo>
                  <a:lnTo>
                    <a:pt x="255" y="3"/>
                  </a:lnTo>
                  <a:lnTo>
                    <a:pt x="252" y="2"/>
                  </a:lnTo>
                  <a:lnTo>
                    <a:pt x="249" y="1"/>
                  </a:lnTo>
                  <a:lnTo>
                    <a:pt x="247" y="0"/>
                  </a:lnTo>
                  <a:lnTo>
                    <a:pt x="244" y="0"/>
                  </a:lnTo>
                  <a:lnTo>
                    <a:pt x="241" y="1"/>
                  </a:lnTo>
                  <a:lnTo>
                    <a:pt x="150" y="33"/>
                  </a:lnTo>
                  <a:lnTo>
                    <a:pt x="147" y="34"/>
                  </a:lnTo>
                  <a:lnTo>
                    <a:pt x="144" y="36"/>
                  </a:lnTo>
                  <a:lnTo>
                    <a:pt x="143" y="38"/>
                  </a:lnTo>
                  <a:lnTo>
                    <a:pt x="141" y="41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40" y="49"/>
                  </a:lnTo>
                  <a:lnTo>
                    <a:pt x="140" y="52"/>
                  </a:lnTo>
                  <a:lnTo>
                    <a:pt x="180" y="170"/>
                  </a:lnTo>
                  <a:lnTo>
                    <a:pt x="15" y="170"/>
                  </a:lnTo>
                  <a:lnTo>
                    <a:pt x="12" y="171"/>
                  </a:lnTo>
                  <a:lnTo>
                    <a:pt x="9" y="171"/>
                  </a:lnTo>
                  <a:lnTo>
                    <a:pt x="7" y="174"/>
                  </a:lnTo>
                  <a:lnTo>
                    <a:pt x="5" y="175"/>
                  </a:lnTo>
                  <a:lnTo>
                    <a:pt x="3" y="177"/>
                  </a:lnTo>
                  <a:lnTo>
                    <a:pt x="2" y="180"/>
                  </a:lnTo>
                  <a:lnTo>
                    <a:pt x="0" y="183"/>
                  </a:lnTo>
                  <a:lnTo>
                    <a:pt x="0" y="185"/>
                  </a:lnTo>
                  <a:lnTo>
                    <a:pt x="0" y="667"/>
                  </a:lnTo>
                  <a:lnTo>
                    <a:pt x="0" y="670"/>
                  </a:lnTo>
                  <a:lnTo>
                    <a:pt x="2" y="673"/>
                  </a:lnTo>
                  <a:lnTo>
                    <a:pt x="3" y="676"/>
                  </a:lnTo>
                  <a:lnTo>
                    <a:pt x="5" y="678"/>
                  </a:lnTo>
                  <a:lnTo>
                    <a:pt x="7" y="680"/>
                  </a:lnTo>
                  <a:lnTo>
                    <a:pt x="9" y="681"/>
                  </a:lnTo>
                  <a:lnTo>
                    <a:pt x="12" y="682"/>
                  </a:lnTo>
                  <a:lnTo>
                    <a:pt x="15" y="682"/>
                  </a:lnTo>
                  <a:lnTo>
                    <a:pt x="196" y="682"/>
                  </a:lnTo>
                  <a:lnTo>
                    <a:pt x="199" y="682"/>
                  </a:lnTo>
                  <a:lnTo>
                    <a:pt x="202" y="681"/>
                  </a:lnTo>
                  <a:lnTo>
                    <a:pt x="204" y="680"/>
                  </a:lnTo>
                  <a:lnTo>
                    <a:pt x="206" y="678"/>
                  </a:lnTo>
                  <a:lnTo>
                    <a:pt x="209" y="676"/>
                  </a:lnTo>
                  <a:lnTo>
                    <a:pt x="210" y="673"/>
                  </a:lnTo>
                  <a:lnTo>
                    <a:pt x="211" y="670"/>
                  </a:lnTo>
                  <a:lnTo>
                    <a:pt x="211" y="667"/>
                  </a:lnTo>
                  <a:lnTo>
                    <a:pt x="211" y="263"/>
                  </a:lnTo>
                  <a:lnTo>
                    <a:pt x="349" y="675"/>
                  </a:lnTo>
                  <a:lnTo>
                    <a:pt x="350" y="677"/>
                  </a:lnTo>
                  <a:lnTo>
                    <a:pt x="352" y="679"/>
                  </a:lnTo>
                  <a:lnTo>
                    <a:pt x="354" y="681"/>
                  </a:lnTo>
                  <a:lnTo>
                    <a:pt x="357" y="683"/>
                  </a:lnTo>
                  <a:lnTo>
                    <a:pt x="360" y="684"/>
                  </a:lnTo>
                  <a:lnTo>
                    <a:pt x="363" y="684"/>
                  </a:lnTo>
                  <a:lnTo>
                    <a:pt x="366" y="684"/>
                  </a:lnTo>
                  <a:lnTo>
                    <a:pt x="368" y="683"/>
                  </a:lnTo>
                  <a:lnTo>
                    <a:pt x="459" y="651"/>
                  </a:lnTo>
                  <a:lnTo>
                    <a:pt x="463" y="650"/>
                  </a:lnTo>
                  <a:lnTo>
                    <a:pt x="465" y="649"/>
                  </a:lnTo>
                  <a:lnTo>
                    <a:pt x="467" y="647"/>
                  </a:lnTo>
                  <a:lnTo>
                    <a:pt x="468" y="643"/>
                  </a:lnTo>
                  <a:lnTo>
                    <a:pt x="469" y="641"/>
                  </a:lnTo>
                  <a:lnTo>
                    <a:pt x="469" y="638"/>
                  </a:lnTo>
                  <a:lnTo>
                    <a:pt x="469" y="635"/>
                  </a:lnTo>
                  <a:lnTo>
                    <a:pt x="469" y="633"/>
                  </a:lnTo>
                  <a:lnTo>
                    <a:pt x="469" y="6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644">
              <a:extLst>
                <a:ext uri="{FF2B5EF4-FFF2-40B4-BE49-F238E27FC236}">
                  <a16:creationId xmlns:a16="http://schemas.microsoft.com/office/drawing/2014/main" id="{A95C11E4-9EC4-4477-B147-2386C55C9B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5763" y="846138"/>
              <a:ext cx="52388" cy="214313"/>
            </a:xfrm>
            <a:custGeom>
              <a:avLst/>
              <a:gdLst>
                <a:gd name="T0" fmla="*/ 81 w 165"/>
                <a:gd name="T1" fmla="*/ 563 h 677"/>
                <a:gd name="T2" fmla="*/ 79 w 165"/>
                <a:gd name="T3" fmla="*/ 569 h 677"/>
                <a:gd name="T4" fmla="*/ 75 w 165"/>
                <a:gd name="T5" fmla="*/ 572 h 677"/>
                <a:gd name="T6" fmla="*/ 70 w 165"/>
                <a:gd name="T7" fmla="*/ 575 h 677"/>
                <a:gd name="T8" fmla="*/ 64 w 165"/>
                <a:gd name="T9" fmla="*/ 575 h 677"/>
                <a:gd name="T10" fmla="*/ 59 w 165"/>
                <a:gd name="T11" fmla="*/ 572 h 677"/>
                <a:gd name="T12" fmla="*/ 55 w 165"/>
                <a:gd name="T13" fmla="*/ 569 h 677"/>
                <a:gd name="T14" fmla="*/ 53 w 165"/>
                <a:gd name="T15" fmla="*/ 563 h 677"/>
                <a:gd name="T16" fmla="*/ 51 w 165"/>
                <a:gd name="T17" fmla="*/ 116 h 677"/>
                <a:gd name="T18" fmla="*/ 54 w 165"/>
                <a:gd name="T19" fmla="*/ 111 h 677"/>
                <a:gd name="T20" fmla="*/ 57 w 165"/>
                <a:gd name="T21" fmla="*/ 106 h 677"/>
                <a:gd name="T22" fmla="*/ 61 w 165"/>
                <a:gd name="T23" fmla="*/ 103 h 677"/>
                <a:gd name="T24" fmla="*/ 66 w 165"/>
                <a:gd name="T25" fmla="*/ 102 h 677"/>
                <a:gd name="T26" fmla="*/ 73 w 165"/>
                <a:gd name="T27" fmla="*/ 103 h 677"/>
                <a:gd name="T28" fmla="*/ 77 w 165"/>
                <a:gd name="T29" fmla="*/ 106 h 677"/>
                <a:gd name="T30" fmla="*/ 80 w 165"/>
                <a:gd name="T31" fmla="*/ 111 h 677"/>
                <a:gd name="T32" fmla="*/ 83 w 165"/>
                <a:gd name="T33" fmla="*/ 117 h 677"/>
                <a:gd name="T34" fmla="*/ 150 w 165"/>
                <a:gd name="T35" fmla="*/ 0 h 677"/>
                <a:gd name="T36" fmla="*/ 12 w 165"/>
                <a:gd name="T37" fmla="*/ 0 h 677"/>
                <a:gd name="T38" fmla="*/ 6 w 165"/>
                <a:gd name="T39" fmla="*/ 2 h 677"/>
                <a:gd name="T40" fmla="*/ 2 w 165"/>
                <a:gd name="T41" fmla="*/ 7 h 677"/>
                <a:gd name="T42" fmla="*/ 0 w 165"/>
                <a:gd name="T43" fmla="*/ 12 h 677"/>
                <a:gd name="T44" fmla="*/ 0 w 165"/>
                <a:gd name="T45" fmla="*/ 662 h 677"/>
                <a:gd name="T46" fmla="*/ 1 w 165"/>
                <a:gd name="T47" fmla="*/ 668 h 677"/>
                <a:gd name="T48" fmla="*/ 4 w 165"/>
                <a:gd name="T49" fmla="*/ 673 h 677"/>
                <a:gd name="T50" fmla="*/ 9 w 165"/>
                <a:gd name="T51" fmla="*/ 676 h 677"/>
                <a:gd name="T52" fmla="*/ 15 w 165"/>
                <a:gd name="T53" fmla="*/ 677 h 677"/>
                <a:gd name="T54" fmla="*/ 153 w 165"/>
                <a:gd name="T55" fmla="*/ 677 h 677"/>
                <a:gd name="T56" fmla="*/ 159 w 165"/>
                <a:gd name="T57" fmla="*/ 675 h 677"/>
                <a:gd name="T58" fmla="*/ 163 w 165"/>
                <a:gd name="T59" fmla="*/ 671 h 677"/>
                <a:gd name="T60" fmla="*/ 165 w 165"/>
                <a:gd name="T61" fmla="*/ 665 h 677"/>
                <a:gd name="T62" fmla="*/ 165 w 165"/>
                <a:gd name="T63" fmla="*/ 15 h 677"/>
                <a:gd name="T64" fmla="*/ 164 w 165"/>
                <a:gd name="T65" fmla="*/ 9 h 677"/>
                <a:gd name="T66" fmla="*/ 161 w 165"/>
                <a:gd name="T67" fmla="*/ 5 h 677"/>
                <a:gd name="T68" fmla="*/ 157 w 165"/>
                <a:gd name="T69" fmla="*/ 1 h 677"/>
                <a:gd name="T70" fmla="*/ 150 w 165"/>
                <a:gd name="T7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5" h="677">
                  <a:moveTo>
                    <a:pt x="83" y="560"/>
                  </a:moveTo>
                  <a:lnTo>
                    <a:pt x="81" y="563"/>
                  </a:lnTo>
                  <a:lnTo>
                    <a:pt x="80" y="565"/>
                  </a:lnTo>
                  <a:lnTo>
                    <a:pt x="79" y="569"/>
                  </a:lnTo>
                  <a:lnTo>
                    <a:pt x="77" y="571"/>
                  </a:lnTo>
                  <a:lnTo>
                    <a:pt x="75" y="572"/>
                  </a:lnTo>
                  <a:lnTo>
                    <a:pt x="73" y="574"/>
                  </a:lnTo>
                  <a:lnTo>
                    <a:pt x="70" y="575"/>
                  </a:lnTo>
                  <a:lnTo>
                    <a:pt x="66" y="575"/>
                  </a:lnTo>
                  <a:lnTo>
                    <a:pt x="64" y="575"/>
                  </a:lnTo>
                  <a:lnTo>
                    <a:pt x="61" y="574"/>
                  </a:lnTo>
                  <a:lnTo>
                    <a:pt x="59" y="572"/>
                  </a:lnTo>
                  <a:lnTo>
                    <a:pt x="57" y="571"/>
                  </a:lnTo>
                  <a:lnTo>
                    <a:pt x="55" y="569"/>
                  </a:lnTo>
                  <a:lnTo>
                    <a:pt x="54" y="565"/>
                  </a:lnTo>
                  <a:lnTo>
                    <a:pt x="53" y="563"/>
                  </a:lnTo>
                  <a:lnTo>
                    <a:pt x="51" y="560"/>
                  </a:lnTo>
                  <a:lnTo>
                    <a:pt x="51" y="116"/>
                  </a:lnTo>
                  <a:lnTo>
                    <a:pt x="53" y="114"/>
                  </a:lnTo>
                  <a:lnTo>
                    <a:pt x="54" y="111"/>
                  </a:lnTo>
                  <a:lnTo>
                    <a:pt x="55" y="109"/>
                  </a:lnTo>
                  <a:lnTo>
                    <a:pt x="57" y="106"/>
                  </a:lnTo>
                  <a:lnTo>
                    <a:pt x="59" y="104"/>
                  </a:lnTo>
                  <a:lnTo>
                    <a:pt x="61" y="103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70" y="102"/>
                  </a:lnTo>
                  <a:lnTo>
                    <a:pt x="73" y="103"/>
                  </a:lnTo>
                  <a:lnTo>
                    <a:pt x="75" y="104"/>
                  </a:lnTo>
                  <a:lnTo>
                    <a:pt x="77" y="106"/>
                  </a:lnTo>
                  <a:lnTo>
                    <a:pt x="79" y="109"/>
                  </a:lnTo>
                  <a:lnTo>
                    <a:pt x="80" y="111"/>
                  </a:lnTo>
                  <a:lnTo>
                    <a:pt x="81" y="114"/>
                  </a:lnTo>
                  <a:lnTo>
                    <a:pt x="83" y="117"/>
                  </a:lnTo>
                  <a:lnTo>
                    <a:pt x="83" y="560"/>
                  </a:lnTo>
                  <a:close/>
                  <a:moveTo>
                    <a:pt x="150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662"/>
                  </a:lnTo>
                  <a:lnTo>
                    <a:pt x="0" y="665"/>
                  </a:lnTo>
                  <a:lnTo>
                    <a:pt x="1" y="668"/>
                  </a:lnTo>
                  <a:lnTo>
                    <a:pt x="2" y="671"/>
                  </a:lnTo>
                  <a:lnTo>
                    <a:pt x="4" y="673"/>
                  </a:lnTo>
                  <a:lnTo>
                    <a:pt x="6" y="675"/>
                  </a:lnTo>
                  <a:lnTo>
                    <a:pt x="9" y="676"/>
                  </a:lnTo>
                  <a:lnTo>
                    <a:pt x="12" y="677"/>
                  </a:lnTo>
                  <a:lnTo>
                    <a:pt x="15" y="677"/>
                  </a:lnTo>
                  <a:lnTo>
                    <a:pt x="150" y="677"/>
                  </a:lnTo>
                  <a:lnTo>
                    <a:pt x="153" y="677"/>
                  </a:lnTo>
                  <a:lnTo>
                    <a:pt x="157" y="676"/>
                  </a:lnTo>
                  <a:lnTo>
                    <a:pt x="159" y="675"/>
                  </a:lnTo>
                  <a:lnTo>
                    <a:pt x="161" y="673"/>
                  </a:lnTo>
                  <a:lnTo>
                    <a:pt x="163" y="671"/>
                  </a:lnTo>
                  <a:lnTo>
                    <a:pt x="164" y="668"/>
                  </a:lnTo>
                  <a:lnTo>
                    <a:pt x="165" y="665"/>
                  </a:lnTo>
                  <a:lnTo>
                    <a:pt x="165" y="662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4" y="9"/>
                  </a:lnTo>
                  <a:lnTo>
                    <a:pt x="163" y="7"/>
                  </a:lnTo>
                  <a:lnTo>
                    <a:pt x="161" y="5"/>
                  </a:lnTo>
                  <a:lnTo>
                    <a:pt x="159" y="2"/>
                  </a:lnTo>
                  <a:lnTo>
                    <a:pt x="157" y="1"/>
                  </a:lnTo>
                  <a:lnTo>
                    <a:pt x="153" y="0"/>
                  </a:lnTo>
                  <a:lnTo>
                    <a:pt x="150" y="0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9722EE9-F057-46F0-A258-352EC308790E}"/>
              </a:ext>
            </a:extLst>
          </p:cNvPr>
          <p:cNvGrpSpPr/>
          <p:nvPr/>
        </p:nvGrpSpPr>
        <p:grpSpPr>
          <a:xfrm>
            <a:off x="909002" y="3292178"/>
            <a:ext cx="284163" cy="261938"/>
            <a:chOff x="4313201" y="1920875"/>
            <a:chExt cx="284163" cy="261938"/>
          </a:xfrm>
          <a:solidFill>
            <a:schemeClr val="bg1"/>
          </a:solidFill>
        </p:grpSpPr>
        <p:sp>
          <p:nvSpPr>
            <p:cNvPr id="48" name="Freeform 3131">
              <a:extLst>
                <a:ext uri="{FF2B5EF4-FFF2-40B4-BE49-F238E27FC236}">
                  <a16:creationId xmlns:a16="http://schemas.microsoft.com/office/drawing/2014/main" id="{E8627581-3833-4F16-AA00-DB759F3E7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132">
              <a:extLst>
                <a:ext uri="{FF2B5EF4-FFF2-40B4-BE49-F238E27FC236}">
                  <a16:creationId xmlns:a16="http://schemas.microsoft.com/office/drawing/2014/main" id="{3E3F13CA-4811-45B8-98CB-77C64037B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C65DC1F4-8667-4E10-93AE-5397857FE555}"/>
              </a:ext>
            </a:extLst>
          </p:cNvPr>
          <p:cNvGrpSpPr/>
          <p:nvPr/>
        </p:nvGrpSpPr>
        <p:grpSpPr>
          <a:xfrm>
            <a:off x="908208" y="4297168"/>
            <a:ext cx="285750" cy="287338"/>
            <a:chOff x="9882188" y="3108325"/>
            <a:chExt cx="285750" cy="287338"/>
          </a:xfrm>
          <a:solidFill>
            <a:schemeClr val="bg1"/>
          </a:solidFill>
        </p:grpSpPr>
        <p:sp>
          <p:nvSpPr>
            <p:cNvPr id="64" name="Freeform 2284">
              <a:extLst>
                <a:ext uri="{FF2B5EF4-FFF2-40B4-BE49-F238E27FC236}">
                  <a16:creationId xmlns:a16="http://schemas.microsoft.com/office/drawing/2014/main" id="{EB2B414D-A5A2-4184-9B3A-6AEE15C95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3175000"/>
              <a:ext cx="219075" cy="220663"/>
            </a:xfrm>
            <a:custGeom>
              <a:avLst/>
              <a:gdLst>
                <a:gd name="T0" fmla="*/ 549 w 691"/>
                <a:gd name="T1" fmla="*/ 251 h 693"/>
                <a:gd name="T2" fmla="*/ 568 w 691"/>
                <a:gd name="T3" fmla="*/ 313 h 693"/>
                <a:gd name="T4" fmla="*/ 566 w 691"/>
                <a:gd name="T5" fmla="*/ 392 h 693"/>
                <a:gd name="T6" fmla="*/ 532 w 691"/>
                <a:gd name="T7" fmla="*/ 473 h 693"/>
                <a:gd name="T8" fmla="*/ 471 w 691"/>
                <a:gd name="T9" fmla="*/ 534 h 693"/>
                <a:gd name="T10" fmla="*/ 391 w 691"/>
                <a:gd name="T11" fmla="*/ 567 h 693"/>
                <a:gd name="T12" fmla="*/ 300 w 691"/>
                <a:gd name="T13" fmla="*/ 567 h 693"/>
                <a:gd name="T14" fmla="*/ 220 w 691"/>
                <a:gd name="T15" fmla="*/ 534 h 693"/>
                <a:gd name="T16" fmla="*/ 159 w 691"/>
                <a:gd name="T17" fmla="*/ 473 h 693"/>
                <a:gd name="T18" fmla="*/ 124 w 691"/>
                <a:gd name="T19" fmla="*/ 392 h 693"/>
                <a:gd name="T20" fmla="*/ 124 w 691"/>
                <a:gd name="T21" fmla="*/ 301 h 693"/>
                <a:gd name="T22" fmla="*/ 159 w 691"/>
                <a:gd name="T23" fmla="*/ 220 h 693"/>
                <a:gd name="T24" fmla="*/ 220 w 691"/>
                <a:gd name="T25" fmla="*/ 159 h 693"/>
                <a:gd name="T26" fmla="*/ 300 w 691"/>
                <a:gd name="T27" fmla="*/ 125 h 693"/>
                <a:gd name="T28" fmla="*/ 378 w 691"/>
                <a:gd name="T29" fmla="*/ 124 h 693"/>
                <a:gd name="T30" fmla="*/ 442 w 691"/>
                <a:gd name="T31" fmla="*/ 142 h 693"/>
                <a:gd name="T32" fmla="*/ 533 w 691"/>
                <a:gd name="T33" fmla="*/ 56 h 693"/>
                <a:gd name="T34" fmla="*/ 431 w 691"/>
                <a:gd name="T35" fmla="*/ 11 h 693"/>
                <a:gd name="T36" fmla="*/ 360 w 691"/>
                <a:gd name="T37" fmla="*/ 0 h 693"/>
                <a:gd name="T38" fmla="*/ 293 w 691"/>
                <a:gd name="T39" fmla="*/ 4 h 693"/>
                <a:gd name="T40" fmla="*/ 227 w 691"/>
                <a:gd name="T41" fmla="*/ 21 h 693"/>
                <a:gd name="T42" fmla="*/ 166 w 691"/>
                <a:gd name="T43" fmla="*/ 50 h 693"/>
                <a:gd name="T44" fmla="*/ 112 w 691"/>
                <a:gd name="T45" fmla="*/ 91 h 693"/>
                <a:gd name="T46" fmla="*/ 68 w 691"/>
                <a:gd name="T47" fmla="*/ 139 h 693"/>
                <a:gd name="T48" fmla="*/ 34 w 691"/>
                <a:gd name="T49" fmla="*/ 197 h 693"/>
                <a:gd name="T50" fmla="*/ 9 w 691"/>
                <a:gd name="T51" fmla="*/ 260 h 693"/>
                <a:gd name="T52" fmla="*/ 0 w 691"/>
                <a:gd name="T53" fmla="*/ 329 h 693"/>
                <a:gd name="T54" fmla="*/ 2 w 691"/>
                <a:gd name="T55" fmla="*/ 396 h 693"/>
                <a:gd name="T56" fmla="*/ 18 w 691"/>
                <a:gd name="T57" fmla="*/ 459 h 693"/>
                <a:gd name="T58" fmla="*/ 44 w 691"/>
                <a:gd name="T59" fmla="*/ 517 h 693"/>
                <a:gd name="T60" fmla="*/ 80 w 691"/>
                <a:gd name="T61" fmla="*/ 568 h 693"/>
                <a:gd name="T62" fmla="*/ 0 w 691"/>
                <a:gd name="T63" fmla="*/ 677 h 693"/>
                <a:gd name="T64" fmla="*/ 14 w 691"/>
                <a:gd name="T65" fmla="*/ 693 h 693"/>
                <a:gd name="T66" fmla="*/ 123 w 691"/>
                <a:gd name="T67" fmla="*/ 611 h 693"/>
                <a:gd name="T68" fmla="*/ 174 w 691"/>
                <a:gd name="T69" fmla="*/ 647 h 693"/>
                <a:gd name="T70" fmla="*/ 233 w 691"/>
                <a:gd name="T71" fmla="*/ 673 h 693"/>
                <a:gd name="T72" fmla="*/ 295 w 691"/>
                <a:gd name="T73" fmla="*/ 689 h 693"/>
                <a:gd name="T74" fmla="*/ 362 w 691"/>
                <a:gd name="T75" fmla="*/ 691 h 693"/>
                <a:gd name="T76" fmla="*/ 427 w 691"/>
                <a:gd name="T77" fmla="*/ 683 h 693"/>
                <a:gd name="T78" fmla="*/ 487 w 691"/>
                <a:gd name="T79" fmla="*/ 662 h 693"/>
                <a:gd name="T80" fmla="*/ 542 w 691"/>
                <a:gd name="T81" fmla="*/ 630 h 693"/>
                <a:gd name="T82" fmla="*/ 665 w 691"/>
                <a:gd name="T83" fmla="*/ 688 h 693"/>
                <a:gd name="T84" fmla="*/ 686 w 691"/>
                <a:gd name="T85" fmla="*/ 688 h 693"/>
                <a:gd name="T86" fmla="*/ 686 w 691"/>
                <a:gd name="T87" fmla="*/ 667 h 693"/>
                <a:gd name="T88" fmla="*/ 630 w 691"/>
                <a:gd name="T89" fmla="*/ 544 h 693"/>
                <a:gd name="T90" fmla="*/ 661 w 691"/>
                <a:gd name="T91" fmla="*/ 489 h 693"/>
                <a:gd name="T92" fmla="*/ 681 w 691"/>
                <a:gd name="T93" fmla="*/ 428 h 693"/>
                <a:gd name="T94" fmla="*/ 691 w 691"/>
                <a:gd name="T95" fmla="*/ 363 h 693"/>
                <a:gd name="T96" fmla="*/ 689 w 691"/>
                <a:gd name="T97" fmla="*/ 303 h 693"/>
                <a:gd name="T98" fmla="*/ 662 w 691"/>
                <a:gd name="T99" fmla="*/ 207 h 693"/>
                <a:gd name="T100" fmla="*/ 619 w 691"/>
                <a:gd name="T101" fmla="*/ 136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91" h="693">
                  <a:moveTo>
                    <a:pt x="619" y="136"/>
                  </a:moveTo>
                  <a:lnTo>
                    <a:pt x="533" y="222"/>
                  </a:lnTo>
                  <a:lnTo>
                    <a:pt x="542" y="236"/>
                  </a:lnTo>
                  <a:lnTo>
                    <a:pt x="549" y="251"/>
                  </a:lnTo>
                  <a:lnTo>
                    <a:pt x="555" y="265"/>
                  </a:lnTo>
                  <a:lnTo>
                    <a:pt x="560" y="280"/>
                  </a:lnTo>
                  <a:lnTo>
                    <a:pt x="565" y="296"/>
                  </a:lnTo>
                  <a:lnTo>
                    <a:pt x="568" y="313"/>
                  </a:lnTo>
                  <a:lnTo>
                    <a:pt x="570" y="329"/>
                  </a:lnTo>
                  <a:lnTo>
                    <a:pt x="571" y="346"/>
                  </a:lnTo>
                  <a:lnTo>
                    <a:pt x="570" y="369"/>
                  </a:lnTo>
                  <a:lnTo>
                    <a:pt x="566" y="392"/>
                  </a:lnTo>
                  <a:lnTo>
                    <a:pt x="560" y="413"/>
                  </a:lnTo>
                  <a:lnTo>
                    <a:pt x="553" y="434"/>
                  </a:lnTo>
                  <a:lnTo>
                    <a:pt x="543" y="453"/>
                  </a:lnTo>
                  <a:lnTo>
                    <a:pt x="532" y="473"/>
                  </a:lnTo>
                  <a:lnTo>
                    <a:pt x="519" y="490"/>
                  </a:lnTo>
                  <a:lnTo>
                    <a:pt x="504" y="506"/>
                  </a:lnTo>
                  <a:lnTo>
                    <a:pt x="488" y="520"/>
                  </a:lnTo>
                  <a:lnTo>
                    <a:pt x="471" y="534"/>
                  </a:lnTo>
                  <a:lnTo>
                    <a:pt x="453" y="545"/>
                  </a:lnTo>
                  <a:lnTo>
                    <a:pt x="433" y="555"/>
                  </a:lnTo>
                  <a:lnTo>
                    <a:pt x="413" y="562"/>
                  </a:lnTo>
                  <a:lnTo>
                    <a:pt x="391" y="567"/>
                  </a:lnTo>
                  <a:lnTo>
                    <a:pt x="369" y="571"/>
                  </a:lnTo>
                  <a:lnTo>
                    <a:pt x="345" y="572"/>
                  </a:lnTo>
                  <a:lnTo>
                    <a:pt x="322" y="571"/>
                  </a:lnTo>
                  <a:lnTo>
                    <a:pt x="300" y="567"/>
                  </a:lnTo>
                  <a:lnTo>
                    <a:pt x="278" y="562"/>
                  </a:lnTo>
                  <a:lnTo>
                    <a:pt x="257" y="555"/>
                  </a:lnTo>
                  <a:lnTo>
                    <a:pt x="238" y="545"/>
                  </a:lnTo>
                  <a:lnTo>
                    <a:pt x="220" y="534"/>
                  </a:lnTo>
                  <a:lnTo>
                    <a:pt x="201" y="520"/>
                  </a:lnTo>
                  <a:lnTo>
                    <a:pt x="185" y="506"/>
                  </a:lnTo>
                  <a:lnTo>
                    <a:pt x="171" y="490"/>
                  </a:lnTo>
                  <a:lnTo>
                    <a:pt x="159" y="473"/>
                  </a:lnTo>
                  <a:lnTo>
                    <a:pt x="146" y="453"/>
                  </a:lnTo>
                  <a:lnTo>
                    <a:pt x="138" y="434"/>
                  </a:lnTo>
                  <a:lnTo>
                    <a:pt x="129" y="413"/>
                  </a:lnTo>
                  <a:lnTo>
                    <a:pt x="124" y="392"/>
                  </a:lnTo>
                  <a:lnTo>
                    <a:pt x="121" y="369"/>
                  </a:lnTo>
                  <a:lnTo>
                    <a:pt x="119" y="346"/>
                  </a:lnTo>
                  <a:lnTo>
                    <a:pt x="121" y="324"/>
                  </a:lnTo>
                  <a:lnTo>
                    <a:pt x="124" y="301"/>
                  </a:lnTo>
                  <a:lnTo>
                    <a:pt x="129" y="280"/>
                  </a:lnTo>
                  <a:lnTo>
                    <a:pt x="138" y="259"/>
                  </a:lnTo>
                  <a:lnTo>
                    <a:pt x="146" y="238"/>
                  </a:lnTo>
                  <a:lnTo>
                    <a:pt x="159" y="220"/>
                  </a:lnTo>
                  <a:lnTo>
                    <a:pt x="171" y="203"/>
                  </a:lnTo>
                  <a:lnTo>
                    <a:pt x="185" y="187"/>
                  </a:lnTo>
                  <a:lnTo>
                    <a:pt x="201" y="172"/>
                  </a:lnTo>
                  <a:lnTo>
                    <a:pt x="220" y="159"/>
                  </a:lnTo>
                  <a:lnTo>
                    <a:pt x="238" y="148"/>
                  </a:lnTo>
                  <a:lnTo>
                    <a:pt x="257" y="138"/>
                  </a:lnTo>
                  <a:lnTo>
                    <a:pt x="278" y="131"/>
                  </a:lnTo>
                  <a:lnTo>
                    <a:pt x="300" y="125"/>
                  </a:lnTo>
                  <a:lnTo>
                    <a:pt x="322" y="122"/>
                  </a:lnTo>
                  <a:lnTo>
                    <a:pt x="345" y="121"/>
                  </a:lnTo>
                  <a:lnTo>
                    <a:pt x="362" y="121"/>
                  </a:lnTo>
                  <a:lnTo>
                    <a:pt x="378" y="124"/>
                  </a:lnTo>
                  <a:lnTo>
                    <a:pt x="395" y="126"/>
                  </a:lnTo>
                  <a:lnTo>
                    <a:pt x="411" y="131"/>
                  </a:lnTo>
                  <a:lnTo>
                    <a:pt x="426" y="136"/>
                  </a:lnTo>
                  <a:lnTo>
                    <a:pt x="442" y="142"/>
                  </a:lnTo>
                  <a:lnTo>
                    <a:pt x="455" y="149"/>
                  </a:lnTo>
                  <a:lnTo>
                    <a:pt x="470" y="158"/>
                  </a:lnTo>
                  <a:lnTo>
                    <a:pt x="555" y="72"/>
                  </a:lnTo>
                  <a:lnTo>
                    <a:pt x="533" y="56"/>
                  </a:lnTo>
                  <a:lnTo>
                    <a:pt x="509" y="42"/>
                  </a:lnTo>
                  <a:lnTo>
                    <a:pt x="485" y="30"/>
                  </a:lnTo>
                  <a:lnTo>
                    <a:pt x="458" y="20"/>
                  </a:lnTo>
                  <a:lnTo>
                    <a:pt x="431" y="11"/>
                  </a:lnTo>
                  <a:lnTo>
                    <a:pt x="403" y="5"/>
                  </a:lnTo>
                  <a:lnTo>
                    <a:pt x="389" y="3"/>
                  </a:lnTo>
                  <a:lnTo>
                    <a:pt x="375" y="1"/>
                  </a:lnTo>
                  <a:lnTo>
                    <a:pt x="360" y="0"/>
                  </a:lnTo>
                  <a:lnTo>
                    <a:pt x="345" y="0"/>
                  </a:lnTo>
                  <a:lnTo>
                    <a:pt x="327" y="1"/>
                  </a:lnTo>
                  <a:lnTo>
                    <a:pt x="310" y="3"/>
                  </a:lnTo>
                  <a:lnTo>
                    <a:pt x="293" y="4"/>
                  </a:lnTo>
                  <a:lnTo>
                    <a:pt x="276" y="8"/>
                  </a:lnTo>
                  <a:lnTo>
                    <a:pt x="259" y="11"/>
                  </a:lnTo>
                  <a:lnTo>
                    <a:pt x="243" y="16"/>
                  </a:lnTo>
                  <a:lnTo>
                    <a:pt x="227" y="21"/>
                  </a:lnTo>
                  <a:lnTo>
                    <a:pt x="211" y="27"/>
                  </a:lnTo>
                  <a:lnTo>
                    <a:pt x="195" y="34"/>
                  </a:lnTo>
                  <a:lnTo>
                    <a:pt x="180" y="42"/>
                  </a:lnTo>
                  <a:lnTo>
                    <a:pt x="166" y="50"/>
                  </a:lnTo>
                  <a:lnTo>
                    <a:pt x="152" y="60"/>
                  </a:lnTo>
                  <a:lnTo>
                    <a:pt x="138" y="69"/>
                  </a:lnTo>
                  <a:lnTo>
                    <a:pt x="126" y="80"/>
                  </a:lnTo>
                  <a:lnTo>
                    <a:pt x="112" y="91"/>
                  </a:lnTo>
                  <a:lnTo>
                    <a:pt x="101" y="102"/>
                  </a:lnTo>
                  <a:lnTo>
                    <a:pt x="89" y="114"/>
                  </a:lnTo>
                  <a:lnTo>
                    <a:pt x="78" y="126"/>
                  </a:lnTo>
                  <a:lnTo>
                    <a:pt x="68" y="139"/>
                  </a:lnTo>
                  <a:lnTo>
                    <a:pt x="58" y="153"/>
                  </a:lnTo>
                  <a:lnTo>
                    <a:pt x="50" y="168"/>
                  </a:lnTo>
                  <a:lnTo>
                    <a:pt x="41" y="182"/>
                  </a:lnTo>
                  <a:lnTo>
                    <a:pt x="34" y="197"/>
                  </a:lnTo>
                  <a:lnTo>
                    <a:pt x="27" y="212"/>
                  </a:lnTo>
                  <a:lnTo>
                    <a:pt x="20" y="227"/>
                  </a:lnTo>
                  <a:lnTo>
                    <a:pt x="14" y="243"/>
                  </a:lnTo>
                  <a:lnTo>
                    <a:pt x="9" y="260"/>
                  </a:lnTo>
                  <a:lnTo>
                    <a:pt x="6" y="276"/>
                  </a:lnTo>
                  <a:lnTo>
                    <a:pt x="3" y="293"/>
                  </a:lnTo>
                  <a:lnTo>
                    <a:pt x="1" y="310"/>
                  </a:lnTo>
                  <a:lnTo>
                    <a:pt x="0" y="329"/>
                  </a:lnTo>
                  <a:lnTo>
                    <a:pt x="0" y="346"/>
                  </a:lnTo>
                  <a:lnTo>
                    <a:pt x="0" y="363"/>
                  </a:lnTo>
                  <a:lnTo>
                    <a:pt x="1" y="380"/>
                  </a:lnTo>
                  <a:lnTo>
                    <a:pt x="2" y="396"/>
                  </a:lnTo>
                  <a:lnTo>
                    <a:pt x="6" y="412"/>
                  </a:lnTo>
                  <a:lnTo>
                    <a:pt x="9" y="428"/>
                  </a:lnTo>
                  <a:lnTo>
                    <a:pt x="13" y="444"/>
                  </a:lnTo>
                  <a:lnTo>
                    <a:pt x="18" y="459"/>
                  </a:lnTo>
                  <a:lnTo>
                    <a:pt x="23" y="474"/>
                  </a:lnTo>
                  <a:lnTo>
                    <a:pt x="30" y="489"/>
                  </a:lnTo>
                  <a:lnTo>
                    <a:pt x="36" y="502"/>
                  </a:lnTo>
                  <a:lnTo>
                    <a:pt x="44" y="517"/>
                  </a:lnTo>
                  <a:lnTo>
                    <a:pt x="52" y="530"/>
                  </a:lnTo>
                  <a:lnTo>
                    <a:pt x="61" y="544"/>
                  </a:lnTo>
                  <a:lnTo>
                    <a:pt x="71" y="556"/>
                  </a:lnTo>
                  <a:lnTo>
                    <a:pt x="80" y="568"/>
                  </a:lnTo>
                  <a:lnTo>
                    <a:pt x="90" y="580"/>
                  </a:lnTo>
                  <a:lnTo>
                    <a:pt x="3" y="667"/>
                  </a:lnTo>
                  <a:lnTo>
                    <a:pt x="0" y="672"/>
                  </a:lnTo>
                  <a:lnTo>
                    <a:pt x="0" y="677"/>
                  </a:lnTo>
                  <a:lnTo>
                    <a:pt x="0" y="683"/>
                  </a:lnTo>
                  <a:lnTo>
                    <a:pt x="3" y="688"/>
                  </a:lnTo>
                  <a:lnTo>
                    <a:pt x="8" y="691"/>
                  </a:lnTo>
                  <a:lnTo>
                    <a:pt x="14" y="693"/>
                  </a:lnTo>
                  <a:lnTo>
                    <a:pt x="20" y="691"/>
                  </a:lnTo>
                  <a:lnTo>
                    <a:pt x="25" y="688"/>
                  </a:lnTo>
                  <a:lnTo>
                    <a:pt x="112" y="601"/>
                  </a:lnTo>
                  <a:lnTo>
                    <a:pt x="123" y="611"/>
                  </a:lnTo>
                  <a:lnTo>
                    <a:pt x="135" y="622"/>
                  </a:lnTo>
                  <a:lnTo>
                    <a:pt x="149" y="630"/>
                  </a:lnTo>
                  <a:lnTo>
                    <a:pt x="161" y="639"/>
                  </a:lnTo>
                  <a:lnTo>
                    <a:pt x="174" y="647"/>
                  </a:lnTo>
                  <a:lnTo>
                    <a:pt x="189" y="655"/>
                  </a:lnTo>
                  <a:lnTo>
                    <a:pt x="202" y="662"/>
                  </a:lnTo>
                  <a:lnTo>
                    <a:pt x="217" y="668"/>
                  </a:lnTo>
                  <a:lnTo>
                    <a:pt x="233" y="673"/>
                  </a:lnTo>
                  <a:lnTo>
                    <a:pt x="248" y="678"/>
                  </a:lnTo>
                  <a:lnTo>
                    <a:pt x="264" y="683"/>
                  </a:lnTo>
                  <a:lnTo>
                    <a:pt x="279" y="687"/>
                  </a:lnTo>
                  <a:lnTo>
                    <a:pt x="295" y="689"/>
                  </a:lnTo>
                  <a:lnTo>
                    <a:pt x="311" y="690"/>
                  </a:lnTo>
                  <a:lnTo>
                    <a:pt x="328" y="691"/>
                  </a:lnTo>
                  <a:lnTo>
                    <a:pt x="345" y="693"/>
                  </a:lnTo>
                  <a:lnTo>
                    <a:pt x="362" y="691"/>
                  </a:lnTo>
                  <a:lnTo>
                    <a:pt x="378" y="690"/>
                  </a:lnTo>
                  <a:lnTo>
                    <a:pt x="394" y="689"/>
                  </a:lnTo>
                  <a:lnTo>
                    <a:pt x="411" y="687"/>
                  </a:lnTo>
                  <a:lnTo>
                    <a:pt x="427" y="683"/>
                  </a:lnTo>
                  <a:lnTo>
                    <a:pt x="442" y="678"/>
                  </a:lnTo>
                  <a:lnTo>
                    <a:pt x="458" y="673"/>
                  </a:lnTo>
                  <a:lnTo>
                    <a:pt x="472" y="668"/>
                  </a:lnTo>
                  <a:lnTo>
                    <a:pt x="487" y="662"/>
                  </a:lnTo>
                  <a:lnTo>
                    <a:pt x="502" y="655"/>
                  </a:lnTo>
                  <a:lnTo>
                    <a:pt x="515" y="647"/>
                  </a:lnTo>
                  <a:lnTo>
                    <a:pt x="529" y="639"/>
                  </a:lnTo>
                  <a:lnTo>
                    <a:pt x="542" y="630"/>
                  </a:lnTo>
                  <a:lnTo>
                    <a:pt x="554" y="622"/>
                  </a:lnTo>
                  <a:lnTo>
                    <a:pt x="566" y="612"/>
                  </a:lnTo>
                  <a:lnTo>
                    <a:pt x="579" y="601"/>
                  </a:lnTo>
                  <a:lnTo>
                    <a:pt x="665" y="688"/>
                  </a:lnTo>
                  <a:lnTo>
                    <a:pt x="670" y="691"/>
                  </a:lnTo>
                  <a:lnTo>
                    <a:pt x="676" y="693"/>
                  </a:lnTo>
                  <a:lnTo>
                    <a:pt x="681" y="691"/>
                  </a:lnTo>
                  <a:lnTo>
                    <a:pt x="686" y="688"/>
                  </a:lnTo>
                  <a:lnTo>
                    <a:pt x="690" y="683"/>
                  </a:lnTo>
                  <a:lnTo>
                    <a:pt x="691" y="677"/>
                  </a:lnTo>
                  <a:lnTo>
                    <a:pt x="690" y="672"/>
                  </a:lnTo>
                  <a:lnTo>
                    <a:pt x="686" y="667"/>
                  </a:lnTo>
                  <a:lnTo>
                    <a:pt x="601" y="580"/>
                  </a:lnTo>
                  <a:lnTo>
                    <a:pt x="610" y="568"/>
                  </a:lnTo>
                  <a:lnTo>
                    <a:pt x="620" y="556"/>
                  </a:lnTo>
                  <a:lnTo>
                    <a:pt x="630" y="544"/>
                  </a:lnTo>
                  <a:lnTo>
                    <a:pt x="639" y="530"/>
                  </a:lnTo>
                  <a:lnTo>
                    <a:pt x="646" y="517"/>
                  </a:lnTo>
                  <a:lnTo>
                    <a:pt x="653" y="502"/>
                  </a:lnTo>
                  <a:lnTo>
                    <a:pt x="661" y="489"/>
                  </a:lnTo>
                  <a:lnTo>
                    <a:pt x="667" y="474"/>
                  </a:lnTo>
                  <a:lnTo>
                    <a:pt x="673" y="459"/>
                  </a:lnTo>
                  <a:lnTo>
                    <a:pt x="678" y="444"/>
                  </a:lnTo>
                  <a:lnTo>
                    <a:pt x="681" y="428"/>
                  </a:lnTo>
                  <a:lnTo>
                    <a:pt x="685" y="412"/>
                  </a:lnTo>
                  <a:lnTo>
                    <a:pt x="687" y="396"/>
                  </a:lnTo>
                  <a:lnTo>
                    <a:pt x="690" y="380"/>
                  </a:lnTo>
                  <a:lnTo>
                    <a:pt x="691" y="363"/>
                  </a:lnTo>
                  <a:lnTo>
                    <a:pt x="691" y="346"/>
                  </a:lnTo>
                  <a:lnTo>
                    <a:pt x="691" y="331"/>
                  </a:lnTo>
                  <a:lnTo>
                    <a:pt x="690" y="317"/>
                  </a:lnTo>
                  <a:lnTo>
                    <a:pt x="689" y="303"/>
                  </a:lnTo>
                  <a:lnTo>
                    <a:pt x="686" y="288"/>
                  </a:lnTo>
                  <a:lnTo>
                    <a:pt x="680" y="260"/>
                  </a:lnTo>
                  <a:lnTo>
                    <a:pt x="672" y="233"/>
                  </a:lnTo>
                  <a:lnTo>
                    <a:pt x="662" y="207"/>
                  </a:lnTo>
                  <a:lnTo>
                    <a:pt x="650" y="182"/>
                  </a:lnTo>
                  <a:lnTo>
                    <a:pt x="635" y="158"/>
                  </a:lnTo>
                  <a:lnTo>
                    <a:pt x="619" y="136"/>
                  </a:lnTo>
                  <a:lnTo>
                    <a:pt x="619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285">
              <a:extLst>
                <a:ext uri="{FF2B5EF4-FFF2-40B4-BE49-F238E27FC236}">
                  <a16:creationId xmlns:a16="http://schemas.microsoft.com/office/drawing/2014/main" id="{8A6B4C3B-2E95-40F2-98CA-992B8F8B2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9813" y="3222625"/>
              <a:ext cx="123825" cy="125413"/>
            </a:xfrm>
            <a:custGeom>
              <a:avLst/>
              <a:gdLst>
                <a:gd name="T0" fmla="*/ 286 w 391"/>
                <a:gd name="T1" fmla="*/ 24 h 392"/>
                <a:gd name="T2" fmla="*/ 263 w 391"/>
                <a:gd name="T3" fmla="*/ 13 h 392"/>
                <a:gd name="T4" fmla="*/ 236 w 391"/>
                <a:gd name="T5" fmla="*/ 5 h 392"/>
                <a:gd name="T6" fmla="*/ 209 w 391"/>
                <a:gd name="T7" fmla="*/ 2 h 392"/>
                <a:gd name="T8" fmla="*/ 175 w 391"/>
                <a:gd name="T9" fmla="*/ 2 h 392"/>
                <a:gd name="T10" fmla="*/ 137 w 391"/>
                <a:gd name="T11" fmla="*/ 10 h 392"/>
                <a:gd name="T12" fmla="*/ 103 w 391"/>
                <a:gd name="T13" fmla="*/ 25 h 392"/>
                <a:gd name="T14" fmla="*/ 71 w 391"/>
                <a:gd name="T15" fmla="*/ 46 h 392"/>
                <a:gd name="T16" fmla="*/ 44 w 391"/>
                <a:gd name="T17" fmla="*/ 72 h 392"/>
                <a:gd name="T18" fmla="*/ 23 w 391"/>
                <a:gd name="T19" fmla="*/ 103 h 392"/>
                <a:gd name="T20" fmla="*/ 9 w 391"/>
                <a:gd name="T21" fmla="*/ 138 h 392"/>
                <a:gd name="T22" fmla="*/ 1 w 391"/>
                <a:gd name="T23" fmla="*/ 176 h 392"/>
                <a:gd name="T24" fmla="*/ 1 w 391"/>
                <a:gd name="T25" fmla="*/ 217 h 392"/>
                <a:gd name="T26" fmla="*/ 9 w 391"/>
                <a:gd name="T27" fmla="*/ 254 h 392"/>
                <a:gd name="T28" fmla="*/ 23 w 391"/>
                <a:gd name="T29" fmla="*/ 290 h 392"/>
                <a:gd name="T30" fmla="*/ 44 w 391"/>
                <a:gd name="T31" fmla="*/ 320 h 392"/>
                <a:gd name="T32" fmla="*/ 71 w 391"/>
                <a:gd name="T33" fmla="*/ 347 h 392"/>
                <a:gd name="T34" fmla="*/ 103 w 391"/>
                <a:gd name="T35" fmla="*/ 368 h 392"/>
                <a:gd name="T36" fmla="*/ 137 w 391"/>
                <a:gd name="T37" fmla="*/ 383 h 392"/>
                <a:gd name="T38" fmla="*/ 175 w 391"/>
                <a:gd name="T39" fmla="*/ 391 h 392"/>
                <a:gd name="T40" fmla="*/ 215 w 391"/>
                <a:gd name="T41" fmla="*/ 391 h 392"/>
                <a:gd name="T42" fmla="*/ 253 w 391"/>
                <a:gd name="T43" fmla="*/ 383 h 392"/>
                <a:gd name="T44" fmla="*/ 288 w 391"/>
                <a:gd name="T45" fmla="*/ 368 h 392"/>
                <a:gd name="T46" fmla="*/ 320 w 391"/>
                <a:gd name="T47" fmla="*/ 347 h 392"/>
                <a:gd name="T48" fmla="*/ 346 w 391"/>
                <a:gd name="T49" fmla="*/ 320 h 392"/>
                <a:gd name="T50" fmla="*/ 368 w 391"/>
                <a:gd name="T51" fmla="*/ 290 h 392"/>
                <a:gd name="T52" fmla="*/ 382 w 391"/>
                <a:gd name="T53" fmla="*/ 254 h 392"/>
                <a:gd name="T54" fmla="*/ 390 w 391"/>
                <a:gd name="T55" fmla="*/ 217 h 392"/>
                <a:gd name="T56" fmla="*/ 390 w 391"/>
                <a:gd name="T57" fmla="*/ 182 h 392"/>
                <a:gd name="T58" fmla="*/ 386 w 391"/>
                <a:gd name="T59" fmla="*/ 156 h 392"/>
                <a:gd name="T60" fmla="*/ 379 w 391"/>
                <a:gd name="T61" fmla="*/ 130 h 392"/>
                <a:gd name="T62" fmla="*/ 368 w 391"/>
                <a:gd name="T63" fmla="*/ 105 h 392"/>
                <a:gd name="T64" fmla="*/ 294 w 391"/>
                <a:gd name="T65" fmla="*/ 160 h 392"/>
                <a:gd name="T66" fmla="*/ 299 w 391"/>
                <a:gd name="T67" fmla="*/ 179 h 392"/>
                <a:gd name="T68" fmla="*/ 300 w 391"/>
                <a:gd name="T69" fmla="*/ 196 h 392"/>
                <a:gd name="T70" fmla="*/ 298 w 391"/>
                <a:gd name="T71" fmla="*/ 218 h 392"/>
                <a:gd name="T72" fmla="*/ 292 w 391"/>
                <a:gd name="T73" fmla="*/ 237 h 392"/>
                <a:gd name="T74" fmla="*/ 282 w 391"/>
                <a:gd name="T75" fmla="*/ 256 h 392"/>
                <a:gd name="T76" fmla="*/ 270 w 391"/>
                <a:gd name="T77" fmla="*/ 270 h 392"/>
                <a:gd name="T78" fmla="*/ 254 w 391"/>
                <a:gd name="T79" fmla="*/ 284 h 392"/>
                <a:gd name="T80" fmla="*/ 236 w 391"/>
                <a:gd name="T81" fmla="*/ 294 h 392"/>
                <a:gd name="T82" fmla="*/ 216 w 391"/>
                <a:gd name="T83" fmla="*/ 300 h 392"/>
                <a:gd name="T84" fmla="*/ 195 w 391"/>
                <a:gd name="T85" fmla="*/ 302 h 392"/>
                <a:gd name="T86" fmla="*/ 173 w 391"/>
                <a:gd name="T87" fmla="*/ 300 h 392"/>
                <a:gd name="T88" fmla="*/ 154 w 391"/>
                <a:gd name="T89" fmla="*/ 294 h 392"/>
                <a:gd name="T90" fmla="*/ 137 w 391"/>
                <a:gd name="T91" fmla="*/ 284 h 392"/>
                <a:gd name="T92" fmla="*/ 121 w 391"/>
                <a:gd name="T93" fmla="*/ 270 h 392"/>
                <a:gd name="T94" fmla="*/ 107 w 391"/>
                <a:gd name="T95" fmla="*/ 256 h 392"/>
                <a:gd name="T96" fmla="*/ 98 w 391"/>
                <a:gd name="T97" fmla="*/ 237 h 392"/>
                <a:gd name="T98" fmla="*/ 92 w 391"/>
                <a:gd name="T99" fmla="*/ 218 h 392"/>
                <a:gd name="T100" fmla="*/ 90 w 391"/>
                <a:gd name="T101" fmla="*/ 196 h 392"/>
                <a:gd name="T102" fmla="*/ 92 w 391"/>
                <a:gd name="T103" fmla="*/ 175 h 392"/>
                <a:gd name="T104" fmla="*/ 98 w 391"/>
                <a:gd name="T105" fmla="*/ 156 h 392"/>
                <a:gd name="T106" fmla="*/ 107 w 391"/>
                <a:gd name="T107" fmla="*/ 137 h 392"/>
                <a:gd name="T108" fmla="*/ 121 w 391"/>
                <a:gd name="T109" fmla="*/ 121 h 392"/>
                <a:gd name="T110" fmla="*/ 137 w 391"/>
                <a:gd name="T111" fmla="*/ 109 h 392"/>
                <a:gd name="T112" fmla="*/ 154 w 391"/>
                <a:gd name="T113" fmla="*/ 99 h 392"/>
                <a:gd name="T114" fmla="*/ 173 w 391"/>
                <a:gd name="T115" fmla="*/ 93 h 392"/>
                <a:gd name="T116" fmla="*/ 195 w 391"/>
                <a:gd name="T117" fmla="*/ 91 h 392"/>
                <a:gd name="T118" fmla="*/ 214 w 391"/>
                <a:gd name="T119" fmla="*/ 93 h 392"/>
                <a:gd name="T120" fmla="*/ 231 w 391"/>
                <a:gd name="T121" fmla="*/ 97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1" h="392">
                  <a:moveTo>
                    <a:pt x="298" y="30"/>
                  </a:moveTo>
                  <a:lnTo>
                    <a:pt x="286" y="24"/>
                  </a:lnTo>
                  <a:lnTo>
                    <a:pt x="275" y="18"/>
                  </a:lnTo>
                  <a:lnTo>
                    <a:pt x="263" y="13"/>
                  </a:lnTo>
                  <a:lnTo>
                    <a:pt x="249" y="9"/>
                  </a:lnTo>
                  <a:lnTo>
                    <a:pt x="236" y="5"/>
                  </a:lnTo>
                  <a:lnTo>
                    <a:pt x="222" y="3"/>
                  </a:lnTo>
                  <a:lnTo>
                    <a:pt x="209" y="2"/>
                  </a:lnTo>
                  <a:lnTo>
                    <a:pt x="195" y="0"/>
                  </a:lnTo>
                  <a:lnTo>
                    <a:pt x="175" y="2"/>
                  </a:lnTo>
                  <a:lnTo>
                    <a:pt x="156" y="5"/>
                  </a:lnTo>
                  <a:lnTo>
                    <a:pt x="137" y="10"/>
                  </a:lnTo>
                  <a:lnTo>
                    <a:pt x="120" y="16"/>
                  </a:lnTo>
                  <a:lnTo>
                    <a:pt x="103" y="25"/>
                  </a:lnTo>
                  <a:lnTo>
                    <a:pt x="85" y="35"/>
                  </a:lnTo>
                  <a:lnTo>
                    <a:pt x="71" y="46"/>
                  </a:lnTo>
                  <a:lnTo>
                    <a:pt x="57" y="58"/>
                  </a:lnTo>
                  <a:lnTo>
                    <a:pt x="44" y="72"/>
                  </a:lnTo>
                  <a:lnTo>
                    <a:pt x="33" y="87"/>
                  </a:lnTo>
                  <a:lnTo>
                    <a:pt x="23" y="103"/>
                  </a:lnTo>
                  <a:lnTo>
                    <a:pt x="15" y="120"/>
                  </a:lnTo>
                  <a:lnTo>
                    <a:pt x="9" y="138"/>
                  </a:lnTo>
                  <a:lnTo>
                    <a:pt x="4" y="157"/>
                  </a:lnTo>
                  <a:lnTo>
                    <a:pt x="1" y="176"/>
                  </a:lnTo>
                  <a:lnTo>
                    <a:pt x="0" y="196"/>
                  </a:lnTo>
                  <a:lnTo>
                    <a:pt x="1" y="217"/>
                  </a:lnTo>
                  <a:lnTo>
                    <a:pt x="4" y="236"/>
                  </a:lnTo>
                  <a:lnTo>
                    <a:pt x="9" y="254"/>
                  </a:lnTo>
                  <a:lnTo>
                    <a:pt x="15" y="273"/>
                  </a:lnTo>
                  <a:lnTo>
                    <a:pt x="23" y="290"/>
                  </a:lnTo>
                  <a:lnTo>
                    <a:pt x="33" y="306"/>
                  </a:lnTo>
                  <a:lnTo>
                    <a:pt x="44" y="320"/>
                  </a:lnTo>
                  <a:lnTo>
                    <a:pt x="57" y="335"/>
                  </a:lnTo>
                  <a:lnTo>
                    <a:pt x="71" y="347"/>
                  </a:lnTo>
                  <a:lnTo>
                    <a:pt x="85" y="358"/>
                  </a:lnTo>
                  <a:lnTo>
                    <a:pt x="103" y="368"/>
                  </a:lnTo>
                  <a:lnTo>
                    <a:pt x="120" y="377"/>
                  </a:lnTo>
                  <a:lnTo>
                    <a:pt x="137" y="383"/>
                  </a:lnTo>
                  <a:lnTo>
                    <a:pt x="156" y="388"/>
                  </a:lnTo>
                  <a:lnTo>
                    <a:pt x="175" y="391"/>
                  </a:lnTo>
                  <a:lnTo>
                    <a:pt x="195" y="392"/>
                  </a:lnTo>
                  <a:lnTo>
                    <a:pt x="215" y="391"/>
                  </a:lnTo>
                  <a:lnTo>
                    <a:pt x="234" y="388"/>
                  </a:lnTo>
                  <a:lnTo>
                    <a:pt x="253" y="383"/>
                  </a:lnTo>
                  <a:lnTo>
                    <a:pt x="271" y="377"/>
                  </a:lnTo>
                  <a:lnTo>
                    <a:pt x="288" y="368"/>
                  </a:lnTo>
                  <a:lnTo>
                    <a:pt x="304" y="358"/>
                  </a:lnTo>
                  <a:lnTo>
                    <a:pt x="320" y="347"/>
                  </a:lnTo>
                  <a:lnTo>
                    <a:pt x="333" y="335"/>
                  </a:lnTo>
                  <a:lnTo>
                    <a:pt x="346" y="320"/>
                  </a:lnTo>
                  <a:lnTo>
                    <a:pt x="358" y="306"/>
                  </a:lnTo>
                  <a:lnTo>
                    <a:pt x="368" y="290"/>
                  </a:lnTo>
                  <a:lnTo>
                    <a:pt x="375" y="273"/>
                  </a:lnTo>
                  <a:lnTo>
                    <a:pt x="382" y="254"/>
                  </a:lnTo>
                  <a:lnTo>
                    <a:pt x="387" y="236"/>
                  </a:lnTo>
                  <a:lnTo>
                    <a:pt x="390" y="217"/>
                  </a:lnTo>
                  <a:lnTo>
                    <a:pt x="391" y="196"/>
                  </a:lnTo>
                  <a:lnTo>
                    <a:pt x="390" y="182"/>
                  </a:lnTo>
                  <a:lnTo>
                    <a:pt x="388" y="169"/>
                  </a:lnTo>
                  <a:lnTo>
                    <a:pt x="386" y="156"/>
                  </a:lnTo>
                  <a:lnTo>
                    <a:pt x="383" y="142"/>
                  </a:lnTo>
                  <a:lnTo>
                    <a:pt x="379" y="130"/>
                  </a:lnTo>
                  <a:lnTo>
                    <a:pt x="374" y="118"/>
                  </a:lnTo>
                  <a:lnTo>
                    <a:pt x="368" y="105"/>
                  </a:lnTo>
                  <a:lnTo>
                    <a:pt x="361" y="94"/>
                  </a:lnTo>
                  <a:lnTo>
                    <a:pt x="294" y="160"/>
                  </a:lnTo>
                  <a:lnTo>
                    <a:pt x="297" y="169"/>
                  </a:lnTo>
                  <a:lnTo>
                    <a:pt x="299" y="179"/>
                  </a:lnTo>
                  <a:lnTo>
                    <a:pt x="300" y="187"/>
                  </a:lnTo>
                  <a:lnTo>
                    <a:pt x="300" y="196"/>
                  </a:lnTo>
                  <a:lnTo>
                    <a:pt x="300" y="207"/>
                  </a:lnTo>
                  <a:lnTo>
                    <a:pt x="298" y="218"/>
                  </a:lnTo>
                  <a:lnTo>
                    <a:pt x="296" y="228"/>
                  </a:lnTo>
                  <a:lnTo>
                    <a:pt x="292" y="237"/>
                  </a:lnTo>
                  <a:lnTo>
                    <a:pt x="288" y="246"/>
                  </a:lnTo>
                  <a:lnTo>
                    <a:pt x="282" y="256"/>
                  </a:lnTo>
                  <a:lnTo>
                    <a:pt x="276" y="263"/>
                  </a:lnTo>
                  <a:lnTo>
                    <a:pt x="270" y="270"/>
                  </a:lnTo>
                  <a:lnTo>
                    <a:pt x="263" y="278"/>
                  </a:lnTo>
                  <a:lnTo>
                    <a:pt x="254" y="284"/>
                  </a:lnTo>
                  <a:lnTo>
                    <a:pt x="245" y="289"/>
                  </a:lnTo>
                  <a:lnTo>
                    <a:pt x="236" y="294"/>
                  </a:lnTo>
                  <a:lnTo>
                    <a:pt x="226" y="297"/>
                  </a:lnTo>
                  <a:lnTo>
                    <a:pt x="216" y="300"/>
                  </a:lnTo>
                  <a:lnTo>
                    <a:pt x="206" y="301"/>
                  </a:lnTo>
                  <a:lnTo>
                    <a:pt x="195" y="302"/>
                  </a:lnTo>
                  <a:lnTo>
                    <a:pt x="184" y="301"/>
                  </a:lnTo>
                  <a:lnTo>
                    <a:pt x="173" y="300"/>
                  </a:lnTo>
                  <a:lnTo>
                    <a:pt x="164" y="297"/>
                  </a:lnTo>
                  <a:lnTo>
                    <a:pt x="154" y="294"/>
                  </a:lnTo>
                  <a:lnTo>
                    <a:pt x="145" y="289"/>
                  </a:lnTo>
                  <a:lnTo>
                    <a:pt x="137" y="284"/>
                  </a:lnTo>
                  <a:lnTo>
                    <a:pt x="128" y="278"/>
                  </a:lnTo>
                  <a:lnTo>
                    <a:pt x="121" y="270"/>
                  </a:lnTo>
                  <a:lnTo>
                    <a:pt x="114" y="263"/>
                  </a:lnTo>
                  <a:lnTo>
                    <a:pt x="107" y="256"/>
                  </a:lnTo>
                  <a:lnTo>
                    <a:pt x="103" y="246"/>
                  </a:lnTo>
                  <a:lnTo>
                    <a:pt x="98" y="237"/>
                  </a:lnTo>
                  <a:lnTo>
                    <a:pt x="94" y="228"/>
                  </a:lnTo>
                  <a:lnTo>
                    <a:pt x="92" y="218"/>
                  </a:lnTo>
                  <a:lnTo>
                    <a:pt x="90" y="207"/>
                  </a:lnTo>
                  <a:lnTo>
                    <a:pt x="90" y="196"/>
                  </a:lnTo>
                  <a:lnTo>
                    <a:pt x="90" y="186"/>
                  </a:lnTo>
                  <a:lnTo>
                    <a:pt x="92" y="175"/>
                  </a:lnTo>
                  <a:lnTo>
                    <a:pt x="94" y="165"/>
                  </a:lnTo>
                  <a:lnTo>
                    <a:pt x="98" y="156"/>
                  </a:lnTo>
                  <a:lnTo>
                    <a:pt x="103" y="146"/>
                  </a:lnTo>
                  <a:lnTo>
                    <a:pt x="107" y="137"/>
                  </a:lnTo>
                  <a:lnTo>
                    <a:pt x="114" y="130"/>
                  </a:lnTo>
                  <a:lnTo>
                    <a:pt x="121" y="121"/>
                  </a:lnTo>
                  <a:lnTo>
                    <a:pt x="128" y="115"/>
                  </a:lnTo>
                  <a:lnTo>
                    <a:pt x="137" y="109"/>
                  </a:lnTo>
                  <a:lnTo>
                    <a:pt x="145" y="104"/>
                  </a:lnTo>
                  <a:lnTo>
                    <a:pt x="154" y="99"/>
                  </a:lnTo>
                  <a:lnTo>
                    <a:pt x="164" y="96"/>
                  </a:lnTo>
                  <a:lnTo>
                    <a:pt x="173" y="93"/>
                  </a:lnTo>
                  <a:lnTo>
                    <a:pt x="184" y="92"/>
                  </a:lnTo>
                  <a:lnTo>
                    <a:pt x="195" y="91"/>
                  </a:lnTo>
                  <a:lnTo>
                    <a:pt x="204" y="92"/>
                  </a:lnTo>
                  <a:lnTo>
                    <a:pt x="214" y="93"/>
                  </a:lnTo>
                  <a:lnTo>
                    <a:pt x="222" y="94"/>
                  </a:lnTo>
                  <a:lnTo>
                    <a:pt x="231" y="97"/>
                  </a:lnTo>
                  <a:lnTo>
                    <a:pt x="29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286">
              <a:extLst>
                <a:ext uri="{FF2B5EF4-FFF2-40B4-BE49-F238E27FC236}">
                  <a16:creationId xmlns:a16="http://schemas.microsoft.com/office/drawing/2014/main" id="{B8506B9F-1874-4907-9E2A-58D92E979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7913" y="3260725"/>
              <a:ext cx="47625" cy="49213"/>
            </a:xfrm>
            <a:custGeom>
              <a:avLst/>
              <a:gdLst>
                <a:gd name="T0" fmla="*/ 80 w 150"/>
                <a:gd name="T1" fmla="*/ 0 h 151"/>
                <a:gd name="T2" fmla="*/ 68 w 150"/>
                <a:gd name="T3" fmla="*/ 0 h 151"/>
                <a:gd name="T4" fmla="*/ 52 w 150"/>
                <a:gd name="T5" fmla="*/ 4 h 151"/>
                <a:gd name="T6" fmla="*/ 39 w 150"/>
                <a:gd name="T7" fmla="*/ 9 h 151"/>
                <a:gd name="T8" fmla="*/ 28 w 150"/>
                <a:gd name="T9" fmla="*/ 17 h 151"/>
                <a:gd name="T10" fmla="*/ 17 w 150"/>
                <a:gd name="T11" fmla="*/ 27 h 151"/>
                <a:gd name="T12" fmla="*/ 9 w 150"/>
                <a:gd name="T13" fmla="*/ 39 h 151"/>
                <a:gd name="T14" fmla="*/ 3 w 150"/>
                <a:gd name="T15" fmla="*/ 53 h 151"/>
                <a:gd name="T16" fmla="*/ 1 w 150"/>
                <a:gd name="T17" fmla="*/ 68 h 151"/>
                <a:gd name="T18" fmla="*/ 1 w 150"/>
                <a:gd name="T19" fmla="*/ 83 h 151"/>
                <a:gd name="T20" fmla="*/ 3 w 150"/>
                <a:gd name="T21" fmla="*/ 98 h 151"/>
                <a:gd name="T22" fmla="*/ 9 w 150"/>
                <a:gd name="T23" fmla="*/ 111 h 151"/>
                <a:gd name="T24" fmla="*/ 17 w 150"/>
                <a:gd name="T25" fmla="*/ 124 h 151"/>
                <a:gd name="T26" fmla="*/ 28 w 150"/>
                <a:gd name="T27" fmla="*/ 133 h 151"/>
                <a:gd name="T28" fmla="*/ 39 w 150"/>
                <a:gd name="T29" fmla="*/ 142 h 151"/>
                <a:gd name="T30" fmla="*/ 52 w 150"/>
                <a:gd name="T31" fmla="*/ 147 h 151"/>
                <a:gd name="T32" fmla="*/ 68 w 150"/>
                <a:gd name="T33" fmla="*/ 151 h 151"/>
                <a:gd name="T34" fmla="*/ 83 w 150"/>
                <a:gd name="T35" fmla="*/ 151 h 151"/>
                <a:gd name="T36" fmla="*/ 97 w 150"/>
                <a:gd name="T37" fmla="*/ 147 h 151"/>
                <a:gd name="T38" fmla="*/ 111 w 150"/>
                <a:gd name="T39" fmla="*/ 142 h 151"/>
                <a:gd name="T40" fmla="*/ 123 w 150"/>
                <a:gd name="T41" fmla="*/ 133 h 151"/>
                <a:gd name="T42" fmla="*/ 133 w 150"/>
                <a:gd name="T43" fmla="*/ 124 h 151"/>
                <a:gd name="T44" fmla="*/ 141 w 150"/>
                <a:gd name="T45" fmla="*/ 111 h 151"/>
                <a:gd name="T46" fmla="*/ 147 w 150"/>
                <a:gd name="T47" fmla="*/ 98 h 151"/>
                <a:gd name="T48" fmla="*/ 150 w 150"/>
                <a:gd name="T49" fmla="*/ 83 h 151"/>
                <a:gd name="T50" fmla="*/ 150 w 150"/>
                <a:gd name="T51" fmla="*/ 70 h 151"/>
                <a:gd name="T52" fmla="*/ 107 w 150"/>
                <a:gd name="T53" fmla="*/ 108 h 151"/>
                <a:gd name="T54" fmla="*/ 92 w 150"/>
                <a:gd name="T55" fmla="*/ 118 h 151"/>
                <a:gd name="T56" fmla="*/ 75 w 150"/>
                <a:gd name="T57" fmla="*/ 120 h 151"/>
                <a:gd name="T58" fmla="*/ 58 w 150"/>
                <a:gd name="T59" fmla="*/ 118 h 151"/>
                <a:gd name="T60" fmla="*/ 44 w 150"/>
                <a:gd name="T61" fmla="*/ 108 h 151"/>
                <a:gd name="T62" fmla="*/ 34 w 150"/>
                <a:gd name="T63" fmla="*/ 93 h 151"/>
                <a:gd name="T64" fmla="*/ 30 w 150"/>
                <a:gd name="T65" fmla="*/ 75 h 151"/>
                <a:gd name="T66" fmla="*/ 34 w 150"/>
                <a:gd name="T67" fmla="*/ 58 h 151"/>
                <a:gd name="T68" fmla="*/ 44 w 150"/>
                <a:gd name="T69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151">
                  <a:moveTo>
                    <a:pt x="85" y="2"/>
                  </a:moveTo>
                  <a:lnTo>
                    <a:pt x="80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60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39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1" y="91"/>
                  </a:lnTo>
                  <a:lnTo>
                    <a:pt x="3" y="98"/>
                  </a:lnTo>
                  <a:lnTo>
                    <a:pt x="6" y="104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7" y="124"/>
                  </a:lnTo>
                  <a:lnTo>
                    <a:pt x="22" y="129"/>
                  </a:lnTo>
                  <a:lnTo>
                    <a:pt x="28" y="133"/>
                  </a:lnTo>
                  <a:lnTo>
                    <a:pt x="33" y="137"/>
                  </a:lnTo>
                  <a:lnTo>
                    <a:pt x="39" y="142"/>
                  </a:lnTo>
                  <a:lnTo>
                    <a:pt x="46" y="144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8" y="151"/>
                  </a:lnTo>
                  <a:lnTo>
                    <a:pt x="75" y="151"/>
                  </a:lnTo>
                  <a:lnTo>
                    <a:pt x="83" y="151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5" y="144"/>
                  </a:lnTo>
                  <a:lnTo>
                    <a:pt x="111" y="142"/>
                  </a:lnTo>
                  <a:lnTo>
                    <a:pt x="117" y="137"/>
                  </a:lnTo>
                  <a:lnTo>
                    <a:pt x="123" y="133"/>
                  </a:lnTo>
                  <a:lnTo>
                    <a:pt x="128" y="129"/>
                  </a:lnTo>
                  <a:lnTo>
                    <a:pt x="133" y="124"/>
                  </a:lnTo>
                  <a:lnTo>
                    <a:pt x="138" y="118"/>
                  </a:lnTo>
                  <a:lnTo>
                    <a:pt x="141" y="111"/>
                  </a:lnTo>
                  <a:lnTo>
                    <a:pt x="145" y="104"/>
                  </a:lnTo>
                  <a:lnTo>
                    <a:pt x="147" y="98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70"/>
                  </a:lnTo>
                  <a:lnTo>
                    <a:pt x="150" y="65"/>
                  </a:lnTo>
                  <a:lnTo>
                    <a:pt x="107" y="108"/>
                  </a:lnTo>
                  <a:lnTo>
                    <a:pt x="100" y="113"/>
                  </a:lnTo>
                  <a:lnTo>
                    <a:pt x="92" y="118"/>
                  </a:lnTo>
                  <a:lnTo>
                    <a:pt x="84" y="120"/>
                  </a:lnTo>
                  <a:lnTo>
                    <a:pt x="75" y="120"/>
                  </a:lnTo>
                  <a:lnTo>
                    <a:pt x="67" y="120"/>
                  </a:lnTo>
                  <a:lnTo>
                    <a:pt x="58" y="118"/>
                  </a:lnTo>
                  <a:lnTo>
                    <a:pt x="50" y="113"/>
                  </a:lnTo>
                  <a:lnTo>
                    <a:pt x="44" y="108"/>
                  </a:lnTo>
                  <a:lnTo>
                    <a:pt x="38" y="100"/>
                  </a:lnTo>
                  <a:lnTo>
                    <a:pt x="34" y="93"/>
                  </a:lnTo>
                  <a:lnTo>
                    <a:pt x="31" y="85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38" y="50"/>
                  </a:lnTo>
                  <a:lnTo>
                    <a:pt x="44" y="43"/>
                  </a:lnTo>
                  <a:lnTo>
                    <a:pt x="8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287">
              <a:extLst>
                <a:ext uri="{FF2B5EF4-FFF2-40B4-BE49-F238E27FC236}">
                  <a16:creationId xmlns:a16="http://schemas.microsoft.com/office/drawing/2014/main" id="{9D78D95A-A95D-4C13-B99E-4C9B9EB1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6963" y="3108325"/>
              <a:ext cx="180975" cy="182563"/>
            </a:xfrm>
            <a:custGeom>
              <a:avLst/>
              <a:gdLst>
                <a:gd name="T0" fmla="*/ 566 w 571"/>
                <a:gd name="T1" fmla="*/ 94 h 572"/>
                <a:gd name="T2" fmla="*/ 560 w 571"/>
                <a:gd name="T3" fmla="*/ 91 h 572"/>
                <a:gd name="T4" fmla="*/ 509 w 571"/>
                <a:gd name="T5" fmla="*/ 91 h 572"/>
                <a:gd name="T6" fmla="*/ 482 w 571"/>
                <a:gd name="T7" fmla="*/ 62 h 572"/>
                <a:gd name="T8" fmla="*/ 481 w 571"/>
                <a:gd name="T9" fmla="*/ 11 h 572"/>
                <a:gd name="T10" fmla="*/ 478 w 571"/>
                <a:gd name="T11" fmla="*/ 5 h 572"/>
                <a:gd name="T12" fmla="*/ 472 w 571"/>
                <a:gd name="T13" fmla="*/ 1 h 572"/>
                <a:gd name="T14" fmla="*/ 465 w 571"/>
                <a:gd name="T15" fmla="*/ 0 h 572"/>
                <a:gd name="T16" fmla="*/ 455 w 571"/>
                <a:gd name="T17" fmla="*/ 3 h 572"/>
                <a:gd name="T18" fmla="*/ 417 w 571"/>
                <a:gd name="T19" fmla="*/ 17 h 572"/>
                <a:gd name="T20" fmla="*/ 392 w 571"/>
                <a:gd name="T21" fmla="*/ 29 h 572"/>
                <a:gd name="T22" fmla="*/ 390 w 571"/>
                <a:gd name="T23" fmla="*/ 171 h 572"/>
                <a:gd name="T24" fmla="*/ 382 w 571"/>
                <a:gd name="T25" fmla="*/ 180 h 572"/>
                <a:gd name="T26" fmla="*/ 371 w 571"/>
                <a:gd name="T27" fmla="*/ 180 h 572"/>
                <a:gd name="T28" fmla="*/ 362 w 571"/>
                <a:gd name="T29" fmla="*/ 171 h 572"/>
                <a:gd name="T30" fmla="*/ 361 w 571"/>
                <a:gd name="T31" fmla="*/ 45 h 572"/>
                <a:gd name="T32" fmla="*/ 324 w 571"/>
                <a:gd name="T33" fmla="*/ 70 h 572"/>
                <a:gd name="T34" fmla="*/ 290 w 571"/>
                <a:gd name="T35" fmla="*/ 97 h 572"/>
                <a:gd name="T36" fmla="*/ 263 w 571"/>
                <a:gd name="T37" fmla="*/ 130 h 572"/>
                <a:gd name="T38" fmla="*/ 254 w 571"/>
                <a:gd name="T39" fmla="*/ 147 h 572"/>
                <a:gd name="T40" fmla="*/ 247 w 571"/>
                <a:gd name="T41" fmla="*/ 165 h 572"/>
                <a:gd name="T42" fmla="*/ 245 w 571"/>
                <a:gd name="T43" fmla="*/ 186 h 572"/>
                <a:gd name="T44" fmla="*/ 246 w 571"/>
                <a:gd name="T45" fmla="*/ 205 h 572"/>
                <a:gd name="T46" fmla="*/ 252 w 571"/>
                <a:gd name="T47" fmla="*/ 226 h 572"/>
                <a:gd name="T48" fmla="*/ 262 w 571"/>
                <a:gd name="T49" fmla="*/ 246 h 572"/>
                <a:gd name="T50" fmla="*/ 280 w 571"/>
                <a:gd name="T51" fmla="*/ 270 h 572"/>
                <a:gd name="T52" fmla="*/ 249 w 571"/>
                <a:gd name="T53" fmla="*/ 302 h 572"/>
                <a:gd name="T54" fmla="*/ 142 w 571"/>
                <a:gd name="T55" fmla="*/ 408 h 572"/>
                <a:gd name="T56" fmla="*/ 57 w 571"/>
                <a:gd name="T57" fmla="*/ 494 h 572"/>
                <a:gd name="T58" fmla="*/ 4 w 571"/>
                <a:gd name="T59" fmla="*/ 546 h 572"/>
                <a:gd name="T60" fmla="*/ 1 w 571"/>
                <a:gd name="T61" fmla="*/ 551 h 572"/>
                <a:gd name="T62" fmla="*/ 0 w 571"/>
                <a:gd name="T63" fmla="*/ 556 h 572"/>
                <a:gd name="T64" fmla="*/ 1 w 571"/>
                <a:gd name="T65" fmla="*/ 562 h 572"/>
                <a:gd name="T66" fmla="*/ 4 w 571"/>
                <a:gd name="T67" fmla="*/ 567 h 572"/>
                <a:gd name="T68" fmla="*/ 4 w 571"/>
                <a:gd name="T69" fmla="*/ 567 h 572"/>
                <a:gd name="T70" fmla="*/ 15 w 571"/>
                <a:gd name="T71" fmla="*/ 572 h 572"/>
                <a:gd name="T72" fmla="*/ 25 w 571"/>
                <a:gd name="T73" fmla="*/ 567 h 572"/>
                <a:gd name="T74" fmla="*/ 26 w 571"/>
                <a:gd name="T75" fmla="*/ 567 h 572"/>
                <a:gd name="T76" fmla="*/ 78 w 571"/>
                <a:gd name="T77" fmla="*/ 514 h 572"/>
                <a:gd name="T78" fmla="*/ 163 w 571"/>
                <a:gd name="T79" fmla="*/ 429 h 572"/>
                <a:gd name="T80" fmla="*/ 271 w 571"/>
                <a:gd name="T81" fmla="*/ 323 h 572"/>
                <a:gd name="T82" fmla="*/ 313 w 571"/>
                <a:gd name="T83" fmla="*/ 302 h 572"/>
                <a:gd name="T84" fmla="*/ 340 w 571"/>
                <a:gd name="T85" fmla="*/ 316 h 572"/>
                <a:gd name="T86" fmla="*/ 368 w 571"/>
                <a:gd name="T87" fmla="*/ 325 h 572"/>
                <a:gd name="T88" fmla="*/ 394 w 571"/>
                <a:gd name="T89" fmla="*/ 326 h 572"/>
                <a:gd name="T90" fmla="*/ 415 w 571"/>
                <a:gd name="T91" fmla="*/ 321 h 572"/>
                <a:gd name="T92" fmla="*/ 434 w 571"/>
                <a:gd name="T93" fmla="*/ 313 h 572"/>
                <a:gd name="T94" fmla="*/ 451 w 571"/>
                <a:gd name="T95" fmla="*/ 301 h 572"/>
                <a:gd name="T96" fmla="*/ 477 w 571"/>
                <a:gd name="T97" fmla="*/ 279 h 572"/>
                <a:gd name="T98" fmla="*/ 506 w 571"/>
                <a:gd name="T99" fmla="*/ 241 h 572"/>
                <a:gd name="T100" fmla="*/ 531 w 571"/>
                <a:gd name="T101" fmla="*/ 202 h 572"/>
                <a:gd name="T102" fmla="*/ 549 w 571"/>
                <a:gd name="T103" fmla="*/ 164 h 572"/>
                <a:gd name="T104" fmla="*/ 566 w 571"/>
                <a:gd name="T105" fmla="*/ 121 h 572"/>
                <a:gd name="T106" fmla="*/ 571 w 571"/>
                <a:gd name="T107" fmla="*/ 106 h 572"/>
                <a:gd name="T108" fmla="*/ 571 w 571"/>
                <a:gd name="T109" fmla="*/ 99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71" h="572">
                  <a:moveTo>
                    <a:pt x="569" y="97"/>
                  </a:moveTo>
                  <a:lnTo>
                    <a:pt x="566" y="94"/>
                  </a:lnTo>
                  <a:lnTo>
                    <a:pt x="564" y="92"/>
                  </a:lnTo>
                  <a:lnTo>
                    <a:pt x="560" y="91"/>
                  </a:lnTo>
                  <a:lnTo>
                    <a:pt x="556" y="91"/>
                  </a:lnTo>
                  <a:lnTo>
                    <a:pt x="509" y="91"/>
                  </a:lnTo>
                  <a:lnTo>
                    <a:pt x="482" y="91"/>
                  </a:lnTo>
                  <a:lnTo>
                    <a:pt x="482" y="62"/>
                  </a:lnTo>
                  <a:lnTo>
                    <a:pt x="482" y="15"/>
                  </a:lnTo>
                  <a:lnTo>
                    <a:pt x="481" y="11"/>
                  </a:lnTo>
                  <a:lnTo>
                    <a:pt x="480" y="8"/>
                  </a:lnTo>
                  <a:lnTo>
                    <a:pt x="478" y="5"/>
                  </a:lnTo>
                  <a:lnTo>
                    <a:pt x="476" y="3"/>
                  </a:lnTo>
                  <a:lnTo>
                    <a:pt x="472" y="1"/>
                  </a:lnTo>
                  <a:lnTo>
                    <a:pt x="469" y="0"/>
                  </a:lnTo>
                  <a:lnTo>
                    <a:pt x="465" y="0"/>
                  </a:lnTo>
                  <a:lnTo>
                    <a:pt x="461" y="0"/>
                  </a:lnTo>
                  <a:lnTo>
                    <a:pt x="455" y="3"/>
                  </a:lnTo>
                  <a:lnTo>
                    <a:pt x="439" y="9"/>
                  </a:lnTo>
                  <a:lnTo>
                    <a:pt x="417" y="17"/>
                  </a:lnTo>
                  <a:lnTo>
                    <a:pt x="392" y="29"/>
                  </a:lnTo>
                  <a:lnTo>
                    <a:pt x="392" y="29"/>
                  </a:lnTo>
                  <a:lnTo>
                    <a:pt x="392" y="165"/>
                  </a:lnTo>
                  <a:lnTo>
                    <a:pt x="390" y="171"/>
                  </a:lnTo>
                  <a:lnTo>
                    <a:pt x="387" y="176"/>
                  </a:lnTo>
                  <a:lnTo>
                    <a:pt x="382" y="180"/>
                  </a:lnTo>
                  <a:lnTo>
                    <a:pt x="376" y="181"/>
                  </a:lnTo>
                  <a:lnTo>
                    <a:pt x="371" y="180"/>
                  </a:lnTo>
                  <a:lnTo>
                    <a:pt x="366" y="176"/>
                  </a:lnTo>
                  <a:lnTo>
                    <a:pt x="362" y="171"/>
                  </a:lnTo>
                  <a:lnTo>
                    <a:pt x="361" y="165"/>
                  </a:lnTo>
                  <a:lnTo>
                    <a:pt x="361" y="45"/>
                  </a:lnTo>
                  <a:lnTo>
                    <a:pt x="343" y="56"/>
                  </a:lnTo>
                  <a:lnTo>
                    <a:pt x="324" y="70"/>
                  </a:lnTo>
                  <a:lnTo>
                    <a:pt x="306" y="83"/>
                  </a:lnTo>
                  <a:lnTo>
                    <a:pt x="290" y="97"/>
                  </a:lnTo>
                  <a:lnTo>
                    <a:pt x="276" y="113"/>
                  </a:lnTo>
                  <a:lnTo>
                    <a:pt x="263" y="130"/>
                  </a:lnTo>
                  <a:lnTo>
                    <a:pt x="258" y="138"/>
                  </a:lnTo>
                  <a:lnTo>
                    <a:pt x="254" y="147"/>
                  </a:lnTo>
                  <a:lnTo>
                    <a:pt x="250" y="156"/>
                  </a:lnTo>
                  <a:lnTo>
                    <a:pt x="247" y="165"/>
                  </a:lnTo>
                  <a:lnTo>
                    <a:pt x="246" y="176"/>
                  </a:lnTo>
                  <a:lnTo>
                    <a:pt x="245" y="186"/>
                  </a:lnTo>
                  <a:lnTo>
                    <a:pt x="245" y="196"/>
                  </a:lnTo>
                  <a:lnTo>
                    <a:pt x="246" y="205"/>
                  </a:lnTo>
                  <a:lnTo>
                    <a:pt x="249" y="216"/>
                  </a:lnTo>
                  <a:lnTo>
                    <a:pt x="252" y="226"/>
                  </a:lnTo>
                  <a:lnTo>
                    <a:pt x="257" y="236"/>
                  </a:lnTo>
                  <a:lnTo>
                    <a:pt x="262" y="246"/>
                  </a:lnTo>
                  <a:lnTo>
                    <a:pt x="271" y="258"/>
                  </a:lnTo>
                  <a:lnTo>
                    <a:pt x="280" y="270"/>
                  </a:lnTo>
                  <a:lnTo>
                    <a:pt x="280" y="270"/>
                  </a:lnTo>
                  <a:lnTo>
                    <a:pt x="249" y="302"/>
                  </a:lnTo>
                  <a:lnTo>
                    <a:pt x="163" y="386"/>
                  </a:lnTo>
                  <a:lnTo>
                    <a:pt x="142" y="408"/>
                  </a:lnTo>
                  <a:lnTo>
                    <a:pt x="78" y="472"/>
                  </a:lnTo>
                  <a:lnTo>
                    <a:pt x="57" y="494"/>
                  </a:lnTo>
                  <a:lnTo>
                    <a:pt x="23" y="528"/>
                  </a:lnTo>
                  <a:lnTo>
                    <a:pt x="4" y="546"/>
                  </a:lnTo>
                  <a:lnTo>
                    <a:pt x="2" y="549"/>
                  </a:lnTo>
                  <a:lnTo>
                    <a:pt x="1" y="551"/>
                  </a:lnTo>
                  <a:lnTo>
                    <a:pt x="1" y="553"/>
                  </a:lnTo>
                  <a:lnTo>
                    <a:pt x="0" y="556"/>
                  </a:lnTo>
                  <a:lnTo>
                    <a:pt x="1" y="560"/>
                  </a:lnTo>
                  <a:lnTo>
                    <a:pt x="1" y="562"/>
                  </a:lnTo>
                  <a:lnTo>
                    <a:pt x="2" y="564"/>
                  </a:lnTo>
                  <a:lnTo>
                    <a:pt x="4" y="567"/>
                  </a:lnTo>
                  <a:lnTo>
                    <a:pt x="4" y="567"/>
                  </a:lnTo>
                  <a:lnTo>
                    <a:pt x="4" y="567"/>
                  </a:lnTo>
                  <a:lnTo>
                    <a:pt x="9" y="571"/>
                  </a:lnTo>
                  <a:lnTo>
                    <a:pt x="15" y="572"/>
                  </a:lnTo>
                  <a:lnTo>
                    <a:pt x="20" y="571"/>
                  </a:lnTo>
                  <a:lnTo>
                    <a:pt x="25" y="567"/>
                  </a:lnTo>
                  <a:lnTo>
                    <a:pt x="25" y="567"/>
                  </a:lnTo>
                  <a:lnTo>
                    <a:pt x="26" y="567"/>
                  </a:lnTo>
                  <a:lnTo>
                    <a:pt x="43" y="549"/>
                  </a:lnTo>
                  <a:lnTo>
                    <a:pt x="78" y="514"/>
                  </a:lnTo>
                  <a:lnTo>
                    <a:pt x="100" y="494"/>
                  </a:lnTo>
                  <a:lnTo>
                    <a:pt x="163" y="429"/>
                  </a:lnTo>
                  <a:lnTo>
                    <a:pt x="185" y="408"/>
                  </a:lnTo>
                  <a:lnTo>
                    <a:pt x="271" y="323"/>
                  </a:lnTo>
                  <a:lnTo>
                    <a:pt x="301" y="291"/>
                  </a:lnTo>
                  <a:lnTo>
                    <a:pt x="313" y="302"/>
                  </a:lnTo>
                  <a:lnTo>
                    <a:pt x="326" y="309"/>
                  </a:lnTo>
                  <a:lnTo>
                    <a:pt x="340" y="316"/>
                  </a:lnTo>
                  <a:lnTo>
                    <a:pt x="354" y="323"/>
                  </a:lnTo>
                  <a:lnTo>
                    <a:pt x="368" y="325"/>
                  </a:lnTo>
                  <a:lnTo>
                    <a:pt x="383" y="326"/>
                  </a:lnTo>
                  <a:lnTo>
                    <a:pt x="394" y="326"/>
                  </a:lnTo>
                  <a:lnTo>
                    <a:pt x="404" y="324"/>
                  </a:lnTo>
                  <a:lnTo>
                    <a:pt x="415" y="321"/>
                  </a:lnTo>
                  <a:lnTo>
                    <a:pt x="425" y="318"/>
                  </a:lnTo>
                  <a:lnTo>
                    <a:pt x="434" y="313"/>
                  </a:lnTo>
                  <a:lnTo>
                    <a:pt x="443" y="308"/>
                  </a:lnTo>
                  <a:lnTo>
                    <a:pt x="451" y="301"/>
                  </a:lnTo>
                  <a:lnTo>
                    <a:pt x="461" y="294"/>
                  </a:lnTo>
                  <a:lnTo>
                    <a:pt x="477" y="279"/>
                  </a:lnTo>
                  <a:lnTo>
                    <a:pt x="493" y="260"/>
                  </a:lnTo>
                  <a:lnTo>
                    <a:pt x="506" y="241"/>
                  </a:lnTo>
                  <a:lnTo>
                    <a:pt x="519" y="221"/>
                  </a:lnTo>
                  <a:lnTo>
                    <a:pt x="531" y="202"/>
                  </a:lnTo>
                  <a:lnTo>
                    <a:pt x="541" y="182"/>
                  </a:lnTo>
                  <a:lnTo>
                    <a:pt x="549" y="164"/>
                  </a:lnTo>
                  <a:lnTo>
                    <a:pt x="556" y="148"/>
                  </a:lnTo>
                  <a:lnTo>
                    <a:pt x="566" y="121"/>
                  </a:lnTo>
                  <a:lnTo>
                    <a:pt x="571" y="110"/>
                  </a:lnTo>
                  <a:lnTo>
                    <a:pt x="571" y="106"/>
                  </a:lnTo>
                  <a:lnTo>
                    <a:pt x="571" y="103"/>
                  </a:lnTo>
                  <a:lnTo>
                    <a:pt x="571" y="99"/>
                  </a:lnTo>
                  <a:lnTo>
                    <a:pt x="569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4190F541-0C14-4C8A-B734-A1C9C6F83B7D}"/>
              </a:ext>
            </a:extLst>
          </p:cNvPr>
          <p:cNvGrpSpPr/>
          <p:nvPr/>
        </p:nvGrpSpPr>
        <p:grpSpPr>
          <a:xfrm>
            <a:off x="907414" y="5279240"/>
            <a:ext cx="287338" cy="285750"/>
            <a:chOff x="2606675" y="790575"/>
            <a:chExt cx="287338" cy="285750"/>
          </a:xfrm>
          <a:solidFill>
            <a:schemeClr val="bg1"/>
          </a:solidFill>
        </p:grpSpPr>
        <p:sp>
          <p:nvSpPr>
            <p:cNvPr id="69" name="Freeform 2708">
              <a:extLst>
                <a:ext uri="{FF2B5EF4-FFF2-40B4-BE49-F238E27FC236}">
                  <a16:creationId xmlns:a16="http://schemas.microsoft.com/office/drawing/2014/main" id="{41D7F4AA-D2C4-4FD0-A880-D70069428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6675" y="790575"/>
              <a:ext cx="209550" cy="247650"/>
            </a:xfrm>
            <a:custGeom>
              <a:avLst/>
              <a:gdLst>
                <a:gd name="T0" fmla="*/ 169 w 529"/>
                <a:gd name="T1" fmla="*/ 98 h 624"/>
                <a:gd name="T2" fmla="*/ 173 w 529"/>
                <a:gd name="T3" fmla="*/ 92 h 624"/>
                <a:gd name="T4" fmla="*/ 180 w 529"/>
                <a:gd name="T5" fmla="*/ 89 h 624"/>
                <a:gd name="T6" fmla="*/ 186 w 529"/>
                <a:gd name="T7" fmla="*/ 91 h 624"/>
                <a:gd name="T8" fmla="*/ 230 w 529"/>
                <a:gd name="T9" fmla="*/ 134 h 624"/>
                <a:gd name="T10" fmla="*/ 242 w 529"/>
                <a:gd name="T11" fmla="*/ 142 h 624"/>
                <a:gd name="T12" fmla="*/ 258 w 529"/>
                <a:gd name="T13" fmla="*/ 150 h 624"/>
                <a:gd name="T14" fmla="*/ 281 w 529"/>
                <a:gd name="T15" fmla="*/ 158 h 624"/>
                <a:gd name="T16" fmla="*/ 308 w 529"/>
                <a:gd name="T17" fmla="*/ 165 h 624"/>
                <a:gd name="T18" fmla="*/ 375 w 529"/>
                <a:gd name="T19" fmla="*/ 176 h 624"/>
                <a:gd name="T20" fmla="*/ 414 w 529"/>
                <a:gd name="T21" fmla="*/ 179 h 624"/>
                <a:gd name="T22" fmla="*/ 457 w 529"/>
                <a:gd name="T23" fmla="*/ 180 h 624"/>
                <a:gd name="T24" fmla="*/ 494 w 529"/>
                <a:gd name="T25" fmla="*/ 179 h 624"/>
                <a:gd name="T26" fmla="*/ 529 w 529"/>
                <a:gd name="T27" fmla="*/ 177 h 624"/>
                <a:gd name="T28" fmla="*/ 529 w 529"/>
                <a:gd name="T29" fmla="*/ 8 h 624"/>
                <a:gd name="T30" fmla="*/ 525 w 529"/>
                <a:gd name="T31" fmla="*/ 2 h 624"/>
                <a:gd name="T32" fmla="*/ 517 w 529"/>
                <a:gd name="T33" fmla="*/ 0 h 624"/>
                <a:gd name="T34" fmla="*/ 510 w 529"/>
                <a:gd name="T35" fmla="*/ 2 h 624"/>
                <a:gd name="T36" fmla="*/ 502 w 529"/>
                <a:gd name="T37" fmla="*/ 10 h 624"/>
                <a:gd name="T38" fmla="*/ 486 w 529"/>
                <a:gd name="T39" fmla="*/ 21 h 624"/>
                <a:gd name="T40" fmla="*/ 465 w 529"/>
                <a:gd name="T41" fmla="*/ 30 h 624"/>
                <a:gd name="T42" fmla="*/ 437 w 529"/>
                <a:gd name="T43" fmla="*/ 38 h 624"/>
                <a:gd name="T44" fmla="*/ 406 w 529"/>
                <a:gd name="T45" fmla="*/ 45 h 624"/>
                <a:gd name="T46" fmla="*/ 371 w 529"/>
                <a:gd name="T47" fmla="*/ 51 h 624"/>
                <a:gd name="T48" fmla="*/ 312 w 529"/>
                <a:gd name="T49" fmla="*/ 56 h 624"/>
                <a:gd name="T50" fmla="*/ 227 w 529"/>
                <a:gd name="T51" fmla="*/ 56 h 624"/>
                <a:gd name="T52" fmla="*/ 167 w 529"/>
                <a:gd name="T53" fmla="*/ 51 h 624"/>
                <a:gd name="T54" fmla="*/ 130 w 529"/>
                <a:gd name="T55" fmla="*/ 45 h 624"/>
                <a:gd name="T56" fmla="*/ 98 w 529"/>
                <a:gd name="T57" fmla="*/ 38 h 624"/>
                <a:gd name="T58" fmla="*/ 69 w 529"/>
                <a:gd name="T59" fmla="*/ 30 h 624"/>
                <a:gd name="T60" fmla="*/ 46 w 529"/>
                <a:gd name="T61" fmla="*/ 20 h 624"/>
                <a:gd name="T62" fmla="*/ 28 w 529"/>
                <a:gd name="T63" fmla="*/ 9 h 624"/>
                <a:gd name="T64" fmla="*/ 19 w 529"/>
                <a:gd name="T65" fmla="*/ 1 h 624"/>
                <a:gd name="T66" fmla="*/ 11 w 529"/>
                <a:gd name="T67" fmla="*/ 0 h 624"/>
                <a:gd name="T68" fmla="*/ 5 w 529"/>
                <a:gd name="T69" fmla="*/ 3 h 624"/>
                <a:gd name="T70" fmla="*/ 1 w 529"/>
                <a:gd name="T71" fmla="*/ 8 h 624"/>
                <a:gd name="T72" fmla="*/ 0 w 529"/>
                <a:gd name="T73" fmla="*/ 264 h 624"/>
                <a:gd name="T74" fmla="*/ 3 w 529"/>
                <a:gd name="T75" fmla="*/ 298 h 624"/>
                <a:gd name="T76" fmla="*/ 12 w 529"/>
                <a:gd name="T77" fmla="*/ 333 h 624"/>
                <a:gd name="T78" fmla="*/ 25 w 529"/>
                <a:gd name="T79" fmla="*/ 364 h 624"/>
                <a:gd name="T80" fmla="*/ 39 w 529"/>
                <a:gd name="T81" fmla="*/ 394 h 624"/>
                <a:gd name="T82" fmla="*/ 72 w 529"/>
                <a:gd name="T83" fmla="*/ 443 h 624"/>
                <a:gd name="T84" fmla="*/ 101 w 529"/>
                <a:gd name="T85" fmla="*/ 477 h 624"/>
                <a:gd name="T86" fmla="*/ 258 w 529"/>
                <a:gd name="T87" fmla="*/ 623 h 624"/>
                <a:gd name="T88" fmla="*/ 242 w 529"/>
                <a:gd name="T89" fmla="*/ 601 h 624"/>
                <a:gd name="T90" fmla="*/ 217 w 529"/>
                <a:gd name="T91" fmla="*/ 565 h 624"/>
                <a:gd name="T92" fmla="*/ 201 w 529"/>
                <a:gd name="T93" fmla="*/ 538 h 624"/>
                <a:gd name="T94" fmla="*/ 189 w 529"/>
                <a:gd name="T95" fmla="*/ 511 h 624"/>
                <a:gd name="T96" fmla="*/ 180 w 529"/>
                <a:gd name="T97" fmla="*/ 482 h 624"/>
                <a:gd name="T98" fmla="*/ 173 w 529"/>
                <a:gd name="T99" fmla="*/ 453 h 624"/>
                <a:gd name="T100" fmla="*/ 169 w 529"/>
                <a:gd name="T101" fmla="*/ 423 h 624"/>
                <a:gd name="T102" fmla="*/ 169 w 529"/>
                <a:gd name="T103" fmla="*/ 101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29" h="624">
                  <a:moveTo>
                    <a:pt x="169" y="101"/>
                  </a:moveTo>
                  <a:lnTo>
                    <a:pt x="169" y="98"/>
                  </a:lnTo>
                  <a:lnTo>
                    <a:pt x="171" y="94"/>
                  </a:lnTo>
                  <a:lnTo>
                    <a:pt x="173" y="92"/>
                  </a:lnTo>
                  <a:lnTo>
                    <a:pt x="176" y="90"/>
                  </a:lnTo>
                  <a:lnTo>
                    <a:pt x="180" y="89"/>
                  </a:lnTo>
                  <a:lnTo>
                    <a:pt x="183" y="89"/>
                  </a:lnTo>
                  <a:lnTo>
                    <a:pt x="186" y="91"/>
                  </a:lnTo>
                  <a:lnTo>
                    <a:pt x="189" y="93"/>
                  </a:lnTo>
                  <a:lnTo>
                    <a:pt x="230" y="134"/>
                  </a:lnTo>
                  <a:lnTo>
                    <a:pt x="235" y="138"/>
                  </a:lnTo>
                  <a:lnTo>
                    <a:pt x="242" y="142"/>
                  </a:lnTo>
                  <a:lnTo>
                    <a:pt x="249" y="146"/>
                  </a:lnTo>
                  <a:lnTo>
                    <a:pt x="258" y="150"/>
                  </a:lnTo>
                  <a:lnTo>
                    <a:pt x="270" y="154"/>
                  </a:lnTo>
                  <a:lnTo>
                    <a:pt x="281" y="158"/>
                  </a:lnTo>
                  <a:lnTo>
                    <a:pt x="294" y="162"/>
                  </a:lnTo>
                  <a:lnTo>
                    <a:pt x="308" y="165"/>
                  </a:lnTo>
                  <a:lnTo>
                    <a:pt x="340" y="171"/>
                  </a:lnTo>
                  <a:lnTo>
                    <a:pt x="375" y="176"/>
                  </a:lnTo>
                  <a:lnTo>
                    <a:pt x="395" y="178"/>
                  </a:lnTo>
                  <a:lnTo>
                    <a:pt x="414" y="179"/>
                  </a:lnTo>
                  <a:lnTo>
                    <a:pt x="435" y="180"/>
                  </a:lnTo>
                  <a:lnTo>
                    <a:pt x="457" y="180"/>
                  </a:lnTo>
                  <a:lnTo>
                    <a:pt x="476" y="180"/>
                  </a:lnTo>
                  <a:lnTo>
                    <a:pt x="494" y="179"/>
                  </a:lnTo>
                  <a:lnTo>
                    <a:pt x="512" y="178"/>
                  </a:lnTo>
                  <a:lnTo>
                    <a:pt x="529" y="177"/>
                  </a:lnTo>
                  <a:lnTo>
                    <a:pt x="529" y="11"/>
                  </a:lnTo>
                  <a:lnTo>
                    <a:pt x="529" y="8"/>
                  </a:lnTo>
                  <a:lnTo>
                    <a:pt x="527" y="5"/>
                  </a:lnTo>
                  <a:lnTo>
                    <a:pt x="525" y="2"/>
                  </a:lnTo>
                  <a:lnTo>
                    <a:pt x="522" y="1"/>
                  </a:lnTo>
                  <a:lnTo>
                    <a:pt x="517" y="0"/>
                  </a:lnTo>
                  <a:lnTo>
                    <a:pt x="514" y="1"/>
                  </a:lnTo>
                  <a:lnTo>
                    <a:pt x="510" y="2"/>
                  </a:lnTo>
                  <a:lnTo>
                    <a:pt x="508" y="4"/>
                  </a:lnTo>
                  <a:lnTo>
                    <a:pt x="502" y="10"/>
                  </a:lnTo>
                  <a:lnTo>
                    <a:pt x="495" y="15"/>
                  </a:lnTo>
                  <a:lnTo>
                    <a:pt x="486" y="21"/>
                  </a:lnTo>
                  <a:lnTo>
                    <a:pt x="476" y="25"/>
                  </a:lnTo>
                  <a:lnTo>
                    <a:pt x="465" y="30"/>
                  </a:lnTo>
                  <a:lnTo>
                    <a:pt x="451" y="34"/>
                  </a:lnTo>
                  <a:lnTo>
                    <a:pt x="437" y="38"/>
                  </a:lnTo>
                  <a:lnTo>
                    <a:pt x="422" y="42"/>
                  </a:lnTo>
                  <a:lnTo>
                    <a:pt x="406" y="45"/>
                  </a:lnTo>
                  <a:lnTo>
                    <a:pt x="389" y="49"/>
                  </a:lnTo>
                  <a:lnTo>
                    <a:pt x="371" y="51"/>
                  </a:lnTo>
                  <a:lnTo>
                    <a:pt x="352" y="54"/>
                  </a:lnTo>
                  <a:lnTo>
                    <a:pt x="312" y="56"/>
                  </a:lnTo>
                  <a:lnTo>
                    <a:pt x="270" y="57"/>
                  </a:lnTo>
                  <a:lnTo>
                    <a:pt x="227" y="56"/>
                  </a:lnTo>
                  <a:lnTo>
                    <a:pt x="186" y="53"/>
                  </a:lnTo>
                  <a:lnTo>
                    <a:pt x="167" y="51"/>
                  </a:lnTo>
                  <a:lnTo>
                    <a:pt x="148" y="49"/>
                  </a:lnTo>
                  <a:lnTo>
                    <a:pt x="130" y="45"/>
                  </a:lnTo>
                  <a:lnTo>
                    <a:pt x="113" y="42"/>
                  </a:lnTo>
                  <a:lnTo>
                    <a:pt x="98" y="38"/>
                  </a:lnTo>
                  <a:lnTo>
                    <a:pt x="83" y="34"/>
                  </a:lnTo>
                  <a:lnTo>
                    <a:pt x="69" y="30"/>
                  </a:lnTo>
                  <a:lnTo>
                    <a:pt x="57" y="25"/>
                  </a:lnTo>
                  <a:lnTo>
                    <a:pt x="46" y="20"/>
                  </a:lnTo>
                  <a:lnTo>
                    <a:pt x="36" y="15"/>
                  </a:lnTo>
                  <a:lnTo>
                    <a:pt x="28" y="9"/>
                  </a:lnTo>
                  <a:lnTo>
                    <a:pt x="22" y="3"/>
                  </a:lnTo>
                  <a:lnTo>
                    <a:pt x="19" y="1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1"/>
                  </a:lnTo>
                  <a:lnTo>
                    <a:pt x="0" y="264"/>
                  </a:lnTo>
                  <a:lnTo>
                    <a:pt x="1" y="281"/>
                  </a:lnTo>
                  <a:lnTo>
                    <a:pt x="3" y="298"/>
                  </a:lnTo>
                  <a:lnTo>
                    <a:pt x="7" y="316"/>
                  </a:lnTo>
                  <a:lnTo>
                    <a:pt x="12" y="333"/>
                  </a:lnTo>
                  <a:lnTo>
                    <a:pt x="18" y="349"/>
                  </a:lnTo>
                  <a:lnTo>
                    <a:pt x="25" y="364"/>
                  </a:lnTo>
                  <a:lnTo>
                    <a:pt x="32" y="380"/>
                  </a:lnTo>
                  <a:lnTo>
                    <a:pt x="39" y="394"/>
                  </a:lnTo>
                  <a:lnTo>
                    <a:pt x="55" y="420"/>
                  </a:lnTo>
                  <a:lnTo>
                    <a:pt x="72" y="443"/>
                  </a:lnTo>
                  <a:lnTo>
                    <a:pt x="88" y="462"/>
                  </a:lnTo>
                  <a:lnTo>
                    <a:pt x="101" y="477"/>
                  </a:lnTo>
                  <a:lnTo>
                    <a:pt x="256" y="622"/>
                  </a:lnTo>
                  <a:lnTo>
                    <a:pt x="258" y="623"/>
                  </a:lnTo>
                  <a:lnTo>
                    <a:pt x="260" y="624"/>
                  </a:lnTo>
                  <a:lnTo>
                    <a:pt x="242" y="601"/>
                  </a:lnTo>
                  <a:lnTo>
                    <a:pt x="225" y="577"/>
                  </a:lnTo>
                  <a:lnTo>
                    <a:pt x="217" y="565"/>
                  </a:lnTo>
                  <a:lnTo>
                    <a:pt x="209" y="551"/>
                  </a:lnTo>
                  <a:lnTo>
                    <a:pt x="201" y="538"/>
                  </a:lnTo>
                  <a:lnTo>
                    <a:pt x="195" y="525"/>
                  </a:lnTo>
                  <a:lnTo>
                    <a:pt x="189" y="511"/>
                  </a:lnTo>
                  <a:lnTo>
                    <a:pt x="184" y="497"/>
                  </a:lnTo>
                  <a:lnTo>
                    <a:pt x="180" y="482"/>
                  </a:lnTo>
                  <a:lnTo>
                    <a:pt x="176" y="468"/>
                  </a:lnTo>
                  <a:lnTo>
                    <a:pt x="173" y="453"/>
                  </a:lnTo>
                  <a:lnTo>
                    <a:pt x="171" y="439"/>
                  </a:lnTo>
                  <a:lnTo>
                    <a:pt x="169" y="423"/>
                  </a:lnTo>
                  <a:lnTo>
                    <a:pt x="169" y="407"/>
                  </a:lnTo>
                  <a:lnTo>
                    <a:pt x="169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709">
              <a:extLst>
                <a:ext uri="{FF2B5EF4-FFF2-40B4-BE49-F238E27FC236}">
                  <a16:creationId xmlns:a16="http://schemas.microsoft.com/office/drawing/2014/main" id="{4BACAA36-6FDD-4EBE-91F3-964146A095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4463" y="841375"/>
              <a:ext cx="209550" cy="234950"/>
            </a:xfrm>
            <a:custGeom>
              <a:avLst/>
              <a:gdLst>
                <a:gd name="T0" fmla="*/ 408 w 529"/>
                <a:gd name="T1" fmla="*/ 242 h 590"/>
                <a:gd name="T2" fmla="*/ 393 w 529"/>
                <a:gd name="T3" fmla="*/ 212 h 590"/>
                <a:gd name="T4" fmla="*/ 358 w 529"/>
                <a:gd name="T5" fmla="*/ 208 h 590"/>
                <a:gd name="T6" fmla="*/ 337 w 529"/>
                <a:gd name="T7" fmla="*/ 234 h 590"/>
                <a:gd name="T8" fmla="*/ 324 w 529"/>
                <a:gd name="T9" fmla="*/ 254 h 590"/>
                <a:gd name="T10" fmla="*/ 312 w 529"/>
                <a:gd name="T11" fmla="*/ 236 h 590"/>
                <a:gd name="T12" fmla="*/ 322 w 529"/>
                <a:gd name="T13" fmla="*/ 208 h 590"/>
                <a:gd name="T14" fmla="*/ 344 w 529"/>
                <a:gd name="T15" fmla="*/ 189 h 590"/>
                <a:gd name="T16" fmla="*/ 372 w 529"/>
                <a:gd name="T17" fmla="*/ 182 h 590"/>
                <a:gd name="T18" fmla="*/ 401 w 529"/>
                <a:gd name="T19" fmla="*/ 189 h 590"/>
                <a:gd name="T20" fmla="*/ 422 w 529"/>
                <a:gd name="T21" fmla="*/ 208 h 590"/>
                <a:gd name="T22" fmla="*/ 432 w 529"/>
                <a:gd name="T23" fmla="*/ 236 h 590"/>
                <a:gd name="T24" fmla="*/ 420 w 529"/>
                <a:gd name="T25" fmla="*/ 254 h 590"/>
                <a:gd name="T26" fmla="*/ 222 w 529"/>
                <a:gd name="T27" fmla="*/ 473 h 590"/>
                <a:gd name="T28" fmla="*/ 181 w 529"/>
                <a:gd name="T29" fmla="*/ 443 h 590"/>
                <a:gd name="T30" fmla="*/ 158 w 529"/>
                <a:gd name="T31" fmla="*/ 395 h 590"/>
                <a:gd name="T32" fmla="*/ 163 w 529"/>
                <a:gd name="T33" fmla="*/ 363 h 590"/>
                <a:gd name="T34" fmla="*/ 180 w 529"/>
                <a:gd name="T35" fmla="*/ 374 h 590"/>
                <a:gd name="T36" fmla="*/ 190 w 529"/>
                <a:gd name="T37" fmla="*/ 414 h 590"/>
                <a:gd name="T38" fmla="*/ 217 w 529"/>
                <a:gd name="T39" fmla="*/ 444 h 590"/>
                <a:gd name="T40" fmla="*/ 255 w 529"/>
                <a:gd name="T41" fmla="*/ 457 h 590"/>
                <a:gd name="T42" fmla="*/ 297 w 529"/>
                <a:gd name="T43" fmla="*/ 451 h 590"/>
                <a:gd name="T44" fmla="*/ 329 w 529"/>
                <a:gd name="T45" fmla="*/ 428 h 590"/>
                <a:gd name="T46" fmla="*/ 347 w 529"/>
                <a:gd name="T47" fmla="*/ 391 h 590"/>
                <a:gd name="T48" fmla="*/ 356 w 529"/>
                <a:gd name="T49" fmla="*/ 363 h 590"/>
                <a:gd name="T50" fmla="*/ 372 w 529"/>
                <a:gd name="T51" fmla="*/ 374 h 590"/>
                <a:gd name="T52" fmla="*/ 359 w 529"/>
                <a:gd name="T53" fmla="*/ 425 h 590"/>
                <a:gd name="T54" fmla="*/ 324 w 529"/>
                <a:gd name="T55" fmla="*/ 463 h 590"/>
                <a:gd name="T56" fmla="*/ 275 w 529"/>
                <a:gd name="T57" fmla="*/ 481 h 590"/>
                <a:gd name="T58" fmla="*/ 113 w 529"/>
                <a:gd name="T59" fmla="*/ 253 h 590"/>
                <a:gd name="T60" fmla="*/ 96 w 529"/>
                <a:gd name="T61" fmla="*/ 242 h 590"/>
                <a:gd name="T62" fmla="*/ 103 w 529"/>
                <a:gd name="T63" fmla="*/ 213 h 590"/>
                <a:gd name="T64" fmla="*/ 122 w 529"/>
                <a:gd name="T65" fmla="*/ 192 h 590"/>
                <a:gd name="T66" fmla="*/ 150 w 529"/>
                <a:gd name="T67" fmla="*/ 182 h 590"/>
                <a:gd name="T68" fmla="*/ 179 w 529"/>
                <a:gd name="T69" fmla="*/ 187 h 590"/>
                <a:gd name="T70" fmla="*/ 203 w 529"/>
                <a:gd name="T71" fmla="*/ 204 h 590"/>
                <a:gd name="T72" fmla="*/ 215 w 529"/>
                <a:gd name="T73" fmla="*/ 229 h 590"/>
                <a:gd name="T74" fmla="*/ 209 w 529"/>
                <a:gd name="T75" fmla="*/ 253 h 590"/>
                <a:gd name="T76" fmla="*/ 192 w 529"/>
                <a:gd name="T77" fmla="*/ 242 h 590"/>
                <a:gd name="T78" fmla="*/ 176 w 529"/>
                <a:gd name="T79" fmla="*/ 212 h 590"/>
                <a:gd name="T80" fmla="*/ 142 w 529"/>
                <a:gd name="T81" fmla="*/ 208 h 590"/>
                <a:gd name="T82" fmla="*/ 120 w 529"/>
                <a:gd name="T83" fmla="*/ 234 h 590"/>
                <a:gd name="T84" fmla="*/ 510 w 529"/>
                <a:gd name="T85" fmla="*/ 18 h 590"/>
                <a:gd name="T86" fmla="*/ 474 w 529"/>
                <a:gd name="T87" fmla="*/ 41 h 590"/>
                <a:gd name="T88" fmla="*/ 364 w 529"/>
                <a:gd name="T89" fmla="*/ 68 h 590"/>
                <a:gd name="T90" fmla="*/ 264 w 529"/>
                <a:gd name="T91" fmla="*/ 73 h 590"/>
                <a:gd name="T92" fmla="*/ 128 w 529"/>
                <a:gd name="T93" fmla="*/ 63 h 590"/>
                <a:gd name="T94" fmla="*/ 56 w 529"/>
                <a:gd name="T95" fmla="*/ 42 h 590"/>
                <a:gd name="T96" fmla="*/ 0 w 529"/>
                <a:gd name="T97" fmla="*/ 0 h 590"/>
                <a:gd name="T98" fmla="*/ 4 w 529"/>
                <a:gd name="T99" fmla="*/ 325 h 590"/>
                <a:gd name="T100" fmla="*/ 32 w 529"/>
                <a:gd name="T101" fmla="*/ 399 h 590"/>
                <a:gd name="T102" fmla="*/ 77 w 529"/>
                <a:gd name="T103" fmla="*/ 464 h 590"/>
                <a:gd name="T104" fmla="*/ 152 w 529"/>
                <a:gd name="T105" fmla="*/ 536 h 590"/>
                <a:gd name="T106" fmla="*/ 242 w 529"/>
                <a:gd name="T107" fmla="*/ 586 h 590"/>
                <a:gd name="T108" fmla="*/ 278 w 529"/>
                <a:gd name="T109" fmla="*/ 588 h 590"/>
                <a:gd name="T110" fmla="*/ 354 w 529"/>
                <a:gd name="T111" fmla="*/ 551 h 590"/>
                <a:gd name="T112" fmla="*/ 441 w 529"/>
                <a:gd name="T113" fmla="*/ 476 h 590"/>
                <a:gd name="T114" fmla="*/ 488 w 529"/>
                <a:gd name="T115" fmla="*/ 412 h 590"/>
                <a:gd name="T116" fmla="*/ 520 w 529"/>
                <a:gd name="T117" fmla="*/ 340 h 590"/>
                <a:gd name="T118" fmla="*/ 529 w 529"/>
                <a:gd name="T119" fmla="*/ 29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9" h="590">
                  <a:moveTo>
                    <a:pt x="420" y="254"/>
                  </a:moveTo>
                  <a:lnTo>
                    <a:pt x="416" y="253"/>
                  </a:lnTo>
                  <a:lnTo>
                    <a:pt x="412" y="251"/>
                  </a:lnTo>
                  <a:lnTo>
                    <a:pt x="409" y="247"/>
                  </a:lnTo>
                  <a:lnTo>
                    <a:pt x="408" y="242"/>
                  </a:lnTo>
                  <a:lnTo>
                    <a:pt x="408" y="234"/>
                  </a:lnTo>
                  <a:lnTo>
                    <a:pt x="406" y="227"/>
                  </a:lnTo>
                  <a:lnTo>
                    <a:pt x="402" y="221"/>
                  </a:lnTo>
                  <a:lnTo>
                    <a:pt x="398" y="216"/>
                  </a:lnTo>
                  <a:lnTo>
                    <a:pt x="393" y="212"/>
                  </a:lnTo>
                  <a:lnTo>
                    <a:pt x="386" y="208"/>
                  </a:lnTo>
                  <a:lnTo>
                    <a:pt x="379" y="206"/>
                  </a:lnTo>
                  <a:lnTo>
                    <a:pt x="372" y="206"/>
                  </a:lnTo>
                  <a:lnTo>
                    <a:pt x="365" y="206"/>
                  </a:lnTo>
                  <a:lnTo>
                    <a:pt x="358" y="208"/>
                  </a:lnTo>
                  <a:lnTo>
                    <a:pt x="352" y="212"/>
                  </a:lnTo>
                  <a:lnTo>
                    <a:pt x="347" y="216"/>
                  </a:lnTo>
                  <a:lnTo>
                    <a:pt x="343" y="221"/>
                  </a:lnTo>
                  <a:lnTo>
                    <a:pt x="339" y="227"/>
                  </a:lnTo>
                  <a:lnTo>
                    <a:pt x="337" y="234"/>
                  </a:lnTo>
                  <a:lnTo>
                    <a:pt x="336" y="242"/>
                  </a:lnTo>
                  <a:lnTo>
                    <a:pt x="336" y="247"/>
                  </a:lnTo>
                  <a:lnTo>
                    <a:pt x="333" y="251"/>
                  </a:lnTo>
                  <a:lnTo>
                    <a:pt x="329" y="253"/>
                  </a:lnTo>
                  <a:lnTo>
                    <a:pt x="324" y="254"/>
                  </a:lnTo>
                  <a:lnTo>
                    <a:pt x="319" y="253"/>
                  </a:lnTo>
                  <a:lnTo>
                    <a:pt x="315" y="251"/>
                  </a:lnTo>
                  <a:lnTo>
                    <a:pt x="313" y="247"/>
                  </a:lnTo>
                  <a:lnTo>
                    <a:pt x="312" y="242"/>
                  </a:lnTo>
                  <a:lnTo>
                    <a:pt x="312" y="236"/>
                  </a:lnTo>
                  <a:lnTo>
                    <a:pt x="313" y="229"/>
                  </a:lnTo>
                  <a:lnTo>
                    <a:pt x="315" y="224"/>
                  </a:lnTo>
                  <a:lnTo>
                    <a:pt x="317" y="218"/>
                  </a:lnTo>
                  <a:lnTo>
                    <a:pt x="319" y="213"/>
                  </a:lnTo>
                  <a:lnTo>
                    <a:pt x="322" y="208"/>
                  </a:lnTo>
                  <a:lnTo>
                    <a:pt x="325" y="204"/>
                  </a:lnTo>
                  <a:lnTo>
                    <a:pt x="330" y="199"/>
                  </a:lnTo>
                  <a:lnTo>
                    <a:pt x="334" y="196"/>
                  </a:lnTo>
                  <a:lnTo>
                    <a:pt x="339" y="192"/>
                  </a:lnTo>
                  <a:lnTo>
                    <a:pt x="344" y="189"/>
                  </a:lnTo>
                  <a:lnTo>
                    <a:pt x="349" y="187"/>
                  </a:lnTo>
                  <a:lnTo>
                    <a:pt x="354" y="185"/>
                  </a:lnTo>
                  <a:lnTo>
                    <a:pt x="360" y="183"/>
                  </a:lnTo>
                  <a:lnTo>
                    <a:pt x="366" y="182"/>
                  </a:lnTo>
                  <a:lnTo>
                    <a:pt x="372" y="182"/>
                  </a:lnTo>
                  <a:lnTo>
                    <a:pt x="378" y="182"/>
                  </a:lnTo>
                  <a:lnTo>
                    <a:pt x="384" y="183"/>
                  </a:lnTo>
                  <a:lnTo>
                    <a:pt x="391" y="185"/>
                  </a:lnTo>
                  <a:lnTo>
                    <a:pt x="396" y="187"/>
                  </a:lnTo>
                  <a:lnTo>
                    <a:pt x="401" y="189"/>
                  </a:lnTo>
                  <a:lnTo>
                    <a:pt x="406" y="192"/>
                  </a:lnTo>
                  <a:lnTo>
                    <a:pt x="411" y="196"/>
                  </a:lnTo>
                  <a:lnTo>
                    <a:pt x="415" y="199"/>
                  </a:lnTo>
                  <a:lnTo>
                    <a:pt x="419" y="204"/>
                  </a:lnTo>
                  <a:lnTo>
                    <a:pt x="422" y="208"/>
                  </a:lnTo>
                  <a:lnTo>
                    <a:pt x="425" y="213"/>
                  </a:lnTo>
                  <a:lnTo>
                    <a:pt x="427" y="218"/>
                  </a:lnTo>
                  <a:lnTo>
                    <a:pt x="429" y="224"/>
                  </a:lnTo>
                  <a:lnTo>
                    <a:pt x="431" y="229"/>
                  </a:lnTo>
                  <a:lnTo>
                    <a:pt x="432" y="236"/>
                  </a:lnTo>
                  <a:lnTo>
                    <a:pt x="432" y="242"/>
                  </a:lnTo>
                  <a:lnTo>
                    <a:pt x="431" y="247"/>
                  </a:lnTo>
                  <a:lnTo>
                    <a:pt x="429" y="251"/>
                  </a:lnTo>
                  <a:lnTo>
                    <a:pt x="425" y="253"/>
                  </a:lnTo>
                  <a:lnTo>
                    <a:pt x="420" y="254"/>
                  </a:lnTo>
                  <a:close/>
                  <a:moveTo>
                    <a:pt x="265" y="481"/>
                  </a:moveTo>
                  <a:lnTo>
                    <a:pt x="253" y="481"/>
                  </a:lnTo>
                  <a:lnTo>
                    <a:pt x="242" y="479"/>
                  </a:lnTo>
                  <a:lnTo>
                    <a:pt x="232" y="477"/>
                  </a:lnTo>
                  <a:lnTo>
                    <a:pt x="222" y="473"/>
                  </a:lnTo>
                  <a:lnTo>
                    <a:pt x="213" y="469"/>
                  </a:lnTo>
                  <a:lnTo>
                    <a:pt x="204" y="463"/>
                  </a:lnTo>
                  <a:lnTo>
                    <a:pt x="195" y="457"/>
                  </a:lnTo>
                  <a:lnTo>
                    <a:pt x="187" y="450"/>
                  </a:lnTo>
                  <a:lnTo>
                    <a:pt x="181" y="443"/>
                  </a:lnTo>
                  <a:lnTo>
                    <a:pt x="174" y="435"/>
                  </a:lnTo>
                  <a:lnTo>
                    <a:pt x="169" y="425"/>
                  </a:lnTo>
                  <a:lnTo>
                    <a:pt x="165" y="416"/>
                  </a:lnTo>
                  <a:lnTo>
                    <a:pt x="161" y="406"/>
                  </a:lnTo>
                  <a:lnTo>
                    <a:pt x="158" y="395"/>
                  </a:lnTo>
                  <a:lnTo>
                    <a:pt x="157" y="385"/>
                  </a:lnTo>
                  <a:lnTo>
                    <a:pt x="156" y="374"/>
                  </a:lnTo>
                  <a:lnTo>
                    <a:pt x="157" y="370"/>
                  </a:lnTo>
                  <a:lnTo>
                    <a:pt x="160" y="366"/>
                  </a:lnTo>
                  <a:lnTo>
                    <a:pt x="163" y="363"/>
                  </a:lnTo>
                  <a:lnTo>
                    <a:pt x="168" y="361"/>
                  </a:lnTo>
                  <a:lnTo>
                    <a:pt x="173" y="363"/>
                  </a:lnTo>
                  <a:lnTo>
                    <a:pt x="176" y="366"/>
                  </a:lnTo>
                  <a:lnTo>
                    <a:pt x="179" y="370"/>
                  </a:lnTo>
                  <a:lnTo>
                    <a:pt x="180" y="374"/>
                  </a:lnTo>
                  <a:lnTo>
                    <a:pt x="180" y="382"/>
                  </a:lnTo>
                  <a:lnTo>
                    <a:pt x="182" y="391"/>
                  </a:lnTo>
                  <a:lnTo>
                    <a:pt x="184" y="399"/>
                  </a:lnTo>
                  <a:lnTo>
                    <a:pt x="186" y="406"/>
                  </a:lnTo>
                  <a:lnTo>
                    <a:pt x="190" y="414"/>
                  </a:lnTo>
                  <a:lnTo>
                    <a:pt x="194" y="420"/>
                  </a:lnTo>
                  <a:lnTo>
                    <a:pt x="199" y="428"/>
                  </a:lnTo>
                  <a:lnTo>
                    <a:pt x="205" y="434"/>
                  </a:lnTo>
                  <a:lnTo>
                    <a:pt x="211" y="439"/>
                  </a:lnTo>
                  <a:lnTo>
                    <a:pt x="217" y="444"/>
                  </a:lnTo>
                  <a:lnTo>
                    <a:pt x="224" y="448"/>
                  </a:lnTo>
                  <a:lnTo>
                    <a:pt x="231" y="451"/>
                  </a:lnTo>
                  <a:lnTo>
                    <a:pt x="239" y="454"/>
                  </a:lnTo>
                  <a:lnTo>
                    <a:pt x="247" y="456"/>
                  </a:lnTo>
                  <a:lnTo>
                    <a:pt x="255" y="457"/>
                  </a:lnTo>
                  <a:lnTo>
                    <a:pt x="265" y="458"/>
                  </a:lnTo>
                  <a:lnTo>
                    <a:pt x="273" y="457"/>
                  </a:lnTo>
                  <a:lnTo>
                    <a:pt x="281" y="456"/>
                  </a:lnTo>
                  <a:lnTo>
                    <a:pt x="289" y="454"/>
                  </a:lnTo>
                  <a:lnTo>
                    <a:pt x="297" y="451"/>
                  </a:lnTo>
                  <a:lnTo>
                    <a:pt x="304" y="448"/>
                  </a:lnTo>
                  <a:lnTo>
                    <a:pt x="311" y="444"/>
                  </a:lnTo>
                  <a:lnTo>
                    <a:pt x="317" y="439"/>
                  </a:lnTo>
                  <a:lnTo>
                    <a:pt x="323" y="434"/>
                  </a:lnTo>
                  <a:lnTo>
                    <a:pt x="329" y="428"/>
                  </a:lnTo>
                  <a:lnTo>
                    <a:pt x="334" y="420"/>
                  </a:lnTo>
                  <a:lnTo>
                    <a:pt x="338" y="414"/>
                  </a:lnTo>
                  <a:lnTo>
                    <a:pt x="342" y="406"/>
                  </a:lnTo>
                  <a:lnTo>
                    <a:pt x="345" y="399"/>
                  </a:lnTo>
                  <a:lnTo>
                    <a:pt x="347" y="391"/>
                  </a:lnTo>
                  <a:lnTo>
                    <a:pt x="348" y="382"/>
                  </a:lnTo>
                  <a:lnTo>
                    <a:pt x="348" y="374"/>
                  </a:lnTo>
                  <a:lnTo>
                    <a:pt x="349" y="370"/>
                  </a:lnTo>
                  <a:lnTo>
                    <a:pt x="352" y="366"/>
                  </a:lnTo>
                  <a:lnTo>
                    <a:pt x="356" y="363"/>
                  </a:lnTo>
                  <a:lnTo>
                    <a:pt x="360" y="361"/>
                  </a:lnTo>
                  <a:lnTo>
                    <a:pt x="365" y="363"/>
                  </a:lnTo>
                  <a:lnTo>
                    <a:pt x="368" y="366"/>
                  </a:lnTo>
                  <a:lnTo>
                    <a:pt x="371" y="370"/>
                  </a:lnTo>
                  <a:lnTo>
                    <a:pt x="372" y="374"/>
                  </a:lnTo>
                  <a:lnTo>
                    <a:pt x="371" y="385"/>
                  </a:lnTo>
                  <a:lnTo>
                    <a:pt x="370" y="395"/>
                  </a:lnTo>
                  <a:lnTo>
                    <a:pt x="367" y="406"/>
                  </a:lnTo>
                  <a:lnTo>
                    <a:pt x="364" y="416"/>
                  </a:lnTo>
                  <a:lnTo>
                    <a:pt x="359" y="425"/>
                  </a:lnTo>
                  <a:lnTo>
                    <a:pt x="354" y="435"/>
                  </a:lnTo>
                  <a:lnTo>
                    <a:pt x="348" y="443"/>
                  </a:lnTo>
                  <a:lnTo>
                    <a:pt x="341" y="450"/>
                  </a:lnTo>
                  <a:lnTo>
                    <a:pt x="333" y="457"/>
                  </a:lnTo>
                  <a:lnTo>
                    <a:pt x="324" y="463"/>
                  </a:lnTo>
                  <a:lnTo>
                    <a:pt x="315" y="469"/>
                  </a:lnTo>
                  <a:lnTo>
                    <a:pt x="306" y="473"/>
                  </a:lnTo>
                  <a:lnTo>
                    <a:pt x="296" y="477"/>
                  </a:lnTo>
                  <a:lnTo>
                    <a:pt x="286" y="479"/>
                  </a:lnTo>
                  <a:lnTo>
                    <a:pt x="275" y="481"/>
                  </a:lnTo>
                  <a:lnTo>
                    <a:pt x="265" y="481"/>
                  </a:lnTo>
                  <a:close/>
                  <a:moveTo>
                    <a:pt x="120" y="242"/>
                  </a:moveTo>
                  <a:lnTo>
                    <a:pt x="119" y="247"/>
                  </a:lnTo>
                  <a:lnTo>
                    <a:pt x="116" y="251"/>
                  </a:lnTo>
                  <a:lnTo>
                    <a:pt x="113" y="253"/>
                  </a:lnTo>
                  <a:lnTo>
                    <a:pt x="108" y="254"/>
                  </a:lnTo>
                  <a:lnTo>
                    <a:pt x="103" y="253"/>
                  </a:lnTo>
                  <a:lnTo>
                    <a:pt x="100" y="251"/>
                  </a:lnTo>
                  <a:lnTo>
                    <a:pt x="97" y="247"/>
                  </a:lnTo>
                  <a:lnTo>
                    <a:pt x="96" y="242"/>
                  </a:lnTo>
                  <a:lnTo>
                    <a:pt x="96" y="236"/>
                  </a:lnTo>
                  <a:lnTo>
                    <a:pt x="97" y="229"/>
                  </a:lnTo>
                  <a:lnTo>
                    <a:pt x="99" y="224"/>
                  </a:lnTo>
                  <a:lnTo>
                    <a:pt x="101" y="218"/>
                  </a:lnTo>
                  <a:lnTo>
                    <a:pt x="103" y="213"/>
                  </a:lnTo>
                  <a:lnTo>
                    <a:pt x="106" y="208"/>
                  </a:lnTo>
                  <a:lnTo>
                    <a:pt x="110" y="204"/>
                  </a:lnTo>
                  <a:lnTo>
                    <a:pt x="113" y="199"/>
                  </a:lnTo>
                  <a:lnTo>
                    <a:pt x="118" y="196"/>
                  </a:lnTo>
                  <a:lnTo>
                    <a:pt x="122" y="192"/>
                  </a:lnTo>
                  <a:lnTo>
                    <a:pt x="127" y="189"/>
                  </a:lnTo>
                  <a:lnTo>
                    <a:pt x="132" y="187"/>
                  </a:lnTo>
                  <a:lnTo>
                    <a:pt x="139" y="185"/>
                  </a:lnTo>
                  <a:lnTo>
                    <a:pt x="144" y="183"/>
                  </a:lnTo>
                  <a:lnTo>
                    <a:pt x="150" y="182"/>
                  </a:lnTo>
                  <a:lnTo>
                    <a:pt x="156" y="182"/>
                  </a:lnTo>
                  <a:lnTo>
                    <a:pt x="162" y="182"/>
                  </a:lnTo>
                  <a:lnTo>
                    <a:pt x="168" y="183"/>
                  </a:lnTo>
                  <a:lnTo>
                    <a:pt x="174" y="185"/>
                  </a:lnTo>
                  <a:lnTo>
                    <a:pt x="179" y="187"/>
                  </a:lnTo>
                  <a:lnTo>
                    <a:pt x="184" y="189"/>
                  </a:lnTo>
                  <a:lnTo>
                    <a:pt x="189" y="192"/>
                  </a:lnTo>
                  <a:lnTo>
                    <a:pt x="194" y="196"/>
                  </a:lnTo>
                  <a:lnTo>
                    <a:pt x="198" y="199"/>
                  </a:lnTo>
                  <a:lnTo>
                    <a:pt x="203" y="204"/>
                  </a:lnTo>
                  <a:lnTo>
                    <a:pt x="206" y="208"/>
                  </a:lnTo>
                  <a:lnTo>
                    <a:pt x="209" y="213"/>
                  </a:lnTo>
                  <a:lnTo>
                    <a:pt x="212" y="218"/>
                  </a:lnTo>
                  <a:lnTo>
                    <a:pt x="214" y="224"/>
                  </a:lnTo>
                  <a:lnTo>
                    <a:pt x="215" y="229"/>
                  </a:lnTo>
                  <a:lnTo>
                    <a:pt x="216" y="236"/>
                  </a:lnTo>
                  <a:lnTo>
                    <a:pt x="216" y="242"/>
                  </a:lnTo>
                  <a:lnTo>
                    <a:pt x="215" y="247"/>
                  </a:lnTo>
                  <a:lnTo>
                    <a:pt x="213" y="251"/>
                  </a:lnTo>
                  <a:lnTo>
                    <a:pt x="209" y="253"/>
                  </a:lnTo>
                  <a:lnTo>
                    <a:pt x="204" y="254"/>
                  </a:lnTo>
                  <a:lnTo>
                    <a:pt x="199" y="253"/>
                  </a:lnTo>
                  <a:lnTo>
                    <a:pt x="195" y="251"/>
                  </a:lnTo>
                  <a:lnTo>
                    <a:pt x="193" y="247"/>
                  </a:lnTo>
                  <a:lnTo>
                    <a:pt x="192" y="242"/>
                  </a:lnTo>
                  <a:lnTo>
                    <a:pt x="191" y="234"/>
                  </a:lnTo>
                  <a:lnTo>
                    <a:pt x="189" y="227"/>
                  </a:lnTo>
                  <a:lnTo>
                    <a:pt x="186" y="221"/>
                  </a:lnTo>
                  <a:lnTo>
                    <a:pt x="181" y="216"/>
                  </a:lnTo>
                  <a:lnTo>
                    <a:pt x="176" y="212"/>
                  </a:lnTo>
                  <a:lnTo>
                    <a:pt x="170" y="208"/>
                  </a:lnTo>
                  <a:lnTo>
                    <a:pt x="163" y="206"/>
                  </a:lnTo>
                  <a:lnTo>
                    <a:pt x="156" y="206"/>
                  </a:lnTo>
                  <a:lnTo>
                    <a:pt x="149" y="206"/>
                  </a:lnTo>
                  <a:lnTo>
                    <a:pt x="142" y="208"/>
                  </a:lnTo>
                  <a:lnTo>
                    <a:pt x="135" y="212"/>
                  </a:lnTo>
                  <a:lnTo>
                    <a:pt x="130" y="216"/>
                  </a:lnTo>
                  <a:lnTo>
                    <a:pt x="126" y="221"/>
                  </a:lnTo>
                  <a:lnTo>
                    <a:pt x="123" y="227"/>
                  </a:lnTo>
                  <a:lnTo>
                    <a:pt x="120" y="234"/>
                  </a:lnTo>
                  <a:lnTo>
                    <a:pt x="120" y="242"/>
                  </a:lnTo>
                  <a:close/>
                  <a:moveTo>
                    <a:pt x="521" y="18"/>
                  </a:moveTo>
                  <a:lnTo>
                    <a:pt x="518" y="17"/>
                  </a:lnTo>
                  <a:lnTo>
                    <a:pt x="513" y="17"/>
                  </a:lnTo>
                  <a:lnTo>
                    <a:pt x="510" y="18"/>
                  </a:lnTo>
                  <a:lnTo>
                    <a:pt x="507" y="20"/>
                  </a:lnTo>
                  <a:lnTo>
                    <a:pt x="504" y="23"/>
                  </a:lnTo>
                  <a:lnTo>
                    <a:pt x="501" y="26"/>
                  </a:lnTo>
                  <a:lnTo>
                    <a:pt x="489" y="34"/>
                  </a:lnTo>
                  <a:lnTo>
                    <a:pt x="474" y="41"/>
                  </a:lnTo>
                  <a:lnTo>
                    <a:pt x="456" y="49"/>
                  </a:lnTo>
                  <a:lnTo>
                    <a:pt x="436" y="55"/>
                  </a:lnTo>
                  <a:lnTo>
                    <a:pt x="414" y="60"/>
                  </a:lnTo>
                  <a:lnTo>
                    <a:pt x="390" y="65"/>
                  </a:lnTo>
                  <a:lnTo>
                    <a:pt x="364" y="68"/>
                  </a:lnTo>
                  <a:lnTo>
                    <a:pt x="336" y="71"/>
                  </a:lnTo>
                  <a:lnTo>
                    <a:pt x="318" y="72"/>
                  </a:lnTo>
                  <a:lnTo>
                    <a:pt x="301" y="73"/>
                  </a:lnTo>
                  <a:lnTo>
                    <a:pt x="283" y="73"/>
                  </a:lnTo>
                  <a:lnTo>
                    <a:pt x="264" y="73"/>
                  </a:lnTo>
                  <a:lnTo>
                    <a:pt x="222" y="73"/>
                  </a:lnTo>
                  <a:lnTo>
                    <a:pt x="182" y="70"/>
                  </a:lnTo>
                  <a:lnTo>
                    <a:pt x="164" y="68"/>
                  </a:lnTo>
                  <a:lnTo>
                    <a:pt x="146" y="65"/>
                  </a:lnTo>
                  <a:lnTo>
                    <a:pt x="128" y="63"/>
                  </a:lnTo>
                  <a:lnTo>
                    <a:pt x="111" y="59"/>
                  </a:lnTo>
                  <a:lnTo>
                    <a:pt x="96" y="56"/>
                  </a:lnTo>
                  <a:lnTo>
                    <a:pt x="82" y="52"/>
                  </a:lnTo>
                  <a:lnTo>
                    <a:pt x="68" y="48"/>
                  </a:lnTo>
                  <a:lnTo>
                    <a:pt x="56" y="42"/>
                  </a:lnTo>
                  <a:lnTo>
                    <a:pt x="45" y="37"/>
                  </a:lnTo>
                  <a:lnTo>
                    <a:pt x="35" y="32"/>
                  </a:lnTo>
                  <a:lnTo>
                    <a:pt x="27" y="26"/>
                  </a:lnTo>
                  <a:lnTo>
                    <a:pt x="21" y="2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0" y="277"/>
                  </a:lnTo>
                  <a:lnTo>
                    <a:pt x="0" y="293"/>
                  </a:lnTo>
                  <a:lnTo>
                    <a:pt x="2" y="310"/>
                  </a:lnTo>
                  <a:lnTo>
                    <a:pt x="4" y="325"/>
                  </a:lnTo>
                  <a:lnTo>
                    <a:pt x="8" y="340"/>
                  </a:lnTo>
                  <a:lnTo>
                    <a:pt x="14" y="355"/>
                  </a:lnTo>
                  <a:lnTo>
                    <a:pt x="19" y="371"/>
                  </a:lnTo>
                  <a:lnTo>
                    <a:pt x="25" y="385"/>
                  </a:lnTo>
                  <a:lnTo>
                    <a:pt x="32" y="399"/>
                  </a:lnTo>
                  <a:lnTo>
                    <a:pt x="40" y="412"/>
                  </a:lnTo>
                  <a:lnTo>
                    <a:pt x="48" y="427"/>
                  </a:lnTo>
                  <a:lnTo>
                    <a:pt x="57" y="439"/>
                  </a:lnTo>
                  <a:lnTo>
                    <a:pt x="66" y="452"/>
                  </a:lnTo>
                  <a:lnTo>
                    <a:pt x="77" y="464"/>
                  </a:lnTo>
                  <a:lnTo>
                    <a:pt x="87" y="476"/>
                  </a:lnTo>
                  <a:lnTo>
                    <a:pt x="97" y="487"/>
                  </a:lnTo>
                  <a:lnTo>
                    <a:pt x="108" y="498"/>
                  </a:lnTo>
                  <a:lnTo>
                    <a:pt x="129" y="518"/>
                  </a:lnTo>
                  <a:lnTo>
                    <a:pt x="152" y="536"/>
                  </a:lnTo>
                  <a:lnTo>
                    <a:pt x="174" y="551"/>
                  </a:lnTo>
                  <a:lnTo>
                    <a:pt x="195" y="565"/>
                  </a:lnTo>
                  <a:lnTo>
                    <a:pt x="216" y="576"/>
                  </a:lnTo>
                  <a:lnTo>
                    <a:pt x="234" y="583"/>
                  </a:lnTo>
                  <a:lnTo>
                    <a:pt x="242" y="586"/>
                  </a:lnTo>
                  <a:lnTo>
                    <a:pt x="250" y="588"/>
                  </a:lnTo>
                  <a:lnTo>
                    <a:pt x="257" y="589"/>
                  </a:lnTo>
                  <a:lnTo>
                    <a:pt x="265" y="590"/>
                  </a:lnTo>
                  <a:lnTo>
                    <a:pt x="271" y="589"/>
                  </a:lnTo>
                  <a:lnTo>
                    <a:pt x="278" y="588"/>
                  </a:lnTo>
                  <a:lnTo>
                    <a:pt x="286" y="586"/>
                  </a:lnTo>
                  <a:lnTo>
                    <a:pt x="294" y="583"/>
                  </a:lnTo>
                  <a:lnTo>
                    <a:pt x="312" y="576"/>
                  </a:lnTo>
                  <a:lnTo>
                    <a:pt x="333" y="565"/>
                  </a:lnTo>
                  <a:lnTo>
                    <a:pt x="354" y="551"/>
                  </a:lnTo>
                  <a:lnTo>
                    <a:pt x="376" y="536"/>
                  </a:lnTo>
                  <a:lnTo>
                    <a:pt x="399" y="518"/>
                  </a:lnTo>
                  <a:lnTo>
                    <a:pt x="420" y="498"/>
                  </a:lnTo>
                  <a:lnTo>
                    <a:pt x="431" y="487"/>
                  </a:lnTo>
                  <a:lnTo>
                    <a:pt x="441" y="476"/>
                  </a:lnTo>
                  <a:lnTo>
                    <a:pt x="451" y="464"/>
                  </a:lnTo>
                  <a:lnTo>
                    <a:pt x="462" y="452"/>
                  </a:lnTo>
                  <a:lnTo>
                    <a:pt x="471" y="439"/>
                  </a:lnTo>
                  <a:lnTo>
                    <a:pt x="480" y="427"/>
                  </a:lnTo>
                  <a:lnTo>
                    <a:pt x="488" y="412"/>
                  </a:lnTo>
                  <a:lnTo>
                    <a:pt x="496" y="399"/>
                  </a:lnTo>
                  <a:lnTo>
                    <a:pt x="503" y="385"/>
                  </a:lnTo>
                  <a:lnTo>
                    <a:pt x="509" y="371"/>
                  </a:lnTo>
                  <a:lnTo>
                    <a:pt x="514" y="355"/>
                  </a:lnTo>
                  <a:lnTo>
                    <a:pt x="520" y="340"/>
                  </a:lnTo>
                  <a:lnTo>
                    <a:pt x="524" y="325"/>
                  </a:lnTo>
                  <a:lnTo>
                    <a:pt x="526" y="310"/>
                  </a:lnTo>
                  <a:lnTo>
                    <a:pt x="528" y="293"/>
                  </a:lnTo>
                  <a:lnTo>
                    <a:pt x="529" y="277"/>
                  </a:lnTo>
                  <a:lnTo>
                    <a:pt x="529" y="29"/>
                  </a:lnTo>
                  <a:lnTo>
                    <a:pt x="528" y="25"/>
                  </a:lnTo>
                  <a:lnTo>
                    <a:pt x="527" y="22"/>
                  </a:lnTo>
                  <a:lnTo>
                    <a:pt x="524" y="20"/>
                  </a:lnTo>
                  <a:lnTo>
                    <a:pt x="52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1" name="Freeform 4197">
            <a:extLst>
              <a:ext uri="{FF2B5EF4-FFF2-40B4-BE49-F238E27FC236}">
                <a16:creationId xmlns:a16="http://schemas.microsoft.com/office/drawing/2014/main" id="{B85CBD80-ECA0-4F03-B17E-9495098888A6}"/>
              </a:ext>
            </a:extLst>
          </p:cNvPr>
          <p:cNvSpPr>
            <a:spLocks noEditPoints="1"/>
          </p:cNvSpPr>
          <p:nvPr/>
        </p:nvSpPr>
        <p:spPr bwMode="auto">
          <a:xfrm>
            <a:off x="908208" y="4800904"/>
            <a:ext cx="285750" cy="261938"/>
          </a:xfrm>
          <a:custGeom>
            <a:avLst/>
            <a:gdLst>
              <a:gd name="T0" fmla="*/ 540 w 901"/>
              <a:gd name="T1" fmla="*/ 161 h 826"/>
              <a:gd name="T2" fmla="*/ 360 w 901"/>
              <a:gd name="T3" fmla="*/ 255 h 826"/>
              <a:gd name="T4" fmla="*/ 360 w 901"/>
              <a:gd name="T5" fmla="*/ 255 h 826"/>
              <a:gd name="T6" fmla="*/ 201 w 901"/>
              <a:gd name="T7" fmla="*/ 255 h 826"/>
              <a:gd name="T8" fmla="*/ 749 w 901"/>
              <a:gd name="T9" fmla="*/ 46 h 826"/>
              <a:gd name="T10" fmla="*/ 692 w 901"/>
              <a:gd name="T11" fmla="*/ 248 h 826"/>
              <a:gd name="T12" fmla="*/ 568 w 901"/>
              <a:gd name="T13" fmla="*/ 103 h 826"/>
              <a:gd name="T14" fmla="*/ 556 w 901"/>
              <a:gd name="T15" fmla="*/ 104 h 826"/>
              <a:gd name="T16" fmla="*/ 341 w 901"/>
              <a:gd name="T17" fmla="*/ 135 h 826"/>
              <a:gd name="T18" fmla="*/ 333 w 901"/>
              <a:gd name="T19" fmla="*/ 141 h 826"/>
              <a:gd name="T20" fmla="*/ 330 w 901"/>
              <a:gd name="T21" fmla="*/ 255 h 826"/>
              <a:gd name="T22" fmla="*/ 120 w 901"/>
              <a:gd name="T23" fmla="*/ 4 h 826"/>
              <a:gd name="T24" fmla="*/ 109 w 901"/>
              <a:gd name="T25" fmla="*/ 0 h 826"/>
              <a:gd name="T26" fmla="*/ 5 w 901"/>
              <a:gd name="T27" fmla="*/ 48 h 826"/>
              <a:gd name="T28" fmla="*/ 0 w 901"/>
              <a:gd name="T29" fmla="*/ 58 h 826"/>
              <a:gd name="T30" fmla="*/ 82 w 901"/>
              <a:gd name="T31" fmla="*/ 255 h 826"/>
              <a:gd name="T32" fmla="*/ 5 w 901"/>
              <a:gd name="T33" fmla="*/ 259 h 826"/>
              <a:gd name="T34" fmla="*/ 0 w 901"/>
              <a:gd name="T35" fmla="*/ 271 h 826"/>
              <a:gd name="T36" fmla="*/ 120 w 901"/>
              <a:gd name="T37" fmla="*/ 643 h 826"/>
              <a:gd name="T38" fmla="*/ 589 w 901"/>
              <a:gd name="T39" fmla="*/ 676 h 826"/>
              <a:gd name="T40" fmla="*/ 157 w 901"/>
              <a:gd name="T41" fmla="*/ 679 h 826"/>
              <a:gd name="T42" fmla="*/ 131 w 901"/>
              <a:gd name="T43" fmla="*/ 693 h 826"/>
              <a:gd name="T44" fmla="*/ 113 w 901"/>
              <a:gd name="T45" fmla="*/ 716 h 826"/>
              <a:gd name="T46" fmla="*/ 105 w 901"/>
              <a:gd name="T47" fmla="*/ 744 h 826"/>
              <a:gd name="T48" fmla="*/ 108 w 901"/>
              <a:gd name="T49" fmla="*/ 774 h 826"/>
              <a:gd name="T50" fmla="*/ 122 w 901"/>
              <a:gd name="T51" fmla="*/ 798 h 826"/>
              <a:gd name="T52" fmla="*/ 144 w 901"/>
              <a:gd name="T53" fmla="*/ 818 h 826"/>
              <a:gd name="T54" fmla="*/ 172 w 901"/>
              <a:gd name="T55" fmla="*/ 826 h 826"/>
              <a:gd name="T56" fmla="*/ 202 w 901"/>
              <a:gd name="T57" fmla="*/ 823 h 826"/>
              <a:gd name="T58" fmla="*/ 228 w 901"/>
              <a:gd name="T59" fmla="*/ 809 h 826"/>
              <a:gd name="T60" fmla="*/ 246 w 901"/>
              <a:gd name="T61" fmla="*/ 787 h 826"/>
              <a:gd name="T62" fmla="*/ 255 w 901"/>
              <a:gd name="T63" fmla="*/ 759 h 826"/>
              <a:gd name="T64" fmla="*/ 246 w 901"/>
              <a:gd name="T65" fmla="*/ 716 h 826"/>
              <a:gd name="T66" fmla="*/ 514 w 901"/>
              <a:gd name="T67" fmla="*/ 727 h 826"/>
              <a:gd name="T68" fmla="*/ 512 w 901"/>
              <a:gd name="T69" fmla="*/ 766 h 826"/>
              <a:gd name="T70" fmla="*/ 523 w 901"/>
              <a:gd name="T71" fmla="*/ 793 h 826"/>
              <a:gd name="T72" fmla="*/ 543 w 901"/>
              <a:gd name="T73" fmla="*/ 813 h 826"/>
              <a:gd name="T74" fmla="*/ 570 w 901"/>
              <a:gd name="T75" fmla="*/ 825 h 826"/>
              <a:gd name="T76" fmla="*/ 601 w 901"/>
              <a:gd name="T77" fmla="*/ 825 h 826"/>
              <a:gd name="T78" fmla="*/ 628 w 901"/>
              <a:gd name="T79" fmla="*/ 813 h 826"/>
              <a:gd name="T80" fmla="*/ 648 w 901"/>
              <a:gd name="T81" fmla="*/ 793 h 826"/>
              <a:gd name="T82" fmla="*/ 659 w 901"/>
              <a:gd name="T83" fmla="*/ 766 h 826"/>
              <a:gd name="T84" fmla="*/ 658 w 901"/>
              <a:gd name="T85" fmla="*/ 730 h 826"/>
              <a:gd name="T86" fmla="*/ 635 w 901"/>
              <a:gd name="T87" fmla="*/ 695 h 826"/>
              <a:gd name="T88" fmla="*/ 630 w 901"/>
              <a:gd name="T89" fmla="*/ 635 h 826"/>
              <a:gd name="T90" fmla="*/ 886 w 901"/>
              <a:gd name="T91" fmla="*/ 75 h 826"/>
              <a:gd name="T92" fmla="*/ 897 w 901"/>
              <a:gd name="T93" fmla="*/ 70 h 826"/>
              <a:gd name="T94" fmla="*/ 901 w 901"/>
              <a:gd name="T95" fmla="*/ 60 h 826"/>
              <a:gd name="T96" fmla="*/ 897 w 901"/>
              <a:gd name="T97" fmla="*/ 49 h 826"/>
              <a:gd name="T98" fmla="*/ 886 w 901"/>
              <a:gd name="T99" fmla="*/ 45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901" h="826">
                <a:moveTo>
                  <a:pt x="442" y="255"/>
                </a:moveTo>
                <a:lnTo>
                  <a:pt x="540" y="161"/>
                </a:lnTo>
                <a:lnTo>
                  <a:pt x="540" y="161"/>
                </a:lnTo>
                <a:lnTo>
                  <a:pt x="540" y="161"/>
                </a:lnTo>
                <a:lnTo>
                  <a:pt x="562" y="139"/>
                </a:lnTo>
                <a:lnTo>
                  <a:pt x="659" y="255"/>
                </a:lnTo>
                <a:lnTo>
                  <a:pt x="442" y="255"/>
                </a:lnTo>
                <a:close/>
                <a:moveTo>
                  <a:pt x="360" y="255"/>
                </a:moveTo>
                <a:lnTo>
                  <a:pt x="360" y="165"/>
                </a:lnTo>
                <a:lnTo>
                  <a:pt x="493" y="165"/>
                </a:lnTo>
                <a:lnTo>
                  <a:pt x="399" y="255"/>
                </a:lnTo>
                <a:lnTo>
                  <a:pt x="360" y="255"/>
                </a:lnTo>
                <a:close/>
                <a:moveTo>
                  <a:pt x="114" y="255"/>
                </a:moveTo>
                <a:lnTo>
                  <a:pt x="34" y="67"/>
                </a:lnTo>
                <a:lnTo>
                  <a:pt x="101" y="35"/>
                </a:lnTo>
                <a:lnTo>
                  <a:pt x="201" y="255"/>
                </a:lnTo>
                <a:lnTo>
                  <a:pt x="114" y="255"/>
                </a:lnTo>
                <a:close/>
                <a:moveTo>
                  <a:pt x="886" y="45"/>
                </a:moveTo>
                <a:lnTo>
                  <a:pt x="753" y="45"/>
                </a:lnTo>
                <a:lnTo>
                  <a:pt x="749" y="46"/>
                </a:lnTo>
                <a:lnTo>
                  <a:pt x="745" y="48"/>
                </a:lnTo>
                <a:lnTo>
                  <a:pt x="740" y="51"/>
                </a:lnTo>
                <a:lnTo>
                  <a:pt x="739" y="57"/>
                </a:lnTo>
                <a:lnTo>
                  <a:pt x="692" y="248"/>
                </a:lnTo>
                <a:lnTo>
                  <a:pt x="575" y="107"/>
                </a:lnTo>
                <a:lnTo>
                  <a:pt x="573" y="105"/>
                </a:lnTo>
                <a:lnTo>
                  <a:pt x="571" y="104"/>
                </a:lnTo>
                <a:lnTo>
                  <a:pt x="568" y="103"/>
                </a:lnTo>
                <a:lnTo>
                  <a:pt x="564" y="102"/>
                </a:lnTo>
                <a:lnTo>
                  <a:pt x="561" y="102"/>
                </a:lnTo>
                <a:lnTo>
                  <a:pt x="559" y="103"/>
                </a:lnTo>
                <a:lnTo>
                  <a:pt x="556" y="104"/>
                </a:lnTo>
                <a:lnTo>
                  <a:pt x="554" y="106"/>
                </a:lnTo>
                <a:lnTo>
                  <a:pt x="524" y="135"/>
                </a:lnTo>
                <a:lnTo>
                  <a:pt x="345" y="135"/>
                </a:lnTo>
                <a:lnTo>
                  <a:pt x="341" y="135"/>
                </a:lnTo>
                <a:lnTo>
                  <a:pt x="339" y="136"/>
                </a:lnTo>
                <a:lnTo>
                  <a:pt x="336" y="138"/>
                </a:lnTo>
                <a:lnTo>
                  <a:pt x="334" y="139"/>
                </a:lnTo>
                <a:lnTo>
                  <a:pt x="333" y="141"/>
                </a:lnTo>
                <a:lnTo>
                  <a:pt x="331" y="144"/>
                </a:lnTo>
                <a:lnTo>
                  <a:pt x="331" y="147"/>
                </a:lnTo>
                <a:lnTo>
                  <a:pt x="330" y="150"/>
                </a:lnTo>
                <a:lnTo>
                  <a:pt x="330" y="255"/>
                </a:lnTo>
                <a:lnTo>
                  <a:pt x="234" y="255"/>
                </a:lnTo>
                <a:lnTo>
                  <a:pt x="123" y="8"/>
                </a:lnTo>
                <a:lnTo>
                  <a:pt x="122" y="6"/>
                </a:lnTo>
                <a:lnTo>
                  <a:pt x="120" y="4"/>
                </a:lnTo>
                <a:lnTo>
                  <a:pt x="117" y="2"/>
                </a:lnTo>
                <a:lnTo>
                  <a:pt x="114" y="1"/>
                </a:lnTo>
                <a:lnTo>
                  <a:pt x="111" y="0"/>
                </a:lnTo>
                <a:lnTo>
                  <a:pt x="109" y="0"/>
                </a:lnTo>
                <a:lnTo>
                  <a:pt x="106" y="0"/>
                </a:lnTo>
                <a:lnTo>
                  <a:pt x="102" y="1"/>
                </a:lnTo>
                <a:lnTo>
                  <a:pt x="8" y="46"/>
                </a:lnTo>
                <a:lnTo>
                  <a:pt x="5" y="48"/>
                </a:lnTo>
                <a:lnTo>
                  <a:pt x="3" y="50"/>
                </a:lnTo>
                <a:lnTo>
                  <a:pt x="2" y="52"/>
                </a:lnTo>
                <a:lnTo>
                  <a:pt x="1" y="54"/>
                </a:lnTo>
                <a:lnTo>
                  <a:pt x="0" y="58"/>
                </a:lnTo>
                <a:lnTo>
                  <a:pt x="0" y="60"/>
                </a:lnTo>
                <a:lnTo>
                  <a:pt x="0" y="63"/>
                </a:lnTo>
                <a:lnTo>
                  <a:pt x="1" y="66"/>
                </a:lnTo>
                <a:lnTo>
                  <a:pt x="82" y="255"/>
                </a:lnTo>
                <a:lnTo>
                  <a:pt x="15" y="255"/>
                </a:lnTo>
                <a:lnTo>
                  <a:pt x="11" y="256"/>
                </a:lnTo>
                <a:lnTo>
                  <a:pt x="7" y="257"/>
                </a:lnTo>
                <a:lnTo>
                  <a:pt x="5" y="259"/>
                </a:lnTo>
                <a:lnTo>
                  <a:pt x="2" y="261"/>
                </a:lnTo>
                <a:lnTo>
                  <a:pt x="1" y="265"/>
                </a:lnTo>
                <a:lnTo>
                  <a:pt x="0" y="268"/>
                </a:lnTo>
                <a:lnTo>
                  <a:pt x="0" y="271"/>
                </a:lnTo>
                <a:lnTo>
                  <a:pt x="1" y="275"/>
                </a:lnTo>
                <a:lnTo>
                  <a:pt x="114" y="635"/>
                </a:lnTo>
                <a:lnTo>
                  <a:pt x="116" y="640"/>
                </a:lnTo>
                <a:lnTo>
                  <a:pt x="120" y="643"/>
                </a:lnTo>
                <a:lnTo>
                  <a:pt x="123" y="645"/>
                </a:lnTo>
                <a:lnTo>
                  <a:pt x="128" y="646"/>
                </a:lnTo>
                <a:lnTo>
                  <a:pt x="596" y="646"/>
                </a:lnTo>
                <a:lnTo>
                  <a:pt x="589" y="676"/>
                </a:lnTo>
                <a:lnTo>
                  <a:pt x="180" y="676"/>
                </a:lnTo>
                <a:lnTo>
                  <a:pt x="172" y="676"/>
                </a:lnTo>
                <a:lnTo>
                  <a:pt x="165" y="677"/>
                </a:lnTo>
                <a:lnTo>
                  <a:pt x="157" y="679"/>
                </a:lnTo>
                <a:lnTo>
                  <a:pt x="151" y="682"/>
                </a:lnTo>
                <a:lnTo>
                  <a:pt x="144" y="685"/>
                </a:lnTo>
                <a:lnTo>
                  <a:pt x="138" y="689"/>
                </a:lnTo>
                <a:lnTo>
                  <a:pt x="131" y="693"/>
                </a:lnTo>
                <a:lnTo>
                  <a:pt x="127" y="698"/>
                </a:lnTo>
                <a:lnTo>
                  <a:pt x="122" y="703"/>
                </a:lnTo>
                <a:lnTo>
                  <a:pt x="117" y="709"/>
                </a:lnTo>
                <a:lnTo>
                  <a:pt x="113" y="716"/>
                </a:lnTo>
                <a:lnTo>
                  <a:pt x="110" y="722"/>
                </a:lnTo>
                <a:lnTo>
                  <a:pt x="108" y="729"/>
                </a:lnTo>
                <a:lnTo>
                  <a:pt x="106" y="736"/>
                </a:lnTo>
                <a:lnTo>
                  <a:pt x="105" y="744"/>
                </a:lnTo>
                <a:lnTo>
                  <a:pt x="105" y="751"/>
                </a:lnTo>
                <a:lnTo>
                  <a:pt x="105" y="759"/>
                </a:lnTo>
                <a:lnTo>
                  <a:pt x="106" y="766"/>
                </a:lnTo>
                <a:lnTo>
                  <a:pt x="108" y="774"/>
                </a:lnTo>
                <a:lnTo>
                  <a:pt x="110" y="780"/>
                </a:lnTo>
                <a:lnTo>
                  <a:pt x="113" y="787"/>
                </a:lnTo>
                <a:lnTo>
                  <a:pt x="117" y="793"/>
                </a:lnTo>
                <a:lnTo>
                  <a:pt x="122" y="798"/>
                </a:lnTo>
                <a:lnTo>
                  <a:pt x="127" y="804"/>
                </a:lnTo>
                <a:lnTo>
                  <a:pt x="131" y="809"/>
                </a:lnTo>
                <a:lnTo>
                  <a:pt x="138" y="813"/>
                </a:lnTo>
                <a:lnTo>
                  <a:pt x="144" y="818"/>
                </a:lnTo>
                <a:lnTo>
                  <a:pt x="151" y="821"/>
                </a:lnTo>
                <a:lnTo>
                  <a:pt x="157" y="823"/>
                </a:lnTo>
                <a:lnTo>
                  <a:pt x="165" y="825"/>
                </a:lnTo>
                <a:lnTo>
                  <a:pt x="172" y="826"/>
                </a:lnTo>
                <a:lnTo>
                  <a:pt x="180" y="826"/>
                </a:lnTo>
                <a:lnTo>
                  <a:pt x="187" y="826"/>
                </a:lnTo>
                <a:lnTo>
                  <a:pt x="195" y="825"/>
                </a:lnTo>
                <a:lnTo>
                  <a:pt x="202" y="823"/>
                </a:lnTo>
                <a:lnTo>
                  <a:pt x="209" y="821"/>
                </a:lnTo>
                <a:lnTo>
                  <a:pt x="215" y="818"/>
                </a:lnTo>
                <a:lnTo>
                  <a:pt x="221" y="813"/>
                </a:lnTo>
                <a:lnTo>
                  <a:pt x="228" y="809"/>
                </a:lnTo>
                <a:lnTo>
                  <a:pt x="233" y="804"/>
                </a:lnTo>
                <a:lnTo>
                  <a:pt x="238" y="798"/>
                </a:lnTo>
                <a:lnTo>
                  <a:pt x="242" y="793"/>
                </a:lnTo>
                <a:lnTo>
                  <a:pt x="246" y="787"/>
                </a:lnTo>
                <a:lnTo>
                  <a:pt x="249" y="780"/>
                </a:lnTo>
                <a:lnTo>
                  <a:pt x="251" y="774"/>
                </a:lnTo>
                <a:lnTo>
                  <a:pt x="254" y="766"/>
                </a:lnTo>
                <a:lnTo>
                  <a:pt x="255" y="759"/>
                </a:lnTo>
                <a:lnTo>
                  <a:pt x="255" y="751"/>
                </a:lnTo>
                <a:lnTo>
                  <a:pt x="254" y="738"/>
                </a:lnTo>
                <a:lnTo>
                  <a:pt x="250" y="727"/>
                </a:lnTo>
                <a:lnTo>
                  <a:pt x="246" y="716"/>
                </a:lnTo>
                <a:lnTo>
                  <a:pt x="240" y="706"/>
                </a:lnTo>
                <a:lnTo>
                  <a:pt x="526" y="706"/>
                </a:lnTo>
                <a:lnTo>
                  <a:pt x="519" y="716"/>
                </a:lnTo>
                <a:lnTo>
                  <a:pt x="514" y="727"/>
                </a:lnTo>
                <a:lnTo>
                  <a:pt x="511" y="738"/>
                </a:lnTo>
                <a:lnTo>
                  <a:pt x="510" y="751"/>
                </a:lnTo>
                <a:lnTo>
                  <a:pt x="511" y="759"/>
                </a:lnTo>
                <a:lnTo>
                  <a:pt x="512" y="766"/>
                </a:lnTo>
                <a:lnTo>
                  <a:pt x="514" y="774"/>
                </a:lnTo>
                <a:lnTo>
                  <a:pt x="516" y="780"/>
                </a:lnTo>
                <a:lnTo>
                  <a:pt x="519" y="787"/>
                </a:lnTo>
                <a:lnTo>
                  <a:pt x="523" y="793"/>
                </a:lnTo>
                <a:lnTo>
                  <a:pt x="528" y="798"/>
                </a:lnTo>
                <a:lnTo>
                  <a:pt x="532" y="804"/>
                </a:lnTo>
                <a:lnTo>
                  <a:pt x="538" y="809"/>
                </a:lnTo>
                <a:lnTo>
                  <a:pt x="543" y="813"/>
                </a:lnTo>
                <a:lnTo>
                  <a:pt x="549" y="818"/>
                </a:lnTo>
                <a:lnTo>
                  <a:pt x="556" y="821"/>
                </a:lnTo>
                <a:lnTo>
                  <a:pt x="563" y="823"/>
                </a:lnTo>
                <a:lnTo>
                  <a:pt x="570" y="825"/>
                </a:lnTo>
                <a:lnTo>
                  <a:pt x="577" y="826"/>
                </a:lnTo>
                <a:lnTo>
                  <a:pt x="586" y="826"/>
                </a:lnTo>
                <a:lnTo>
                  <a:pt x="593" y="826"/>
                </a:lnTo>
                <a:lnTo>
                  <a:pt x="601" y="825"/>
                </a:lnTo>
                <a:lnTo>
                  <a:pt x="607" y="823"/>
                </a:lnTo>
                <a:lnTo>
                  <a:pt x="615" y="821"/>
                </a:lnTo>
                <a:lnTo>
                  <a:pt x="621" y="818"/>
                </a:lnTo>
                <a:lnTo>
                  <a:pt x="628" y="813"/>
                </a:lnTo>
                <a:lnTo>
                  <a:pt x="633" y="809"/>
                </a:lnTo>
                <a:lnTo>
                  <a:pt x="638" y="804"/>
                </a:lnTo>
                <a:lnTo>
                  <a:pt x="644" y="798"/>
                </a:lnTo>
                <a:lnTo>
                  <a:pt x="648" y="793"/>
                </a:lnTo>
                <a:lnTo>
                  <a:pt x="651" y="787"/>
                </a:lnTo>
                <a:lnTo>
                  <a:pt x="654" y="780"/>
                </a:lnTo>
                <a:lnTo>
                  <a:pt x="658" y="774"/>
                </a:lnTo>
                <a:lnTo>
                  <a:pt x="659" y="766"/>
                </a:lnTo>
                <a:lnTo>
                  <a:pt x="660" y="759"/>
                </a:lnTo>
                <a:lnTo>
                  <a:pt x="661" y="751"/>
                </a:lnTo>
                <a:lnTo>
                  <a:pt x="660" y="740"/>
                </a:lnTo>
                <a:lnTo>
                  <a:pt x="658" y="730"/>
                </a:lnTo>
                <a:lnTo>
                  <a:pt x="653" y="720"/>
                </a:lnTo>
                <a:lnTo>
                  <a:pt x="649" y="710"/>
                </a:lnTo>
                <a:lnTo>
                  <a:pt x="643" y="702"/>
                </a:lnTo>
                <a:lnTo>
                  <a:pt x="635" y="695"/>
                </a:lnTo>
                <a:lnTo>
                  <a:pt x="627" y="689"/>
                </a:lnTo>
                <a:lnTo>
                  <a:pt x="618" y="684"/>
                </a:lnTo>
                <a:lnTo>
                  <a:pt x="629" y="637"/>
                </a:lnTo>
                <a:lnTo>
                  <a:pt x="630" y="635"/>
                </a:lnTo>
                <a:lnTo>
                  <a:pt x="630" y="634"/>
                </a:lnTo>
                <a:lnTo>
                  <a:pt x="717" y="274"/>
                </a:lnTo>
                <a:lnTo>
                  <a:pt x="765" y="75"/>
                </a:lnTo>
                <a:lnTo>
                  <a:pt x="886" y="75"/>
                </a:lnTo>
                <a:lnTo>
                  <a:pt x="889" y="75"/>
                </a:lnTo>
                <a:lnTo>
                  <a:pt x="891" y="74"/>
                </a:lnTo>
                <a:lnTo>
                  <a:pt x="895" y="73"/>
                </a:lnTo>
                <a:lnTo>
                  <a:pt x="897" y="70"/>
                </a:lnTo>
                <a:lnTo>
                  <a:pt x="899" y="68"/>
                </a:lnTo>
                <a:lnTo>
                  <a:pt x="900" y="66"/>
                </a:lnTo>
                <a:lnTo>
                  <a:pt x="901" y="63"/>
                </a:lnTo>
                <a:lnTo>
                  <a:pt x="901" y="60"/>
                </a:lnTo>
                <a:lnTo>
                  <a:pt x="901" y="57"/>
                </a:lnTo>
                <a:lnTo>
                  <a:pt x="900" y="54"/>
                </a:lnTo>
                <a:lnTo>
                  <a:pt x="899" y="51"/>
                </a:lnTo>
                <a:lnTo>
                  <a:pt x="897" y="49"/>
                </a:lnTo>
                <a:lnTo>
                  <a:pt x="895" y="47"/>
                </a:lnTo>
                <a:lnTo>
                  <a:pt x="891" y="46"/>
                </a:lnTo>
                <a:lnTo>
                  <a:pt x="889" y="45"/>
                </a:lnTo>
                <a:lnTo>
                  <a:pt x="886" y="4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3073">
            <a:extLst>
              <a:ext uri="{FF2B5EF4-FFF2-40B4-BE49-F238E27FC236}">
                <a16:creationId xmlns:a16="http://schemas.microsoft.com/office/drawing/2014/main" id="{6EFEEE46-16D2-4A2A-B6D1-B7C90562337F}"/>
              </a:ext>
            </a:extLst>
          </p:cNvPr>
          <p:cNvSpPr>
            <a:spLocks noEditPoints="1"/>
          </p:cNvSpPr>
          <p:nvPr/>
        </p:nvSpPr>
        <p:spPr bwMode="auto">
          <a:xfrm>
            <a:off x="908208" y="5734051"/>
            <a:ext cx="285750" cy="285750"/>
          </a:xfrm>
          <a:custGeom>
            <a:avLst/>
            <a:gdLst>
              <a:gd name="T0" fmla="*/ 620 w 720"/>
              <a:gd name="T1" fmla="*/ 289 h 719"/>
              <a:gd name="T2" fmla="*/ 600 w 720"/>
              <a:gd name="T3" fmla="*/ 278 h 719"/>
              <a:gd name="T4" fmla="*/ 636 w 720"/>
              <a:gd name="T5" fmla="*/ 145 h 719"/>
              <a:gd name="T6" fmla="*/ 695 w 720"/>
              <a:gd name="T7" fmla="*/ 114 h 719"/>
              <a:gd name="T8" fmla="*/ 680 w 720"/>
              <a:gd name="T9" fmla="*/ 209 h 719"/>
              <a:gd name="T10" fmla="*/ 645 w 720"/>
              <a:gd name="T11" fmla="*/ 270 h 719"/>
              <a:gd name="T12" fmla="*/ 425 w 720"/>
              <a:gd name="T13" fmla="*/ 278 h 719"/>
              <a:gd name="T14" fmla="*/ 416 w 720"/>
              <a:gd name="T15" fmla="*/ 280 h 719"/>
              <a:gd name="T16" fmla="*/ 298 w 720"/>
              <a:gd name="T17" fmla="*/ 282 h 719"/>
              <a:gd name="T18" fmla="*/ 261 w 720"/>
              <a:gd name="T19" fmla="*/ 160 h 719"/>
              <a:gd name="T20" fmla="*/ 332 w 720"/>
              <a:gd name="T21" fmla="*/ 150 h 719"/>
              <a:gd name="T22" fmla="*/ 364 w 720"/>
              <a:gd name="T23" fmla="*/ 101 h 719"/>
              <a:gd name="T24" fmla="*/ 462 w 720"/>
              <a:gd name="T25" fmla="*/ 158 h 719"/>
              <a:gd name="T26" fmla="*/ 49 w 720"/>
              <a:gd name="T27" fmla="*/ 236 h 719"/>
              <a:gd name="T28" fmla="*/ 29 w 720"/>
              <a:gd name="T29" fmla="*/ 170 h 719"/>
              <a:gd name="T30" fmla="*/ 24 w 720"/>
              <a:gd name="T31" fmla="*/ 72 h 719"/>
              <a:gd name="T32" fmla="*/ 90 w 720"/>
              <a:gd name="T33" fmla="*/ 177 h 719"/>
              <a:gd name="T34" fmla="*/ 129 w 720"/>
              <a:gd name="T35" fmla="*/ 298 h 719"/>
              <a:gd name="T36" fmla="*/ 91 w 720"/>
              <a:gd name="T37" fmla="*/ 284 h 719"/>
              <a:gd name="T38" fmla="*/ 719 w 720"/>
              <a:gd name="T39" fmla="*/ 69 h 719"/>
              <a:gd name="T40" fmla="*/ 712 w 720"/>
              <a:gd name="T41" fmla="*/ 50 h 719"/>
              <a:gd name="T42" fmla="*/ 644 w 720"/>
              <a:gd name="T43" fmla="*/ 21 h 719"/>
              <a:gd name="T44" fmla="*/ 632 w 720"/>
              <a:gd name="T45" fmla="*/ 0 h 719"/>
              <a:gd name="T46" fmla="*/ 77 w 720"/>
              <a:gd name="T47" fmla="*/ 13 h 719"/>
              <a:gd name="T48" fmla="*/ 12 w 720"/>
              <a:gd name="T49" fmla="*/ 48 h 719"/>
              <a:gd name="T50" fmla="*/ 0 w 720"/>
              <a:gd name="T51" fmla="*/ 66 h 719"/>
              <a:gd name="T52" fmla="*/ 6 w 720"/>
              <a:gd name="T53" fmla="*/ 177 h 719"/>
              <a:gd name="T54" fmla="*/ 29 w 720"/>
              <a:gd name="T55" fmla="*/ 250 h 719"/>
              <a:gd name="T56" fmla="*/ 73 w 720"/>
              <a:gd name="T57" fmla="*/ 302 h 719"/>
              <a:gd name="T58" fmla="*/ 130 w 720"/>
              <a:gd name="T59" fmla="*/ 322 h 719"/>
              <a:gd name="T60" fmla="*/ 195 w 720"/>
              <a:gd name="T61" fmla="*/ 379 h 719"/>
              <a:gd name="T62" fmla="*/ 288 w 720"/>
              <a:gd name="T63" fmla="*/ 441 h 719"/>
              <a:gd name="T64" fmla="*/ 312 w 720"/>
              <a:gd name="T65" fmla="*/ 476 h 719"/>
              <a:gd name="T66" fmla="*/ 316 w 720"/>
              <a:gd name="T67" fmla="*/ 529 h 719"/>
              <a:gd name="T68" fmla="*/ 299 w 720"/>
              <a:gd name="T69" fmla="*/ 596 h 719"/>
              <a:gd name="T70" fmla="*/ 262 w 720"/>
              <a:gd name="T71" fmla="*/ 628 h 719"/>
              <a:gd name="T72" fmla="*/ 204 w 720"/>
              <a:gd name="T73" fmla="*/ 635 h 719"/>
              <a:gd name="T74" fmla="*/ 192 w 720"/>
              <a:gd name="T75" fmla="*/ 707 h 719"/>
              <a:gd name="T76" fmla="*/ 515 w 720"/>
              <a:gd name="T77" fmla="*/ 719 h 719"/>
              <a:gd name="T78" fmla="*/ 527 w 720"/>
              <a:gd name="T79" fmla="*/ 647 h 719"/>
              <a:gd name="T80" fmla="*/ 501 w 720"/>
              <a:gd name="T81" fmla="*/ 635 h 719"/>
              <a:gd name="T82" fmla="*/ 445 w 720"/>
              <a:gd name="T83" fmla="*/ 618 h 719"/>
              <a:gd name="T84" fmla="*/ 412 w 720"/>
              <a:gd name="T85" fmla="*/ 577 h 719"/>
              <a:gd name="T86" fmla="*/ 401 w 720"/>
              <a:gd name="T87" fmla="*/ 511 h 719"/>
              <a:gd name="T88" fmla="*/ 410 w 720"/>
              <a:gd name="T89" fmla="*/ 470 h 719"/>
              <a:gd name="T90" fmla="*/ 443 w 720"/>
              <a:gd name="T91" fmla="*/ 431 h 719"/>
              <a:gd name="T92" fmla="*/ 537 w 720"/>
              <a:gd name="T93" fmla="*/ 367 h 719"/>
              <a:gd name="T94" fmla="*/ 601 w 720"/>
              <a:gd name="T95" fmla="*/ 321 h 719"/>
              <a:gd name="T96" fmla="*/ 653 w 720"/>
              <a:gd name="T97" fmla="*/ 295 h 719"/>
              <a:gd name="T98" fmla="*/ 696 w 720"/>
              <a:gd name="T99" fmla="*/ 233 h 719"/>
              <a:gd name="T100" fmla="*/ 718 w 720"/>
              <a:gd name="T101" fmla="*/ 141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0" h="719">
                <a:moveTo>
                  <a:pt x="645" y="270"/>
                </a:moveTo>
                <a:lnTo>
                  <a:pt x="640" y="276"/>
                </a:lnTo>
                <a:lnTo>
                  <a:pt x="633" y="280"/>
                </a:lnTo>
                <a:lnTo>
                  <a:pt x="627" y="284"/>
                </a:lnTo>
                <a:lnTo>
                  <a:pt x="620" y="289"/>
                </a:lnTo>
                <a:lnTo>
                  <a:pt x="614" y="291"/>
                </a:lnTo>
                <a:lnTo>
                  <a:pt x="606" y="295"/>
                </a:lnTo>
                <a:lnTo>
                  <a:pt x="599" y="296"/>
                </a:lnTo>
                <a:lnTo>
                  <a:pt x="590" y="298"/>
                </a:lnTo>
                <a:lnTo>
                  <a:pt x="600" y="278"/>
                </a:lnTo>
                <a:lnTo>
                  <a:pt x="609" y="257"/>
                </a:lnTo>
                <a:lnTo>
                  <a:pt x="618" y="233"/>
                </a:lnTo>
                <a:lnTo>
                  <a:pt x="625" y="207"/>
                </a:lnTo>
                <a:lnTo>
                  <a:pt x="631" y="177"/>
                </a:lnTo>
                <a:lnTo>
                  <a:pt x="636" y="145"/>
                </a:lnTo>
                <a:lnTo>
                  <a:pt x="639" y="110"/>
                </a:lnTo>
                <a:lnTo>
                  <a:pt x="643" y="72"/>
                </a:lnTo>
                <a:lnTo>
                  <a:pt x="695" y="72"/>
                </a:lnTo>
                <a:lnTo>
                  <a:pt x="695" y="90"/>
                </a:lnTo>
                <a:lnTo>
                  <a:pt x="695" y="114"/>
                </a:lnTo>
                <a:lnTo>
                  <a:pt x="694" y="140"/>
                </a:lnTo>
                <a:lnTo>
                  <a:pt x="690" y="167"/>
                </a:lnTo>
                <a:lnTo>
                  <a:pt x="687" y="182"/>
                </a:lnTo>
                <a:lnTo>
                  <a:pt x="684" y="196"/>
                </a:lnTo>
                <a:lnTo>
                  <a:pt x="680" y="209"/>
                </a:lnTo>
                <a:lnTo>
                  <a:pt x="675" y="223"/>
                </a:lnTo>
                <a:lnTo>
                  <a:pt x="669" y="236"/>
                </a:lnTo>
                <a:lnTo>
                  <a:pt x="662" y="248"/>
                </a:lnTo>
                <a:lnTo>
                  <a:pt x="655" y="259"/>
                </a:lnTo>
                <a:lnTo>
                  <a:pt x="645" y="270"/>
                </a:lnTo>
                <a:lnTo>
                  <a:pt x="645" y="270"/>
                </a:lnTo>
                <a:close/>
                <a:moveTo>
                  <a:pt x="460" y="160"/>
                </a:moveTo>
                <a:lnTo>
                  <a:pt x="402" y="205"/>
                </a:lnTo>
                <a:lnTo>
                  <a:pt x="425" y="273"/>
                </a:lnTo>
                <a:lnTo>
                  <a:pt x="425" y="278"/>
                </a:lnTo>
                <a:lnTo>
                  <a:pt x="424" y="280"/>
                </a:lnTo>
                <a:lnTo>
                  <a:pt x="421" y="282"/>
                </a:lnTo>
                <a:lnTo>
                  <a:pt x="420" y="282"/>
                </a:lnTo>
                <a:lnTo>
                  <a:pt x="418" y="282"/>
                </a:lnTo>
                <a:lnTo>
                  <a:pt x="416" y="280"/>
                </a:lnTo>
                <a:lnTo>
                  <a:pt x="360" y="235"/>
                </a:lnTo>
                <a:lnTo>
                  <a:pt x="304" y="280"/>
                </a:lnTo>
                <a:lnTo>
                  <a:pt x="303" y="282"/>
                </a:lnTo>
                <a:lnTo>
                  <a:pt x="300" y="282"/>
                </a:lnTo>
                <a:lnTo>
                  <a:pt x="298" y="282"/>
                </a:lnTo>
                <a:lnTo>
                  <a:pt x="297" y="280"/>
                </a:lnTo>
                <a:lnTo>
                  <a:pt x="294" y="278"/>
                </a:lnTo>
                <a:lnTo>
                  <a:pt x="294" y="273"/>
                </a:lnTo>
                <a:lnTo>
                  <a:pt x="317" y="205"/>
                </a:lnTo>
                <a:lnTo>
                  <a:pt x="261" y="160"/>
                </a:lnTo>
                <a:lnTo>
                  <a:pt x="259" y="158"/>
                </a:lnTo>
                <a:lnTo>
                  <a:pt x="259" y="154"/>
                </a:lnTo>
                <a:lnTo>
                  <a:pt x="261" y="151"/>
                </a:lnTo>
                <a:lnTo>
                  <a:pt x="264" y="150"/>
                </a:lnTo>
                <a:lnTo>
                  <a:pt x="332" y="150"/>
                </a:lnTo>
                <a:lnTo>
                  <a:pt x="354" y="101"/>
                </a:lnTo>
                <a:lnTo>
                  <a:pt x="356" y="97"/>
                </a:lnTo>
                <a:lnTo>
                  <a:pt x="358" y="97"/>
                </a:lnTo>
                <a:lnTo>
                  <a:pt x="362" y="97"/>
                </a:lnTo>
                <a:lnTo>
                  <a:pt x="364" y="101"/>
                </a:lnTo>
                <a:lnTo>
                  <a:pt x="388" y="150"/>
                </a:lnTo>
                <a:lnTo>
                  <a:pt x="456" y="150"/>
                </a:lnTo>
                <a:lnTo>
                  <a:pt x="460" y="151"/>
                </a:lnTo>
                <a:lnTo>
                  <a:pt x="462" y="154"/>
                </a:lnTo>
                <a:lnTo>
                  <a:pt x="462" y="158"/>
                </a:lnTo>
                <a:lnTo>
                  <a:pt x="460" y="160"/>
                </a:lnTo>
                <a:close/>
                <a:moveTo>
                  <a:pt x="72" y="270"/>
                </a:moveTo>
                <a:lnTo>
                  <a:pt x="63" y="260"/>
                </a:lnTo>
                <a:lnTo>
                  <a:pt x="55" y="248"/>
                </a:lnTo>
                <a:lnTo>
                  <a:pt x="49" y="236"/>
                </a:lnTo>
                <a:lnTo>
                  <a:pt x="43" y="225"/>
                </a:lnTo>
                <a:lnTo>
                  <a:pt x="38" y="211"/>
                </a:lnTo>
                <a:lnTo>
                  <a:pt x="35" y="198"/>
                </a:lnTo>
                <a:lnTo>
                  <a:pt x="31" y="184"/>
                </a:lnTo>
                <a:lnTo>
                  <a:pt x="29" y="170"/>
                </a:lnTo>
                <a:lnTo>
                  <a:pt x="27" y="142"/>
                </a:lnTo>
                <a:lnTo>
                  <a:pt x="24" y="116"/>
                </a:lnTo>
                <a:lnTo>
                  <a:pt x="24" y="9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78" y="72"/>
                </a:lnTo>
                <a:lnTo>
                  <a:pt x="80" y="110"/>
                </a:lnTo>
                <a:lnTo>
                  <a:pt x="85" y="145"/>
                </a:lnTo>
                <a:lnTo>
                  <a:pt x="90" y="177"/>
                </a:lnTo>
                <a:lnTo>
                  <a:pt x="96" y="207"/>
                </a:lnTo>
                <a:lnTo>
                  <a:pt x="103" y="233"/>
                </a:lnTo>
                <a:lnTo>
                  <a:pt x="111" y="257"/>
                </a:lnTo>
                <a:lnTo>
                  <a:pt x="119" y="278"/>
                </a:lnTo>
                <a:lnTo>
                  <a:pt x="129" y="298"/>
                </a:lnTo>
                <a:lnTo>
                  <a:pt x="121" y="296"/>
                </a:lnTo>
                <a:lnTo>
                  <a:pt x="112" y="295"/>
                </a:lnTo>
                <a:lnTo>
                  <a:pt x="105" y="291"/>
                </a:lnTo>
                <a:lnTo>
                  <a:pt x="98" y="289"/>
                </a:lnTo>
                <a:lnTo>
                  <a:pt x="91" y="284"/>
                </a:lnTo>
                <a:lnTo>
                  <a:pt x="84" y="280"/>
                </a:lnTo>
                <a:lnTo>
                  <a:pt x="78" y="276"/>
                </a:lnTo>
                <a:lnTo>
                  <a:pt x="72" y="270"/>
                </a:lnTo>
                <a:lnTo>
                  <a:pt x="72" y="270"/>
                </a:lnTo>
                <a:close/>
                <a:moveTo>
                  <a:pt x="719" y="69"/>
                </a:moveTo>
                <a:lnTo>
                  <a:pt x="719" y="64"/>
                </a:lnTo>
                <a:lnTo>
                  <a:pt x="719" y="60"/>
                </a:lnTo>
                <a:lnTo>
                  <a:pt x="719" y="56"/>
                </a:lnTo>
                <a:lnTo>
                  <a:pt x="715" y="52"/>
                </a:lnTo>
                <a:lnTo>
                  <a:pt x="712" y="50"/>
                </a:lnTo>
                <a:lnTo>
                  <a:pt x="707" y="48"/>
                </a:lnTo>
                <a:lnTo>
                  <a:pt x="643" y="48"/>
                </a:lnTo>
                <a:lnTo>
                  <a:pt x="644" y="39"/>
                </a:lnTo>
                <a:lnTo>
                  <a:pt x="644" y="31"/>
                </a:lnTo>
                <a:lnTo>
                  <a:pt x="644" y="21"/>
                </a:lnTo>
                <a:lnTo>
                  <a:pt x="644" y="13"/>
                </a:lnTo>
                <a:lnTo>
                  <a:pt x="643" y="8"/>
                </a:lnTo>
                <a:lnTo>
                  <a:pt x="640" y="3"/>
                </a:lnTo>
                <a:lnTo>
                  <a:pt x="637" y="1"/>
                </a:lnTo>
                <a:lnTo>
                  <a:pt x="632" y="0"/>
                </a:lnTo>
                <a:lnTo>
                  <a:pt x="88" y="0"/>
                </a:lnTo>
                <a:lnTo>
                  <a:pt x="84" y="1"/>
                </a:lnTo>
                <a:lnTo>
                  <a:pt x="80" y="3"/>
                </a:lnTo>
                <a:lnTo>
                  <a:pt x="78" y="8"/>
                </a:lnTo>
                <a:lnTo>
                  <a:pt x="77" y="13"/>
                </a:lnTo>
                <a:lnTo>
                  <a:pt x="77" y="21"/>
                </a:lnTo>
                <a:lnTo>
                  <a:pt x="77" y="31"/>
                </a:lnTo>
                <a:lnTo>
                  <a:pt x="77" y="39"/>
                </a:lnTo>
                <a:lnTo>
                  <a:pt x="77" y="48"/>
                </a:lnTo>
                <a:lnTo>
                  <a:pt x="12" y="48"/>
                </a:lnTo>
                <a:lnTo>
                  <a:pt x="8" y="50"/>
                </a:lnTo>
                <a:lnTo>
                  <a:pt x="4" y="52"/>
                </a:lnTo>
                <a:lnTo>
                  <a:pt x="2" y="56"/>
                </a:lnTo>
                <a:lnTo>
                  <a:pt x="0" y="60"/>
                </a:lnTo>
                <a:lnTo>
                  <a:pt x="0" y="66"/>
                </a:lnTo>
                <a:lnTo>
                  <a:pt x="0" y="72"/>
                </a:lnTo>
                <a:lnTo>
                  <a:pt x="0" y="94"/>
                </a:lnTo>
                <a:lnTo>
                  <a:pt x="0" y="119"/>
                </a:lnTo>
                <a:lnTo>
                  <a:pt x="3" y="147"/>
                </a:lnTo>
                <a:lnTo>
                  <a:pt x="6" y="177"/>
                </a:lnTo>
                <a:lnTo>
                  <a:pt x="9" y="192"/>
                </a:lnTo>
                <a:lnTo>
                  <a:pt x="12" y="207"/>
                </a:lnTo>
                <a:lnTo>
                  <a:pt x="17" y="222"/>
                </a:lnTo>
                <a:lnTo>
                  <a:pt x="22" y="236"/>
                </a:lnTo>
                <a:lnTo>
                  <a:pt x="29" y="250"/>
                </a:lnTo>
                <a:lnTo>
                  <a:pt x="36" y="263"/>
                </a:lnTo>
                <a:lnTo>
                  <a:pt x="44" y="276"/>
                </a:lnTo>
                <a:lnTo>
                  <a:pt x="55" y="286"/>
                </a:lnTo>
                <a:lnTo>
                  <a:pt x="63" y="295"/>
                </a:lnTo>
                <a:lnTo>
                  <a:pt x="73" y="302"/>
                </a:lnTo>
                <a:lnTo>
                  <a:pt x="84" y="308"/>
                </a:lnTo>
                <a:lnTo>
                  <a:pt x="94" y="314"/>
                </a:lnTo>
                <a:lnTo>
                  <a:pt x="106" y="317"/>
                </a:lnTo>
                <a:lnTo>
                  <a:pt x="118" y="321"/>
                </a:lnTo>
                <a:lnTo>
                  <a:pt x="130" y="322"/>
                </a:lnTo>
                <a:lnTo>
                  <a:pt x="143" y="323"/>
                </a:lnTo>
                <a:lnTo>
                  <a:pt x="156" y="340"/>
                </a:lnTo>
                <a:lnTo>
                  <a:pt x="169" y="355"/>
                </a:lnTo>
                <a:lnTo>
                  <a:pt x="182" y="368"/>
                </a:lnTo>
                <a:lnTo>
                  <a:pt x="195" y="379"/>
                </a:lnTo>
                <a:lnTo>
                  <a:pt x="222" y="398"/>
                </a:lnTo>
                <a:lnTo>
                  <a:pt x="248" y="414"/>
                </a:lnTo>
                <a:lnTo>
                  <a:pt x="262" y="423"/>
                </a:lnTo>
                <a:lnTo>
                  <a:pt x="276" y="433"/>
                </a:lnTo>
                <a:lnTo>
                  <a:pt x="288" y="441"/>
                </a:lnTo>
                <a:lnTo>
                  <a:pt x="298" y="452"/>
                </a:lnTo>
                <a:lnTo>
                  <a:pt x="303" y="456"/>
                </a:lnTo>
                <a:lnTo>
                  <a:pt x="306" y="462"/>
                </a:lnTo>
                <a:lnTo>
                  <a:pt x="310" y="470"/>
                </a:lnTo>
                <a:lnTo>
                  <a:pt x="312" y="476"/>
                </a:lnTo>
                <a:lnTo>
                  <a:pt x="314" y="484"/>
                </a:lnTo>
                <a:lnTo>
                  <a:pt x="316" y="492"/>
                </a:lnTo>
                <a:lnTo>
                  <a:pt x="317" y="500"/>
                </a:lnTo>
                <a:lnTo>
                  <a:pt x="317" y="510"/>
                </a:lnTo>
                <a:lnTo>
                  <a:pt x="316" y="529"/>
                </a:lnTo>
                <a:lnTo>
                  <a:pt x="314" y="546"/>
                </a:lnTo>
                <a:lnTo>
                  <a:pt x="312" y="561"/>
                </a:lnTo>
                <a:lnTo>
                  <a:pt x="308" y="574"/>
                </a:lnTo>
                <a:lnTo>
                  <a:pt x="305" y="586"/>
                </a:lnTo>
                <a:lnTo>
                  <a:pt x="299" y="596"/>
                </a:lnTo>
                <a:lnTo>
                  <a:pt x="293" y="605"/>
                </a:lnTo>
                <a:lnTo>
                  <a:pt x="287" y="612"/>
                </a:lnTo>
                <a:lnTo>
                  <a:pt x="279" y="618"/>
                </a:lnTo>
                <a:lnTo>
                  <a:pt x="270" y="623"/>
                </a:lnTo>
                <a:lnTo>
                  <a:pt x="262" y="628"/>
                </a:lnTo>
                <a:lnTo>
                  <a:pt x="251" y="630"/>
                </a:lnTo>
                <a:lnTo>
                  <a:pt x="241" y="633"/>
                </a:lnTo>
                <a:lnTo>
                  <a:pt x="230" y="634"/>
                </a:lnTo>
                <a:lnTo>
                  <a:pt x="217" y="635"/>
                </a:lnTo>
                <a:lnTo>
                  <a:pt x="204" y="635"/>
                </a:lnTo>
                <a:lnTo>
                  <a:pt x="199" y="636"/>
                </a:lnTo>
                <a:lnTo>
                  <a:pt x="195" y="638"/>
                </a:lnTo>
                <a:lnTo>
                  <a:pt x="193" y="642"/>
                </a:lnTo>
                <a:lnTo>
                  <a:pt x="192" y="647"/>
                </a:lnTo>
                <a:lnTo>
                  <a:pt x="192" y="707"/>
                </a:lnTo>
                <a:lnTo>
                  <a:pt x="193" y="711"/>
                </a:lnTo>
                <a:lnTo>
                  <a:pt x="195" y="716"/>
                </a:lnTo>
                <a:lnTo>
                  <a:pt x="199" y="718"/>
                </a:lnTo>
                <a:lnTo>
                  <a:pt x="204" y="719"/>
                </a:lnTo>
                <a:lnTo>
                  <a:pt x="515" y="719"/>
                </a:lnTo>
                <a:lnTo>
                  <a:pt x="520" y="718"/>
                </a:lnTo>
                <a:lnTo>
                  <a:pt x="524" y="716"/>
                </a:lnTo>
                <a:lnTo>
                  <a:pt x="526" y="711"/>
                </a:lnTo>
                <a:lnTo>
                  <a:pt x="527" y="707"/>
                </a:lnTo>
                <a:lnTo>
                  <a:pt x="527" y="647"/>
                </a:lnTo>
                <a:lnTo>
                  <a:pt x="526" y="642"/>
                </a:lnTo>
                <a:lnTo>
                  <a:pt x="524" y="638"/>
                </a:lnTo>
                <a:lnTo>
                  <a:pt x="520" y="636"/>
                </a:lnTo>
                <a:lnTo>
                  <a:pt x="515" y="635"/>
                </a:lnTo>
                <a:lnTo>
                  <a:pt x="501" y="635"/>
                </a:lnTo>
                <a:lnTo>
                  <a:pt x="488" y="634"/>
                </a:lnTo>
                <a:lnTo>
                  <a:pt x="476" y="631"/>
                </a:lnTo>
                <a:lnTo>
                  <a:pt x="464" y="628"/>
                </a:lnTo>
                <a:lnTo>
                  <a:pt x="455" y="623"/>
                </a:lnTo>
                <a:lnTo>
                  <a:pt x="445" y="618"/>
                </a:lnTo>
                <a:lnTo>
                  <a:pt x="437" y="612"/>
                </a:lnTo>
                <a:lnTo>
                  <a:pt x="429" y="605"/>
                </a:lnTo>
                <a:lnTo>
                  <a:pt x="423" y="597"/>
                </a:lnTo>
                <a:lnTo>
                  <a:pt x="417" y="587"/>
                </a:lnTo>
                <a:lnTo>
                  <a:pt x="412" y="577"/>
                </a:lnTo>
                <a:lnTo>
                  <a:pt x="408" y="566"/>
                </a:lnTo>
                <a:lnTo>
                  <a:pt x="405" y="554"/>
                </a:lnTo>
                <a:lnTo>
                  <a:pt x="402" y="541"/>
                </a:lnTo>
                <a:lnTo>
                  <a:pt x="401" y="525"/>
                </a:lnTo>
                <a:lnTo>
                  <a:pt x="401" y="511"/>
                </a:lnTo>
                <a:lnTo>
                  <a:pt x="401" y="500"/>
                </a:lnTo>
                <a:lnTo>
                  <a:pt x="402" y="492"/>
                </a:lnTo>
                <a:lnTo>
                  <a:pt x="404" y="484"/>
                </a:lnTo>
                <a:lnTo>
                  <a:pt x="406" y="476"/>
                </a:lnTo>
                <a:lnTo>
                  <a:pt x="410" y="470"/>
                </a:lnTo>
                <a:lnTo>
                  <a:pt x="412" y="462"/>
                </a:lnTo>
                <a:lnTo>
                  <a:pt x="417" y="456"/>
                </a:lnTo>
                <a:lnTo>
                  <a:pt x="420" y="451"/>
                </a:lnTo>
                <a:lnTo>
                  <a:pt x="431" y="441"/>
                </a:lnTo>
                <a:lnTo>
                  <a:pt x="443" y="431"/>
                </a:lnTo>
                <a:lnTo>
                  <a:pt x="456" y="423"/>
                </a:lnTo>
                <a:lnTo>
                  <a:pt x="471" y="414"/>
                </a:lnTo>
                <a:lnTo>
                  <a:pt x="498" y="398"/>
                </a:lnTo>
                <a:lnTo>
                  <a:pt x="524" y="379"/>
                </a:lnTo>
                <a:lnTo>
                  <a:pt x="537" y="367"/>
                </a:lnTo>
                <a:lnTo>
                  <a:pt x="550" y="354"/>
                </a:lnTo>
                <a:lnTo>
                  <a:pt x="563" y="340"/>
                </a:lnTo>
                <a:lnTo>
                  <a:pt x="575" y="323"/>
                </a:lnTo>
                <a:lnTo>
                  <a:pt x="588" y="322"/>
                </a:lnTo>
                <a:lnTo>
                  <a:pt x="601" y="321"/>
                </a:lnTo>
                <a:lnTo>
                  <a:pt x="612" y="317"/>
                </a:lnTo>
                <a:lnTo>
                  <a:pt x="624" y="314"/>
                </a:lnTo>
                <a:lnTo>
                  <a:pt x="634" y="308"/>
                </a:lnTo>
                <a:lnTo>
                  <a:pt x="644" y="302"/>
                </a:lnTo>
                <a:lnTo>
                  <a:pt x="653" y="295"/>
                </a:lnTo>
                <a:lnTo>
                  <a:pt x="663" y="286"/>
                </a:lnTo>
                <a:lnTo>
                  <a:pt x="672" y="274"/>
                </a:lnTo>
                <a:lnTo>
                  <a:pt x="682" y="261"/>
                </a:lnTo>
                <a:lnTo>
                  <a:pt x="690" y="248"/>
                </a:lnTo>
                <a:lnTo>
                  <a:pt x="696" y="233"/>
                </a:lnTo>
                <a:lnTo>
                  <a:pt x="702" y="219"/>
                </a:lnTo>
                <a:lnTo>
                  <a:pt x="707" y="203"/>
                </a:lnTo>
                <a:lnTo>
                  <a:pt x="711" y="188"/>
                </a:lnTo>
                <a:lnTo>
                  <a:pt x="713" y="171"/>
                </a:lnTo>
                <a:lnTo>
                  <a:pt x="718" y="141"/>
                </a:lnTo>
                <a:lnTo>
                  <a:pt x="719" y="113"/>
                </a:lnTo>
                <a:lnTo>
                  <a:pt x="720" y="88"/>
                </a:lnTo>
                <a:lnTo>
                  <a:pt x="719" y="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86733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431800" y="191214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TAB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A22ABB57-F0EC-4286-B1AC-36841ACD99BD}" type="datetime1">
              <a:rPr lang="en-US" smtClean="0"/>
              <a:t>4/7/2024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794E2DD-4F38-4D2A-97E5-5D7467AA1DEC}" type="slidenum">
              <a:rPr lang="en-US" smtClean="0"/>
              <a:t>15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5807D1-3318-4BBB-AB4D-32C21D92ABDB}"/>
              </a:ext>
            </a:extLst>
          </p:cNvPr>
          <p:cNvCxnSpPr/>
          <p:nvPr/>
        </p:nvCxnSpPr>
        <p:spPr>
          <a:xfrm>
            <a:off x="2638845" y="1193453"/>
            <a:ext cx="0" cy="49312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B959DDA-3A6D-4191-AB9B-0DB16E7D71E2}"/>
              </a:ext>
            </a:extLst>
          </p:cNvPr>
          <p:cNvCxnSpPr/>
          <p:nvPr/>
        </p:nvCxnSpPr>
        <p:spPr>
          <a:xfrm>
            <a:off x="4943616" y="1193453"/>
            <a:ext cx="0" cy="49312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49C9BF0-54D9-44A4-A74A-2981F5C551EF}"/>
              </a:ext>
            </a:extLst>
          </p:cNvPr>
          <p:cNvCxnSpPr/>
          <p:nvPr/>
        </p:nvCxnSpPr>
        <p:spPr>
          <a:xfrm>
            <a:off x="7248387" y="1193453"/>
            <a:ext cx="0" cy="49312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067D90A-A2B1-49CC-8087-888224E7D34E}"/>
              </a:ext>
            </a:extLst>
          </p:cNvPr>
          <p:cNvCxnSpPr/>
          <p:nvPr/>
        </p:nvCxnSpPr>
        <p:spPr>
          <a:xfrm>
            <a:off x="9553158" y="1193453"/>
            <a:ext cx="0" cy="493122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295F50F7-39F1-459A-83EA-1AE370A98681}"/>
              </a:ext>
            </a:extLst>
          </p:cNvPr>
          <p:cNvSpPr/>
          <p:nvPr/>
        </p:nvSpPr>
        <p:spPr>
          <a:xfrm>
            <a:off x="431800" y="1344038"/>
            <a:ext cx="2109319" cy="4865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SIC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DA9964B-3E2B-42C9-BCCA-46FBF371C7C7}"/>
              </a:ext>
            </a:extLst>
          </p:cNvPr>
          <p:cNvSpPr/>
          <p:nvPr/>
        </p:nvSpPr>
        <p:spPr>
          <a:xfrm>
            <a:off x="2736571" y="1344038"/>
            <a:ext cx="2109319" cy="48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CD70885-A33E-4FDA-9BF5-395339D66A36}"/>
              </a:ext>
            </a:extLst>
          </p:cNvPr>
          <p:cNvSpPr/>
          <p:nvPr/>
        </p:nvSpPr>
        <p:spPr>
          <a:xfrm>
            <a:off x="5041342" y="1344038"/>
            <a:ext cx="2109319" cy="4865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VANCED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8D679E4-F2EF-4722-8183-B44BD1999C26}"/>
              </a:ext>
            </a:extLst>
          </p:cNvPr>
          <p:cNvSpPr/>
          <p:nvPr/>
        </p:nvSpPr>
        <p:spPr>
          <a:xfrm>
            <a:off x="7346113" y="1344038"/>
            <a:ext cx="2109319" cy="48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SINES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BF48E03-07B6-4612-9433-E3018C824D9C}"/>
              </a:ext>
            </a:extLst>
          </p:cNvPr>
          <p:cNvSpPr/>
          <p:nvPr/>
        </p:nvSpPr>
        <p:spPr>
          <a:xfrm>
            <a:off x="9650881" y="1344038"/>
            <a:ext cx="2109319" cy="4865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MIUM</a:t>
            </a:r>
          </a:p>
        </p:txBody>
      </p:sp>
      <p:sp>
        <p:nvSpPr>
          <p:cNvPr id="55" name="Freeform 4623">
            <a:extLst>
              <a:ext uri="{FF2B5EF4-FFF2-40B4-BE49-F238E27FC236}">
                <a16:creationId xmlns:a16="http://schemas.microsoft.com/office/drawing/2014/main" id="{FCF47340-B1A7-4B23-8C50-7644BEA19A7C}"/>
              </a:ext>
            </a:extLst>
          </p:cNvPr>
          <p:cNvSpPr>
            <a:spLocks noEditPoints="1"/>
          </p:cNvSpPr>
          <p:nvPr/>
        </p:nvSpPr>
        <p:spPr bwMode="auto">
          <a:xfrm>
            <a:off x="1180194" y="2172220"/>
            <a:ext cx="612531" cy="612531"/>
          </a:xfrm>
          <a:custGeom>
            <a:avLst/>
            <a:gdLst>
              <a:gd name="T0" fmla="*/ 254 w 904"/>
              <a:gd name="T1" fmla="*/ 662 h 903"/>
              <a:gd name="T2" fmla="*/ 483 w 904"/>
              <a:gd name="T3" fmla="*/ 662 h 903"/>
              <a:gd name="T4" fmla="*/ 440 w 904"/>
              <a:gd name="T5" fmla="*/ 391 h 903"/>
              <a:gd name="T6" fmla="*/ 211 w 904"/>
              <a:gd name="T7" fmla="*/ 391 h 903"/>
              <a:gd name="T8" fmla="*/ 894 w 904"/>
              <a:gd name="T9" fmla="*/ 53 h 903"/>
              <a:gd name="T10" fmla="*/ 900 w 904"/>
              <a:gd name="T11" fmla="*/ 42 h 903"/>
              <a:gd name="T12" fmla="*/ 904 w 904"/>
              <a:gd name="T13" fmla="*/ 31 h 903"/>
              <a:gd name="T14" fmla="*/ 903 w 904"/>
              <a:gd name="T15" fmla="*/ 20 h 903"/>
              <a:gd name="T16" fmla="*/ 896 w 904"/>
              <a:gd name="T17" fmla="*/ 10 h 903"/>
              <a:gd name="T18" fmla="*/ 887 w 904"/>
              <a:gd name="T19" fmla="*/ 3 h 903"/>
              <a:gd name="T20" fmla="*/ 876 w 904"/>
              <a:gd name="T21" fmla="*/ 0 h 903"/>
              <a:gd name="T22" fmla="*/ 864 w 904"/>
              <a:gd name="T23" fmla="*/ 1 h 903"/>
              <a:gd name="T24" fmla="*/ 854 w 904"/>
              <a:gd name="T25" fmla="*/ 7 h 903"/>
              <a:gd name="T26" fmla="*/ 594 w 904"/>
              <a:gd name="T27" fmla="*/ 237 h 903"/>
              <a:gd name="T28" fmla="*/ 211 w 904"/>
              <a:gd name="T29" fmla="*/ 240 h 903"/>
              <a:gd name="T30" fmla="*/ 211 w 904"/>
              <a:gd name="T31" fmla="*/ 162 h 903"/>
              <a:gd name="T32" fmla="*/ 209 w 904"/>
              <a:gd name="T33" fmla="*/ 156 h 903"/>
              <a:gd name="T34" fmla="*/ 205 w 904"/>
              <a:gd name="T35" fmla="*/ 153 h 903"/>
              <a:gd name="T36" fmla="*/ 199 w 904"/>
              <a:gd name="T37" fmla="*/ 151 h 903"/>
              <a:gd name="T38" fmla="*/ 76 w 904"/>
              <a:gd name="T39" fmla="*/ 150 h 903"/>
              <a:gd name="T40" fmla="*/ 70 w 904"/>
              <a:gd name="T41" fmla="*/ 151 h 903"/>
              <a:gd name="T42" fmla="*/ 65 w 904"/>
              <a:gd name="T43" fmla="*/ 154 h 903"/>
              <a:gd name="T44" fmla="*/ 62 w 904"/>
              <a:gd name="T45" fmla="*/ 160 h 903"/>
              <a:gd name="T46" fmla="*/ 60 w 904"/>
              <a:gd name="T47" fmla="*/ 166 h 903"/>
              <a:gd name="T48" fmla="*/ 15 w 904"/>
              <a:gd name="T49" fmla="*/ 240 h 903"/>
              <a:gd name="T50" fmla="*/ 9 w 904"/>
              <a:gd name="T51" fmla="*/ 241 h 903"/>
              <a:gd name="T52" fmla="*/ 5 w 904"/>
              <a:gd name="T53" fmla="*/ 245 h 903"/>
              <a:gd name="T54" fmla="*/ 1 w 904"/>
              <a:gd name="T55" fmla="*/ 250 h 903"/>
              <a:gd name="T56" fmla="*/ 0 w 904"/>
              <a:gd name="T57" fmla="*/ 256 h 903"/>
              <a:gd name="T58" fmla="*/ 0 w 904"/>
              <a:gd name="T59" fmla="*/ 379 h 903"/>
              <a:gd name="T60" fmla="*/ 3 w 904"/>
              <a:gd name="T61" fmla="*/ 385 h 903"/>
              <a:gd name="T62" fmla="*/ 7 w 904"/>
              <a:gd name="T63" fmla="*/ 388 h 903"/>
              <a:gd name="T64" fmla="*/ 13 w 904"/>
              <a:gd name="T65" fmla="*/ 390 h 903"/>
              <a:gd name="T66" fmla="*/ 60 w 904"/>
              <a:gd name="T67" fmla="*/ 391 h 903"/>
              <a:gd name="T68" fmla="*/ 61 w 904"/>
              <a:gd name="T69" fmla="*/ 800 h 903"/>
              <a:gd name="T70" fmla="*/ 64 w 904"/>
              <a:gd name="T71" fmla="*/ 806 h 903"/>
              <a:gd name="T72" fmla="*/ 67 w 904"/>
              <a:gd name="T73" fmla="*/ 810 h 903"/>
              <a:gd name="T74" fmla="*/ 73 w 904"/>
              <a:gd name="T75" fmla="*/ 813 h 903"/>
              <a:gd name="T76" fmla="*/ 483 w 904"/>
              <a:gd name="T77" fmla="*/ 813 h 903"/>
              <a:gd name="T78" fmla="*/ 483 w 904"/>
              <a:gd name="T79" fmla="*/ 891 h 903"/>
              <a:gd name="T80" fmla="*/ 485 w 904"/>
              <a:gd name="T81" fmla="*/ 896 h 903"/>
              <a:gd name="T82" fmla="*/ 489 w 904"/>
              <a:gd name="T83" fmla="*/ 901 h 903"/>
              <a:gd name="T84" fmla="*/ 494 w 904"/>
              <a:gd name="T85" fmla="*/ 903 h 903"/>
              <a:gd name="T86" fmla="*/ 618 w 904"/>
              <a:gd name="T87" fmla="*/ 903 h 903"/>
              <a:gd name="T88" fmla="*/ 624 w 904"/>
              <a:gd name="T89" fmla="*/ 902 h 903"/>
              <a:gd name="T90" fmla="*/ 628 w 904"/>
              <a:gd name="T91" fmla="*/ 898 h 903"/>
              <a:gd name="T92" fmla="*/ 632 w 904"/>
              <a:gd name="T93" fmla="*/ 894 h 903"/>
              <a:gd name="T94" fmla="*/ 633 w 904"/>
              <a:gd name="T95" fmla="*/ 888 h 903"/>
              <a:gd name="T96" fmla="*/ 708 w 904"/>
              <a:gd name="T97" fmla="*/ 813 h 903"/>
              <a:gd name="T98" fmla="*/ 714 w 904"/>
              <a:gd name="T99" fmla="*/ 812 h 903"/>
              <a:gd name="T100" fmla="*/ 719 w 904"/>
              <a:gd name="T101" fmla="*/ 808 h 903"/>
              <a:gd name="T102" fmla="*/ 722 w 904"/>
              <a:gd name="T103" fmla="*/ 804 h 903"/>
              <a:gd name="T104" fmla="*/ 723 w 904"/>
              <a:gd name="T105" fmla="*/ 798 h 903"/>
              <a:gd name="T106" fmla="*/ 723 w 904"/>
              <a:gd name="T107" fmla="*/ 674 h 903"/>
              <a:gd name="T108" fmla="*/ 721 w 904"/>
              <a:gd name="T109" fmla="*/ 669 h 903"/>
              <a:gd name="T110" fmla="*/ 716 w 904"/>
              <a:gd name="T111" fmla="*/ 665 h 903"/>
              <a:gd name="T112" fmla="*/ 711 w 904"/>
              <a:gd name="T113" fmla="*/ 662 h 903"/>
              <a:gd name="T114" fmla="*/ 633 w 904"/>
              <a:gd name="T115" fmla="*/ 662 h 903"/>
              <a:gd name="T116" fmla="*/ 635 w 904"/>
              <a:gd name="T117" fmla="*/ 280 h 903"/>
              <a:gd name="T118" fmla="*/ 637 w 904"/>
              <a:gd name="T119" fmla="*/ 278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4" h="903">
                <a:moveTo>
                  <a:pt x="483" y="662"/>
                </a:moveTo>
                <a:lnTo>
                  <a:pt x="254" y="662"/>
                </a:lnTo>
                <a:lnTo>
                  <a:pt x="483" y="433"/>
                </a:lnTo>
                <a:lnTo>
                  <a:pt x="483" y="662"/>
                </a:lnTo>
                <a:close/>
                <a:moveTo>
                  <a:pt x="211" y="391"/>
                </a:moveTo>
                <a:lnTo>
                  <a:pt x="440" y="391"/>
                </a:lnTo>
                <a:lnTo>
                  <a:pt x="211" y="620"/>
                </a:lnTo>
                <a:lnTo>
                  <a:pt x="211" y="391"/>
                </a:lnTo>
                <a:close/>
                <a:moveTo>
                  <a:pt x="637" y="278"/>
                </a:moveTo>
                <a:lnTo>
                  <a:pt x="894" y="53"/>
                </a:lnTo>
                <a:lnTo>
                  <a:pt x="898" y="48"/>
                </a:lnTo>
                <a:lnTo>
                  <a:pt x="900" y="42"/>
                </a:lnTo>
                <a:lnTo>
                  <a:pt x="903" y="37"/>
                </a:lnTo>
                <a:lnTo>
                  <a:pt x="904" y="31"/>
                </a:lnTo>
                <a:lnTo>
                  <a:pt x="904" y="25"/>
                </a:lnTo>
                <a:lnTo>
                  <a:pt x="903" y="20"/>
                </a:lnTo>
                <a:lnTo>
                  <a:pt x="900" y="14"/>
                </a:lnTo>
                <a:lnTo>
                  <a:pt x="896" y="10"/>
                </a:lnTo>
                <a:lnTo>
                  <a:pt x="891" y="5"/>
                </a:lnTo>
                <a:lnTo>
                  <a:pt x="887" y="3"/>
                </a:lnTo>
                <a:lnTo>
                  <a:pt x="881" y="1"/>
                </a:lnTo>
                <a:lnTo>
                  <a:pt x="876" y="0"/>
                </a:lnTo>
                <a:lnTo>
                  <a:pt x="870" y="0"/>
                </a:lnTo>
                <a:lnTo>
                  <a:pt x="864" y="1"/>
                </a:lnTo>
                <a:lnTo>
                  <a:pt x="859" y="4"/>
                </a:lnTo>
                <a:lnTo>
                  <a:pt x="854" y="7"/>
                </a:lnTo>
                <a:lnTo>
                  <a:pt x="598" y="233"/>
                </a:lnTo>
                <a:lnTo>
                  <a:pt x="594" y="237"/>
                </a:lnTo>
                <a:lnTo>
                  <a:pt x="592" y="240"/>
                </a:lnTo>
                <a:lnTo>
                  <a:pt x="211" y="240"/>
                </a:lnTo>
                <a:lnTo>
                  <a:pt x="211" y="166"/>
                </a:lnTo>
                <a:lnTo>
                  <a:pt x="211" y="162"/>
                </a:lnTo>
                <a:lnTo>
                  <a:pt x="210" y="160"/>
                </a:lnTo>
                <a:lnTo>
                  <a:pt x="209" y="156"/>
                </a:lnTo>
                <a:lnTo>
                  <a:pt x="207" y="154"/>
                </a:lnTo>
                <a:lnTo>
                  <a:pt x="205" y="153"/>
                </a:lnTo>
                <a:lnTo>
                  <a:pt x="202" y="151"/>
                </a:lnTo>
                <a:lnTo>
                  <a:pt x="199" y="151"/>
                </a:lnTo>
                <a:lnTo>
                  <a:pt x="196" y="150"/>
                </a:lnTo>
                <a:lnTo>
                  <a:pt x="76" y="150"/>
                </a:lnTo>
                <a:lnTo>
                  <a:pt x="73" y="151"/>
                </a:lnTo>
                <a:lnTo>
                  <a:pt x="70" y="151"/>
                </a:lnTo>
                <a:lnTo>
                  <a:pt x="67" y="153"/>
                </a:lnTo>
                <a:lnTo>
                  <a:pt x="65" y="154"/>
                </a:lnTo>
                <a:lnTo>
                  <a:pt x="64" y="156"/>
                </a:lnTo>
                <a:lnTo>
                  <a:pt x="62" y="160"/>
                </a:lnTo>
                <a:lnTo>
                  <a:pt x="61" y="162"/>
                </a:lnTo>
                <a:lnTo>
                  <a:pt x="60" y="166"/>
                </a:lnTo>
                <a:lnTo>
                  <a:pt x="60" y="240"/>
                </a:lnTo>
                <a:lnTo>
                  <a:pt x="15" y="240"/>
                </a:lnTo>
                <a:lnTo>
                  <a:pt x="13" y="241"/>
                </a:lnTo>
                <a:lnTo>
                  <a:pt x="9" y="241"/>
                </a:lnTo>
                <a:lnTo>
                  <a:pt x="7" y="243"/>
                </a:lnTo>
                <a:lnTo>
                  <a:pt x="5" y="245"/>
                </a:lnTo>
                <a:lnTo>
                  <a:pt x="3" y="247"/>
                </a:lnTo>
                <a:lnTo>
                  <a:pt x="1" y="250"/>
                </a:lnTo>
                <a:lnTo>
                  <a:pt x="0" y="252"/>
                </a:lnTo>
                <a:lnTo>
                  <a:pt x="0" y="256"/>
                </a:lnTo>
                <a:lnTo>
                  <a:pt x="0" y="376"/>
                </a:lnTo>
                <a:lnTo>
                  <a:pt x="0" y="379"/>
                </a:lnTo>
                <a:lnTo>
                  <a:pt x="1" y="381"/>
                </a:lnTo>
                <a:lnTo>
                  <a:pt x="3" y="385"/>
                </a:lnTo>
                <a:lnTo>
                  <a:pt x="5" y="387"/>
                </a:lnTo>
                <a:lnTo>
                  <a:pt x="7" y="388"/>
                </a:lnTo>
                <a:lnTo>
                  <a:pt x="9" y="390"/>
                </a:lnTo>
                <a:lnTo>
                  <a:pt x="13" y="390"/>
                </a:lnTo>
                <a:lnTo>
                  <a:pt x="15" y="391"/>
                </a:lnTo>
                <a:lnTo>
                  <a:pt x="60" y="391"/>
                </a:lnTo>
                <a:lnTo>
                  <a:pt x="60" y="798"/>
                </a:lnTo>
                <a:lnTo>
                  <a:pt x="61" y="800"/>
                </a:lnTo>
                <a:lnTo>
                  <a:pt x="62" y="804"/>
                </a:lnTo>
                <a:lnTo>
                  <a:pt x="64" y="806"/>
                </a:lnTo>
                <a:lnTo>
                  <a:pt x="65" y="808"/>
                </a:lnTo>
                <a:lnTo>
                  <a:pt x="67" y="810"/>
                </a:lnTo>
                <a:lnTo>
                  <a:pt x="70" y="812"/>
                </a:lnTo>
                <a:lnTo>
                  <a:pt x="73" y="813"/>
                </a:lnTo>
                <a:lnTo>
                  <a:pt x="76" y="813"/>
                </a:lnTo>
                <a:lnTo>
                  <a:pt x="483" y="813"/>
                </a:lnTo>
                <a:lnTo>
                  <a:pt x="483" y="888"/>
                </a:lnTo>
                <a:lnTo>
                  <a:pt x="483" y="891"/>
                </a:lnTo>
                <a:lnTo>
                  <a:pt x="484" y="894"/>
                </a:lnTo>
                <a:lnTo>
                  <a:pt x="485" y="896"/>
                </a:lnTo>
                <a:lnTo>
                  <a:pt x="487" y="898"/>
                </a:lnTo>
                <a:lnTo>
                  <a:pt x="489" y="901"/>
                </a:lnTo>
                <a:lnTo>
                  <a:pt x="492" y="902"/>
                </a:lnTo>
                <a:lnTo>
                  <a:pt x="494" y="903"/>
                </a:lnTo>
                <a:lnTo>
                  <a:pt x="497" y="903"/>
                </a:lnTo>
                <a:lnTo>
                  <a:pt x="618" y="903"/>
                </a:lnTo>
                <a:lnTo>
                  <a:pt x="620" y="903"/>
                </a:lnTo>
                <a:lnTo>
                  <a:pt x="624" y="902"/>
                </a:lnTo>
                <a:lnTo>
                  <a:pt x="626" y="901"/>
                </a:lnTo>
                <a:lnTo>
                  <a:pt x="628" y="898"/>
                </a:lnTo>
                <a:lnTo>
                  <a:pt x="631" y="896"/>
                </a:lnTo>
                <a:lnTo>
                  <a:pt x="632" y="894"/>
                </a:lnTo>
                <a:lnTo>
                  <a:pt x="633" y="891"/>
                </a:lnTo>
                <a:lnTo>
                  <a:pt x="633" y="888"/>
                </a:lnTo>
                <a:lnTo>
                  <a:pt x="633" y="813"/>
                </a:lnTo>
                <a:lnTo>
                  <a:pt x="708" y="813"/>
                </a:lnTo>
                <a:lnTo>
                  <a:pt x="711" y="813"/>
                </a:lnTo>
                <a:lnTo>
                  <a:pt x="714" y="812"/>
                </a:lnTo>
                <a:lnTo>
                  <a:pt x="716" y="810"/>
                </a:lnTo>
                <a:lnTo>
                  <a:pt x="719" y="808"/>
                </a:lnTo>
                <a:lnTo>
                  <a:pt x="721" y="806"/>
                </a:lnTo>
                <a:lnTo>
                  <a:pt x="722" y="804"/>
                </a:lnTo>
                <a:lnTo>
                  <a:pt x="723" y="800"/>
                </a:lnTo>
                <a:lnTo>
                  <a:pt x="723" y="798"/>
                </a:lnTo>
                <a:lnTo>
                  <a:pt x="723" y="677"/>
                </a:lnTo>
                <a:lnTo>
                  <a:pt x="723" y="674"/>
                </a:lnTo>
                <a:lnTo>
                  <a:pt x="722" y="671"/>
                </a:lnTo>
                <a:lnTo>
                  <a:pt x="721" y="669"/>
                </a:lnTo>
                <a:lnTo>
                  <a:pt x="719" y="667"/>
                </a:lnTo>
                <a:lnTo>
                  <a:pt x="716" y="665"/>
                </a:lnTo>
                <a:lnTo>
                  <a:pt x="714" y="664"/>
                </a:lnTo>
                <a:lnTo>
                  <a:pt x="711" y="662"/>
                </a:lnTo>
                <a:lnTo>
                  <a:pt x="708" y="662"/>
                </a:lnTo>
                <a:lnTo>
                  <a:pt x="633" y="662"/>
                </a:lnTo>
                <a:lnTo>
                  <a:pt x="633" y="282"/>
                </a:lnTo>
                <a:lnTo>
                  <a:pt x="635" y="280"/>
                </a:lnTo>
                <a:lnTo>
                  <a:pt x="637" y="278"/>
                </a:lnTo>
                <a:lnTo>
                  <a:pt x="637" y="2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BABADAD-D52B-4DF0-B937-C3CE2E706E89}"/>
              </a:ext>
            </a:extLst>
          </p:cNvPr>
          <p:cNvGrpSpPr/>
          <p:nvPr/>
        </p:nvGrpSpPr>
        <p:grpSpPr>
          <a:xfrm>
            <a:off x="3677231" y="2170518"/>
            <a:ext cx="227999" cy="615935"/>
            <a:chOff x="1554506" y="1340452"/>
            <a:chExt cx="106363" cy="287338"/>
          </a:xfrm>
          <a:solidFill>
            <a:schemeClr val="accent2"/>
          </a:solidFill>
        </p:grpSpPr>
        <p:sp>
          <p:nvSpPr>
            <p:cNvPr id="57" name="Freeform 2201">
              <a:extLst>
                <a:ext uri="{FF2B5EF4-FFF2-40B4-BE49-F238E27FC236}">
                  <a16:creationId xmlns:a16="http://schemas.microsoft.com/office/drawing/2014/main" id="{2ADE5CDD-AF72-4974-BDAD-373FF9C68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618" y="1340452"/>
              <a:ext cx="85725" cy="39688"/>
            </a:xfrm>
            <a:custGeom>
              <a:avLst/>
              <a:gdLst>
                <a:gd name="T0" fmla="*/ 38 w 270"/>
                <a:gd name="T1" fmla="*/ 121 h 121"/>
                <a:gd name="T2" fmla="*/ 232 w 270"/>
                <a:gd name="T3" fmla="*/ 121 h 121"/>
                <a:gd name="T4" fmla="*/ 270 w 270"/>
                <a:gd name="T5" fmla="*/ 21 h 121"/>
                <a:gd name="T6" fmla="*/ 270 w 270"/>
                <a:gd name="T7" fmla="*/ 18 h 121"/>
                <a:gd name="T8" fmla="*/ 270 w 270"/>
                <a:gd name="T9" fmla="*/ 14 h 121"/>
                <a:gd name="T10" fmla="*/ 270 w 270"/>
                <a:gd name="T11" fmla="*/ 10 h 121"/>
                <a:gd name="T12" fmla="*/ 267 w 270"/>
                <a:gd name="T13" fmla="*/ 7 h 121"/>
                <a:gd name="T14" fmla="*/ 265 w 270"/>
                <a:gd name="T15" fmla="*/ 4 h 121"/>
                <a:gd name="T16" fmla="*/ 263 w 270"/>
                <a:gd name="T17" fmla="*/ 3 h 121"/>
                <a:gd name="T18" fmla="*/ 259 w 270"/>
                <a:gd name="T19" fmla="*/ 2 h 121"/>
                <a:gd name="T20" fmla="*/ 255 w 270"/>
                <a:gd name="T21" fmla="*/ 0 h 121"/>
                <a:gd name="T22" fmla="*/ 15 w 270"/>
                <a:gd name="T23" fmla="*/ 0 h 121"/>
                <a:gd name="T24" fmla="*/ 11 w 270"/>
                <a:gd name="T25" fmla="*/ 2 h 121"/>
                <a:gd name="T26" fmla="*/ 7 w 270"/>
                <a:gd name="T27" fmla="*/ 3 h 121"/>
                <a:gd name="T28" fmla="*/ 5 w 270"/>
                <a:gd name="T29" fmla="*/ 4 h 121"/>
                <a:gd name="T30" fmla="*/ 2 w 270"/>
                <a:gd name="T31" fmla="*/ 7 h 121"/>
                <a:gd name="T32" fmla="*/ 1 w 270"/>
                <a:gd name="T33" fmla="*/ 10 h 121"/>
                <a:gd name="T34" fmla="*/ 0 w 270"/>
                <a:gd name="T35" fmla="*/ 14 h 121"/>
                <a:gd name="T36" fmla="*/ 0 w 270"/>
                <a:gd name="T37" fmla="*/ 18 h 121"/>
                <a:gd name="T38" fmla="*/ 1 w 270"/>
                <a:gd name="T39" fmla="*/ 21 h 121"/>
                <a:gd name="T40" fmla="*/ 38 w 270"/>
                <a:gd name="T41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0" h="121">
                  <a:moveTo>
                    <a:pt x="38" y="121"/>
                  </a:moveTo>
                  <a:lnTo>
                    <a:pt x="232" y="121"/>
                  </a:lnTo>
                  <a:lnTo>
                    <a:pt x="270" y="21"/>
                  </a:lnTo>
                  <a:lnTo>
                    <a:pt x="270" y="18"/>
                  </a:lnTo>
                  <a:lnTo>
                    <a:pt x="270" y="14"/>
                  </a:lnTo>
                  <a:lnTo>
                    <a:pt x="270" y="10"/>
                  </a:lnTo>
                  <a:lnTo>
                    <a:pt x="267" y="7"/>
                  </a:lnTo>
                  <a:lnTo>
                    <a:pt x="265" y="4"/>
                  </a:lnTo>
                  <a:lnTo>
                    <a:pt x="263" y="3"/>
                  </a:lnTo>
                  <a:lnTo>
                    <a:pt x="259" y="2"/>
                  </a:lnTo>
                  <a:lnTo>
                    <a:pt x="255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7" y="3"/>
                  </a:lnTo>
                  <a:lnTo>
                    <a:pt x="5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8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202">
              <a:extLst>
                <a:ext uri="{FF2B5EF4-FFF2-40B4-BE49-F238E27FC236}">
                  <a16:creationId xmlns:a16="http://schemas.microsoft.com/office/drawing/2014/main" id="{F8ED33D8-5DB5-4C04-BCCB-430C5F67A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506" y="1389665"/>
              <a:ext cx="106363" cy="238125"/>
            </a:xfrm>
            <a:custGeom>
              <a:avLst/>
              <a:gdLst>
                <a:gd name="T0" fmla="*/ 258 w 331"/>
                <a:gd name="T1" fmla="*/ 0 h 752"/>
                <a:gd name="T2" fmla="*/ 74 w 331"/>
                <a:gd name="T3" fmla="*/ 0 h 752"/>
                <a:gd name="T4" fmla="*/ 0 w 331"/>
                <a:gd name="T5" fmla="*/ 585 h 752"/>
                <a:gd name="T6" fmla="*/ 0 w 331"/>
                <a:gd name="T7" fmla="*/ 588 h 752"/>
                <a:gd name="T8" fmla="*/ 2 w 331"/>
                <a:gd name="T9" fmla="*/ 592 h 752"/>
                <a:gd name="T10" fmla="*/ 3 w 331"/>
                <a:gd name="T11" fmla="*/ 594 h 752"/>
                <a:gd name="T12" fmla="*/ 5 w 331"/>
                <a:gd name="T13" fmla="*/ 597 h 752"/>
                <a:gd name="T14" fmla="*/ 156 w 331"/>
                <a:gd name="T15" fmla="*/ 747 h 752"/>
                <a:gd name="T16" fmla="*/ 160 w 331"/>
                <a:gd name="T17" fmla="*/ 751 h 752"/>
                <a:gd name="T18" fmla="*/ 166 w 331"/>
                <a:gd name="T19" fmla="*/ 752 h 752"/>
                <a:gd name="T20" fmla="*/ 171 w 331"/>
                <a:gd name="T21" fmla="*/ 751 h 752"/>
                <a:gd name="T22" fmla="*/ 176 w 331"/>
                <a:gd name="T23" fmla="*/ 747 h 752"/>
                <a:gd name="T24" fmla="*/ 328 w 331"/>
                <a:gd name="T25" fmla="*/ 597 h 752"/>
                <a:gd name="T26" fmla="*/ 329 w 331"/>
                <a:gd name="T27" fmla="*/ 594 h 752"/>
                <a:gd name="T28" fmla="*/ 330 w 331"/>
                <a:gd name="T29" fmla="*/ 592 h 752"/>
                <a:gd name="T30" fmla="*/ 331 w 331"/>
                <a:gd name="T31" fmla="*/ 588 h 752"/>
                <a:gd name="T32" fmla="*/ 331 w 331"/>
                <a:gd name="T33" fmla="*/ 585 h 752"/>
                <a:gd name="T34" fmla="*/ 258 w 331"/>
                <a:gd name="T35" fmla="*/ 0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1" h="752">
                  <a:moveTo>
                    <a:pt x="258" y="0"/>
                  </a:moveTo>
                  <a:lnTo>
                    <a:pt x="74" y="0"/>
                  </a:lnTo>
                  <a:lnTo>
                    <a:pt x="0" y="585"/>
                  </a:lnTo>
                  <a:lnTo>
                    <a:pt x="0" y="588"/>
                  </a:lnTo>
                  <a:lnTo>
                    <a:pt x="2" y="592"/>
                  </a:lnTo>
                  <a:lnTo>
                    <a:pt x="3" y="594"/>
                  </a:lnTo>
                  <a:lnTo>
                    <a:pt x="5" y="597"/>
                  </a:lnTo>
                  <a:lnTo>
                    <a:pt x="156" y="747"/>
                  </a:lnTo>
                  <a:lnTo>
                    <a:pt x="160" y="751"/>
                  </a:lnTo>
                  <a:lnTo>
                    <a:pt x="166" y="752"/>
                  </a:lnTo>
                  <a:lnTo>
                    <a:pt x="171" y="751"/>
                  </a:lnTo>
                  <a:lnTo>
                    <a:pt x="176" y="747"/>
                  </a:lnTo>
                  <a:lnTo>
                    <a:pt x="328" y="597"/>
                  </a:lnTo>
                  <a:lnTo>
                    <a:pt x="329" y="594"/>
                  </a:lnTo>
                  <a:lnTo>
                    <a:pt x="330" y="592"/>
                  </a:lnTo>
                  <a:lnTo>
                    <a:pt x="331" y="588"/>
                  </a:lnTo>
                  <a:lnTo>
                    <a:pt x="331" y="585"/>
                  </a:lnTo>
                  <a:lnTo>
                    <a:pt x="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275744E-8F62-4306-844F-0D4D4A3BBC18}"/>
              </a:ext>
            </a:extLst>
          </p:cNvPr>
          <p:cNvGrpSpPr/>
          <p:nvPr/>
        </p:nvGrpSpPr>
        <p:grpSpPr>
          <a:xfrm>
            <a:off x="5791436" y="2173921"/>
            <a:ext cx="609128" cy="609128"/>
            <a:chOff x="7613650" y="1387475"/>
            <a:chExt cx="284163" cy="284163"/>
          </a:xfrm>
          <a:solidFill>
            <a:schemeClr val="accent1"/>
          </a:solidFill>
        </p:grpSpPr>
        <p:sp>
          <p:nvSpPr>
            <p:cNvPr id="60" name="Freeform 4359">
              <a:extLst>
                <a:ext uri="{FF2B5EF4-FFF2-40B4-BE49-F238E27FC236}">
                  <a16:creationId xmlns:a16="http://schemas.microsoft.com/office/drawing/2014/main" id="{325D1D47-6861-42DA-8B55-8B02182A10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13650" y="1471613"/>
              <a:ext cx="200025" cy="200025"/>
            </a:xfrm>
            <a:custGeom>
              <a:avLst/>
              <a:gdLst>
                <a:gd name="T0" fmla="*/ 276 w 629"/>
                <a:gd name="T1" fmla="*/ 436 h 629"/>
                <a:gd name="T2" fmla="*/ 233 w 629"/>
                <a:gd name="T3" fmla="*/ 411 h 629"/>
                <a:gd name="T4" fmla="*/ 202 w 629"/>
                <a:gd name="T5" fmla="*/ 374 h 629"/>
                <a:gd name="T6" fmla="*/ 187 w 629"/>
                <a:gd name="T7" fmla="*/ 325 h 629"/>
                <a:gd name="T8" fmla="*/ 192 w 629"/>
                <a:gd name="T9" fmla="*/ 274 h 629"/>
                <a:gd name="T10" fmla="*/ 216 w 629"/>
                <a:gd name="T11" fmla="*/ 231 h 629"/>
                <a:gd name="T12" fmla="*/ 253 w 629"/>
                <a:gd name="T13" fmla="*/ 199 h 629"/>
                <a:gd name="T14" fmla="*/ 301 w 629"/>
                <a:gd name="T15" fmla="*/ 184 h 629"/>
                <a:gd name="T16" fmla="*/ 352 w 629"/>
                <a:gd name="T17" fmla="*/ 190 h 629"/>
                <a:gd name="T18" fmla="*/ 395 w 629"/>
                <a:gd name="T19" fmla="*/ 213 h 629"/>
                <a:gd name="T20" fmla="*/ 426 w 629"/>
                <a:gd name="T21" fmla="*/ 252 h 629"/>
                <a:gd name="T22" fmla="*/ 441 w 629"/>
                <a:gd name="T23" fmla="*/ 300 h 629"/>
                <a:gd name="T24" fmla="*/ 436 w 629"/>
                <a:gd name="T25" fmla="*/ 350 h 629"/>
                <a:gd name="T26" fmla="*/ 413 w 629"/>
                <a:gd name="T27" fmla="*/ 394 h 629"/>
                <a:gd name="T28" fmla="*/ 375 w 629"/>
                <a:gd name="T29" fmla="*/ 425 h 629"/>
                <a:gd name="T30" fmla="*/ 327 w 629"/>
                <a:gd name="T31" fmla="*/ 440 h 629"/>
                <a:gd name="T32" fmla="*/ 572 w 629"/>
                <a:gd name="T33" fmla="*/ 346 h 629"/>
                <a:gd name="T34" fmla="*/ 574 w 629"/>
                <a:gd name="T35" fmla="*/ 302 h 629"/>
                <a:gd name="T36" fmla="*/ 620 w 629"/>
                <a:gd name="T37" fmla="*/ 241 h 629"/>
                <a:gd name="T38" fmla="*/ 628 w 629"/>
                <a:gd name="T39" fmla="*/ 231 h 629"/>
                <a:gd name="T40" fmla="*/ 625 w 629"/>
                <a:gd name="T41" fmla="*/ 219 h 629"/>
                <a:gd name="T42" fmla="*/ 544 w 629"/>
                <a:gd name="T43" fmla="*/ 84 h 629"/>
                <a:gd name="T44" fmla="*/ 532 w 629"/>
                <a:gd name="T45" fmla="*/ 83 h 629"/>
                <a:gd name="T46" fmla="*/ 447 w 629"/>
                <a:gd name="T47" fmla="*/ 88 h 629"/>
                <a:gd name="T48" fmla="*/ 407 w 629"/>
                <a:gd name="T49" fmla="*/ 69 h 629"/>
                <a:gd name="T50" fmla="*/ 404 w 629"/>
                <a:gd name="T51" fmla="*/ 7 h 629"/>
                <a:gd name="T52" fmla="*/ 395 w 629"/>
                <a:gd name="T53" fmla="*/ 0 h 629"/>
                <a:gd name="T54" fmla="*/ 235 w 629"/>
                <a:gd name="T55" fmla="*/ 1 h 629"/>
                <a:gd name="T56" fmla="*/ 227 w 629"/>
                <a:gd name="T57" fmla="*/ 10 h 629"/>
                <a:gd name="T58" fmla="*/ 216 w 629"/>
                <a:gd name="T59" fmla="*/ 72 h 629"/>
                <a:gd name="T60" fmla="*/ 177 w 629"/>
                <a:gd name="T61" fmla="*/ 91 h 629"/>
                <a:gd name="T62" fmla="*/ 98 w 629"/>
                <a:gd name="T63" fmla="*/ 84 h 629"/>
                <a:gd name="T64" fmla="*/ 87 w 629"/>
                <a:gd name="T65" fmla="*/ 83 h 629"/>
                <a:gd name="T66" fmla="*/ 78 w 629"/>
                <a:gd name="T67" fmla="*/ 90 h 629"/>
                <a:gd name="T68" fmla="*/ 1 w 629"/>
                <a:gd name="T69" fmla="*/ 228 h 629"/>
                <a:gd name="T70" fmla="*/ 57 w 629"/>
                <a:gd name="T71" fmla="*/ 269 h 629"/>
                <a:gd name="T72" fmla="*/ 54 w 629"/>
                <a:gd name="T73" fmla="*/ 313 h 629"/>
                <a:gd name="T74" fmla="*/ 57 w 629"/>
                <a:gd name="T75" fmla="*/ 355 h 629"/>
                <a:gd name="T76" fmla="*/ 2 w 629"/>
                <a:gd name="T77" fmla="*/ 391 h 629"/>
                <a:gd name="T78" fmla="*/ 1 w 629"/>
                <a:gd name="T79" fmla="*/ 402 h 629"/>
                <a:gd name="T80" fmla="*/ 86 w 629"/>
                <a:gd name="T81" fmla="*/ 543 h 629"/>
                <a:gd name="T82" fmla="*/ 98 w 629"/>
                <a:gd name="T83" fmla="*/ 542 h 629"/>
                <a:gd name="T84" fmla="*/ 177 w 629"/>
                <a:gd name="T85" fmla="*/ 533 h 629"/>
                <a:gd name="T86" fmla="*/ 216 w 629"/>
                <a:gd name="T87" fmla="*/ 552 h 629"/>
                <a:gd name="T88" fmla="*/ 227 w 629"/>
                <a:gd name="T89" fmla="*/ 620 h 629"/>
                <a:gd name="T90" fmla="*/ 235 w 629"/>
                <a:gd name="T91" fmla="*/ 628 h 629"/>
                <a:gd name="T92" fmla="*/ 395 w 629"/>
                <a:gd name="T93" fmla="*/ 629 h 629"/>
                <a:gd name="T94" fmla="*/ 404 w 629"/>
                <a:gd name="T95" fmla="*/ 623 h 629"/>
                <a:gd name="T96" fmla="*/ 407 w 629"/>
                <a:gd name="T97" fmla="*/ 556 h 629"/>
                <a:gd name="T98" fmla="*/ 447 w 629"/>
                <a:gd name="T99" fmla="*/ 538 h 629"/>
                <a:gd name="T100" fmla="*/ 533 w 629"/>
                <a:gd name="T101" fmla="*/ 543 h 629"/>
                <a:gd name="T102" fmla="*/ 545 w 629"/>
                <a:gd name="T103" fmla="*/ 543 h 629"/>
                <a:gd name="T104" fmla="*/ 627 w 629"/>
                <a:gd name="T105" fmla="*/ 405 h 629"/>
                <a:gd name="T106" fmla="*/ 628 w 629"/>
                <a:gd name="T107" fmla="*/ 394 h 629"/>
                <a:gd name="T108" fmla="*/ 621 w 629"/>
                <a:gd name="T109" fmla="*/ 385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9" h="629">
                  <a:moveTo>
                    <a:pt x="314" y="441"/>
                  </a:moveTo>
                  <a:lnTo>
                    <a:pt x="301" y="440"/>
                  </a:lnTo>
                  <a:lnTo>
                    <a:pt x="288" y="439"/>
                  </a:lnTo>
                  <a:lnTo>
                    <a:pt x="276" y="436"/>
                  </a:lnTo>
                  <a:lnTo>
                    <a:pt x="264" y="430"/>
                  </a:lnTo>
                  <a:lnTo>
                    <a:pt x="253" y="425"/>
                  </a:lnTo>
                  <a:lnTo>
                    <a:pt x="242" y="418"/>
                  </a:lnTo>
                  <a:lnTo>
                    <a:pt x="233" y="411"/>
                  </a:lnTo>
                  <a:lnTo>
                    <a:pt x="223" y="404"/>
                  </a:lnTo>
                  <a:lnTo>
                    <a:pt x="216" y="394"/>
                  </a:lnTo>
                  <a:lnTo>
                    <a:pt x="208" y="384"/>
                  </a:lnTo>
                  <a:lnTo>
                    <a:pt x="202" y="374"/>
                  </a:lnTo>
                  <a:lnTo>
                    <a:pt x="196" y="362"/>
                  </a:lnTo>
                  <a:lnTo>
                    <a:pt x="192" y="350"/>
                  </a:lnTo>
                  <a:lnTo>
                    <a:pt x="189" y="338"/>
                  </a:lnTo>
                  <a:lnTo>
                    <a:pt x="187" y="325"/>
                  </a:lnTo>
                  <a:lnTo>
                    <a:pt x="186" y="313"/>
                  </a:lnTo>
                  <a:lnTo>
                    <a:pt x="187" y="300"/>
                  </a:lnTo>
                  <a:lnTo>
                    <a:pt x="189" y="287"/>
                  </a:lnTo>
                  <a:lnTo>
                    <a:pt x="192" y="274"/>
                  </a:lnTo>
                  <a:lnTo>
                    <a:pt x="196" y="262"/>
                  </a:lnTo>
                  <a:lnTo>
                    <a:pt x="202" y="252"/>
                  </a:lnTo>
                  <a:lnTo>
                    <a:pt x="208" y="241"/>
                  </a:lnTo>
                  <a:lnTo>
                    <a:pt x="216" y="231"/>
                  </a:lnTo>
                  <a:lnTo>
                    <a:pt x="223" y="222"/>
                  </a:lnTo>
                  <a:lnTo>
                    <a:pt x="233" y="213"/>
                  </a:lnTo>
                  <a:lnTo>
                    <a:pt x="242" y="206"/>
                  </a:lnTo>
                  <a:lnTo>
                    <a:pt x="253" y="199"/>
                  </a:lnTo>
                  <a:lnTo>
                    <a:pt x="264" y="194"/>
                  </a:lnTo>
                  <a:lnTo>
                    <a:pt x="276" y="190"/>
                  </a:lnTo>
                  <a:lnTo>
                    <a:pt x="288" y="186"/>
                  </a:lnTo>
                  <a:lnTo>
                    <a:pt x="301" y="184"/>
                  </a:lnTo>
                  <a:lnTo>
                    <a:pt x="314" y="184"/>
                  </a:lnTo>
                  <a:lnTo>
                    <a:pt x="327" y="184"/>
                  </a:lnTo>
                  <a:lnTo>
                    <a:pt x="340" y="186"/>
                  </a:lnTo>
                  <a:lnTo>
                    <a:pt x="352" y="190"/>
                  </a:lnTo>
                  <a:lnTo>
                    <a:pt x="363" y="194"/>
                  </a:lnTo>
                  <a:lnTo>
                    <a:pt x="375" y="199"/>
                  </a:lnTo>
                  <a:lnTo>
                    <a:pt x="386" y="206"/>
                  </a:lnTo>
                  <a:lnTo>
                    <a:pt x="395" y="213"/>
                  </a:lnTo>
                  <a:lnTo>
                    <a:pt x="404" y="222"/>
                  </a:lnTo>
                  <a:lnTo>
                    <a:pt x="413" y="231"/>
                  </a:lnTo>
                  <a:lnTo>
                    <a:pt x="420" y="241"/>
                  </a:lnTo>
                  <a:lnTo>
                    <a:pt x="426" y="252"/>
                  </a:lnTo>
                  <a:lnTo>
                    <a:pt x="432" y="262"/>
                  </a:lnTo>
                  <a:lnTo>
                    <a:pt x="436" y="274"/>
                  </a:lnTo>
                  <a:lnTo>
                    <a:pt x="439" y="287"/>
                  </a:lnTo>
                  <a:lnTo>
                    <a:pt x="441" y="300"/>
                  </a:lnTo>
                  <a:lnTo>
                    <a:pt x="443" y="313"/>
                  </a:lnTo>
                  <a:lnTo>
                    <a:pt x="441" y="325"/>
                  </a:lnTo>
                  <a:lnTo>
                    <a:pt x="439" y="338"/>
                  </a:lnTo>
                  <a:lnTo>
                    <a:pt x="436" y="350"/>
                  </a:lnTo>
                  <a:lnTo>
                    <a:pt x="432" y="362"/>
                  </a:lnTo>
                  <a:lnTo>
                    <a:pt x="426" y="374"/>
                  </a:lnTo>
                  <a:lnTo>
                    <a:pt x="420" y="384"/>
                  </a:lnTo>
                  <a:lnTo>
                    <a:pt x="413" y="394"/>
                  </a:lnTo>
                  <a:lnTo>
                    <a:pt x="404" y="404"/>
                  </a:lnTo>
                  <a:lnTo>
                    <a:pt x="395" y="411"/>
                  </a:lnTo>
                  <a:lnTo>
                    <a:pt x="386" y="418"/>
                  </a:lnTo>
                  <a:lnTo>
                    <a:pt x="375" y="425"/>
                  </a:lnTo>
                  <a:lnTo>
                    <a:pt x="363" y="430"/>
                  </a:lnTo>
                  <a:lnTo>
                    <a:pt x="352" y="436"/>
                  </a:lnTo>
                  <a:lnTo>
                    <a:pt x="340" y="439"/>
                  </a:lnTo>
                  <a:lnTo>
                    <a:pt x="327" y="440"/>
                  </a:lnTo>
                  <a:lnTo>
                    <a:pt x="314" y="441"/>
                  </a:lnTo>
                  <a:close/>
                  <a:moveTo>
                    <a:pt x="621" y="385"/>
                  </a:moveTo>
                  <a:lnTo>
                    <a:pt x="571" y="355"/>
                  </a:lnTo>
                  <a:lnTo>
                    <a:pt x="572" y="346"/>
                  </a:lnTo>
                  <a:lnTo>
                    <a:pt x="573" y="335"/>
                  </a:lnTo>
                  <a:lnTo>
                    <a:pt x="574" y="323"/>
                  </a:lnTo>
                  <a:lnTo>
                    <a:pt x="574" y="313"/>
                  </a:lnTo>
                  <a:lnTo>
                    <a:pt x="574" y="302"/>
                  </a:lnTo>
                  <a:lnTo>
                    <a:pt x="573" y="291"/>
                  </a:lnTo>
                  <a:lnTo>
                    <a:pt x="572" y="280"/>
                  </a:lnTo>
                  <a:lnTo>
                    <a:pt x="570" y="269"/>
                  </a:lnTo>
                  <a:lnTo>
                    <a:pt x="620" y="241"/>
                  </a:lnTo>
                  <a:lnTo>
                    <a:pt x="623" y="239"/>
                  </a:lnTo>
                  <a:lnTo>
                    <a:pt x="624" y="237"/>
                  </a:lnTo>
                  <a:lnTo>
                    <a:pt x="627" y="234"/>
                  </a:lnTo>
                  <a:lnTo>
                    <a:pt x="628" y="231"/>
                  </a:lnTo>
                  <a:lnTo>
                    <a:pt x="628" y="228"/>
                  </a:lnTo>
                  <a:lnTo>
                    <a:pt x="628" y="226"/>
                  </a:lnTo>
                  <a:lnTo>
                    <a:pt x="628" y="223"/>
                  </a:lnTo>
                  <a:lnTo>
                    <a:pt x="625" y="219"/>
                  </a:lnTo>
                  <a:lnTo>
                    <a:pt x="551" y="90"/>
                  </a:lnTo>
                  <a:lnTo>
                    <a:pt x="548" y="87"/>
                  </a:lnTo>
                  <a:lnTo>
                    <a:pt x="546" y="85"/>
                  </a:lnTo>
                  <a:lnTo>
                    <a:pt x="544" y="84"/>
                  </a:lnTo>
                  <a:lnTo>
                    <a:pt x="541" y="83"/>
                  </a:lnTo>
                  <a:lnTo>
                    <a:pt x="539" y="81"/>
                  </a:lnTo>
                  <a:lnTo>
                    <a:pt x="536" y="81"/>
                  </a:lnTo>
                  <a:lnTo>
                    <a:pt x="532" y="83"/>
                  </a:lnTo>
                  <a:lnTo>
                    <a:pt x="530" y="84"/>
                  </a:lnTo>
                  <a:lnTo>
                    <a:pt x="481" y="113"/>
                  </a:lnTo>
                  <a:lnTo>
                    <a:pt x="465" y="99"/>
                  </a:lnTo>
                  <a:lnTo>
                    <a:pt x="447" y="88"/>
                  </a:lnTo>
                  <a:lnTo>
                    <a:pt x="438" y="83"/>
                  </a:lnTo>
                  <a:lnTo>
                    <a:pt x="429" y="77"/>
                  </a:lnTo>
                  <a:lnTo>
                    <a:pt x="418" y="73"/>
                  </a:lnTo>
                  <a:lnTo>
                    <a:pt x="407" y="69"/>
                  </a:lnTo>
                  <a:lnTo>
                    <a:pt x="407" y="15"/>
                  </a:lnTo>
                  <a:lnTo>
                    <a:pt x="407" y="12"/>
                  </a:lnTo>
                  <a:lnTo>
                    <a:pt x="406" y="10"/>
                  </a:lnTo>
                  <a:lnTo>
                    <a:pt x="404" y="7"/>
                  </a:lnTo>
                  <a:lnTo>
                    <a:pt x="403" y="4"/>
                  </a:lnTo>
                  <a:lnTo>
                    <a:pt x="401" y="2"/>
                  </a:lnTo>
                  <a:lnTo>
                    <a:pt x="398" y="1"/>
                  </a:lnTo>
                  <a:lnTo>
                    <a:pt x="395" y="0"/>
                  </a:lnTo>
                  <a:lnTo>
                    <a:pt x="392" y="0"/>
                  </a:lnTo>
                  <a:lnTo>
                    <a:pt x="241" y="0"/>
                  </a:lnTo>
                  <a:lnTo>
                    <a:pt x="238" y="0"/>
                  </a:lnTo>
                  <a:lnTo>
                    <a:pt x="235" y="1"/>
                  </a:lnTo>
                  <a:lnTo>
                    <a:pt x="233" y="2"/>
                  </a:lnTo>
                  <a:lnTo>
                    <a:pt x="231" y="4"/>
                  </a:lnTo>
                  <a:lnTo>
                    <a:pt x="229" y="7"/>
                  </a:lnTo>
                  <a:lnTo>
                    <a:pt x="227" y="10"/>
                  </a:lnTo>
                  <a:lnTo>
                    <a:pt x="226" y="12"/>
                  </a:lnTo>
                  <a:lnTo>
                    <a:pt x="226" y="15"/>
                  </a:lnTo>
                  <a:lnTo>
                    <a:pt x="226" y="69"/>
                  </a:lnTo>
                  <a:lnTo>
                    <a:pt x="216" y="72"/>
                  </a:lnTo>
                  <a:lnTo>
                    <a:pt x="206" y="76"/>
                  </a:lnTo>
                  <a:lnTo>
                    <a:pt x="196" y="80"/>
                  </a:lnTo>
                  <a:lnTo>
                    <a:pt x="187" y="86"/>
                  </a:lnTo>
                  <a:lnTo>
                    <a:pt x="177" y="91"/>
                  </a:lnTo>
                  <a:lnTo>
                    <a:pt x="168" y="98"/>
                  </a:lnTo>
                  <a:lnTo>
                    <a:pt x="159" y="105"/>
                  </a:lnTo>
                  <a:lnTo>
                    <a:pt x="149" y="113"/>
                  </a:lnTo>
                  <a:lnTo>
                    <a:pt x="98" y="84"/>
                  </a:lnTo>
                  <a:lnTo>
                    <a:pt x="96" y="83"/>
                  </a:lnTo>
                  <a:lnTo>
                    <a:pt x="93" y="81"/>
                  </a:lnTo>
                  <a:lnTo>
                    <a:pt x="90" y="81"/>
                  </a:lnTo>
                  <a:lnTo>
                    <a:pt x="87" y="83"/>
                  </a:lnTo>
                  <a:lnTo>
                    <a:pt x="84" y="84"/>
                  </a:lnTo>
                  <a:lnTo>
                    <a:pt x="82" y="85"/>
                  </a:lnTo>
                  <a:lnTo>
                    <a:pt x="80" y="87"/>
                  </a:lnTo>
                  <a:lnTo>
                    <a:pt x="78" y="90"/>
                  </a:lnTo>
                  <a:lnTo>
                    <a:pt x="3" y="219"/>
                  </a:lnTo>
                  <a:lnTo>
                    <a:pt x="1" y="222"/>
                  </a:lnTo>
                  <a:lnTo>
                    <a:pt x="1" y="225"/>
                  </a:lnTo>
                  <a:lnTo>
                    <a:pt x="1" y="228"/>
                  </a:lnTo>
                  <a:lnTo>
                    <a:pt x="1" y="230"/>
                  </a:lnTo>
                  <a:lnTo>
                    <a:pt x="4" y="236"/>
                  </a:lnTo>
                  <a:lnTo>
                    <a:pt x="8" y="241"/>
                  </a:lnTo>
                  <a:lnTo>
                    <a:pt x="57" y="269"/>
                  </a:lnTo>
                  <a:lnTo>
                    <a:pt x="56" y="280"/>
                  </a:lnTo>
                  <a:lnTo>
                    <a:pt x="55" y="291"/>
                  </a:lnTo>
                  <a:lnTo>
                    <a:pt x="54" y="302"/>
                  </a:lnTo>
                  <a:lnTo>
                    <a:pt x="54" y="313"/>
                  </a:lnTo>
                  <a:lnTo>
                    <a:pt x="54" y="323"/>
                  </a:lnTo>
                  <a:lnTo>
                    <a:pt x="55" y="335"/>
                  </a:lnTo>
                  <a:lnTo>
                    <a:pt x="56" y="346"/>
                  </a:lnTo>
                  <a:lnTo>
                    <a:pt x="57" y="355"/>
                  </a:lnTo>
                  <a:lnTo>
                    <a:pt x="7" y="385"/>
                  </a:lnTo>
                  <a:lnTo>
                    <a:pt x="5" y="387"/>
                  </a:lnTo>
                  <a:lnTo>
                    <a:pt x="3" y="389"/>
                  </a:lnTo>
                  <a:lnTo>
                    <a:pt x="2" y="391"/>
                  </a:lnTo>
                  <a:lnTo>
                    <a:pt x="1" y="394"/>
                  </a:lnTo>
                  <a:lnTo>
                    <a:pt x="0" y="396"/>
                  </a:lnTo>
                  <a:lnTo>
                    <a:pt x="1" y="399"/>
                  </a:lnTo>
                  <a:lnTo>
                    <a:pt x="1" y="402"/>
                  </a:lnTo>
                  <a:lnTo>
                    <a:pt x="2" y="405"/>
                  </a:lnTo>
                  <a:lnTo>
                    <a:pt x="78" y="536"/>
                  </a:lnTo>
                  <a:lnTo>
                    <a:pt x="81" y="540"/>
                  </a:lnTo>
                  <a:lnTo>
                    <a:pt x="86" y="543"/>
                  </a:lnTo>
                  <a:lnTo>
                    <a:pt x="89" y="544"/>
                  </a:lnTo>
                  <a:lnTo>
                    <a:pt x="93" y="544"/>
                  </a:lnTo>
                  <a:lnTo>
                    <a:pt x="95" y="543"/>
                  </a:lnTo>
                  <a:lnTo>
                    <a:pt x="98" y="542"/>
                  </a:lnTo>
                  <a:lnTo>
                    <a:pt x="149" y="513"/>
                  </a:lnTo>
                  <a:lnTo>
                    <a:pt x="159" y="520"/>
                  </a:lnTo>
                  <a:lnTo>
                    <a:pt x="168" y="527"/>
                  </a:lnTo>
                  <a:lnTo>
                    <a:pt x="177" y="533"/>
                  </a:lnTo>
                  <a:lnTo>
                    <a:pt x="187" y="539"/>
                  </a:lnTo>
                  <a:lnTo>
                    <a:pt x="196" y="544"/>
                  </a:lnTo>
                  <a:lnTo>
                    <a:pt x="206" y="549"/>
                  </a:lnTo>
                  <a:lnTo>
                    <a:pt x="216" y="552"/>
                  </a:lnTo>
                  <a:lnTo>
                    <a:pt x="226" y="556"/>
                  </a:lnTo>
                  <a:lnTo>
                    <a:pt x="226" y="614"/>
                  </a:lnTo>
                  <a:lnTo>
                    <a:pt x="226" y="617"/>
                  </a:lnTo>
                  <a:lnTo>
                    <a:pt x="227" y="620"/>
                  </a:lnTo>
                  <a:lnTo>
                    <a:pt x="229" y="623"/>
                  </a:lnTo>
                  <a:lnTo>
                    <a:pt x="231" y="625"/>
                  </a:lnTo>
                  <a:lnTo>
                    <a:pt x="233" y="627"/>
                  </a:lnTo>
                  <a:lnTo>
                    <a:pt x="235" y="628"/>
                  </a:lnTo>
                  <a:lnTo>
                    <a:pt x="238" y="629"/>
                  </a:lnTo>
                  <a:lnTo>
                    <a:pt x="241" y="629"/>
                  </a:lnTo>
                  <a:lnTo>
                    <a:pt x="392" y="629"/>
                  </a:lnTo>
                  <a:lnTo>
                    <a:pt x="395" y="629"/>
                  </a:lnTo>
                  <a:lnTo>
                    <a:pt x="398" y="628"/>
                  </a:lnTo>
                  <a:lnTo>
                    <a:pt x="401" y="627"/>
                  </a:lnTo>
                  <a:lnTo>
                    <a:pt x="403" y="625"/>
                  </a:lnTo>
                  <a:lnTo>
                    <a:pt x="404" y="623"/>
                  </a:lnTo>
                  <a:lnTo>
                    <a:pt x="406" y="620"/>
                  </a:lnTo>
                  <a:lnTo>
                    <a:pt x="407" y="617"/>
                  </a:lnTo>
                  <a:lnTo>
                    <a:pt x="407" y="614"/>
                  </a:lnTo>
                  <a:lnTo>
                    <a:pt x="407" y="556"/>
                  </a:lnTo>
                  <a:lnTo>
                    <a:pt x="418" y="552"/>
                  </a:lnTo>
                  <a:lnTo>
                    <a:pt x="429" y="548"/>
                  </a:lnTo>
                  <a:lnTo>
                    <a:pt x="438" y="544"/>
                  </a:lnTo>
                  <a:lnTo>
                    <a:pt x="447" y="538"/>
                  </a:lnTo>
                  <a:lnTo>
                    <a:pt x="465" y="527"/>
                  </a:lnTo>
                  <a:lnTo>
                    <a:pt x="481" y="513"/>
                  </a:lnTo>
                  <a:lnTo>
                    <a:pt x="530" y="542"/>
                  </a:lnTo>
                  <a:lnTo>
                    <a:pt x="533" y="543"/>
                  </a:lnTo>
                  <a:lnTo>
                    <a:pt x="537" y="544"/>
                  </a:lnTo>
                  <a:lnTo>
                    <a:pt x="539" y="544"/>
                  </a:lnTo>
                  <a:lnTo>
                    <a:pt x="542" y="543"/>
                  </a:lnTo>
                  <a:lnTo>
                    <a:pt x="545" y="543"/>
                  </a:lnTo>
                  <a:lnTo>
                    <a:pt x="547" y="540"/>
                  </a:lnTo>
                  <a:lnTo>
                    <a:pt x="550" y="539"/>
                  </a:lnTo>
                  <a:lnTo>
                    <a:pt x="552" y="536"/>
                  </a:lnTo>
                  <a:lnTo>
                    <a:pt x="627" y="405"/>
                  </a:lnTo>
                  <a:lnTo>
                    <a:pt x="628" y="402"/>
                  </a:lnTo>
                  <a:lnTo>
                    <a:pt x="628" y="399"/>
                  </a:lnTo>
                  <a:lnTo>
                    <a:pt x="629" y="396"/>
                  </a:lnTo>
                  <a:lnTo>
                    <a:pt x="628" y="394"/>
                  </a:lnTo>
                  <a:lnTo>
                    <a:pt x="627" y="391"/>
                  </a:lnTo>
                  <a:lnTo>
                    <a:pt x="625" y="389"/>
                  </a:lnTo>
                  <a:lnTo>
                    <a:pt x="623" y="387"/>
                  </a:lnTo>
                  <a:lnTo>
                    <a:pt x="621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360">
              <a:extLst>
                <a:ext uri="{FF2B5EF4-FFF2-40B4-BE49-F238E27FC236}">
                  <a16:creationId xmlns:a16="http://schemas.microsoft.com/office/drawing/2014/main" id="{DA3EC2AB-4A89-4CB4-8EE6-B632CF9EB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1925" y="1387475"/>
              <a:ext cx="115888" cy="117475"/>
            </a:xfrm>
            <a:custGeom>
              <a:avLst/>
              <a:gdLst>
                <a:gd name="T0" fmla="*/ 160 w 362"/>
                <a:gd name="T1" fmla="*/ 252 h 369"/>
                <a:gd name="T2" fmla="*/ 135 w 362"/>
                <a:gd name="T3" fmla="*/ 238 h 369"/>
                <a:gd name="T4" fmla="*/ 118 w 362"/>
                <a:gd name="T5" fmla="*/ 218 h 369"/>
                <a:gd name="T6" fmla="*/ 109 w 362"/>
                <a:gd name="T7" fmla="*/ 190 h 369"/>
                <a:gd name="T8" fmla="*/ 113 w 362"/>
                <a:gd name="T9" fmla="*/ 162 h 369"/>
                <a:gd name="T10" fmla="*/ 125 w 362"/>
                <a:gd name="T11" fmla="*/ 138 h 369"/>
                <a:gd name="T12" fmla="*/ 147 w 362"/>
                <a:gd name="T13" fmla="*/ 121 h 369"/>
                <a:gd name="T14" fmla="*/ 174 w 362"/>
                <a:gd name="T15" fmla="*/ 112 h 369"/>
                <a:gd name="T16" fmla="*/ 202 w 362"/>
                <a:gd name="T17" fmla="*/ 114 h 369"/>
                <a:gd name="T18" fmla="*/ 226 w 362"/>
                <a:gd name="T19" fmla="*/ 128 h 369"/>
                <a:gd name="T20" fmla="*/ 244 w 362"/>
                <a:gd name="T21" fmla="*/ 149 h 369"/>
                <a:gd name="T22" fmla="*/ 252 w 362"/>
                <a:gd name="T23" fmla="*/ 176 h 369"/>
                <a:gd name="T24" fmla="*/ 250 w 362"/>
                <a:gd name="T25" fmla="*/ 205 h 369"/>
                <a:gd name="T26" fmla="*/ 236 w 362"/>
                <a:gd name="T27" fmla="*/ 229 h 369"/>
                <a:gd name="T28" fmla="*/ 215 w 362"/>
                <a:gd name="T29" fmla="*/ 247 h 369"/>
                <a:gd name="T30" fmla="*/ 189 w 362"/>
                <a:gd name="T31" fmla="*/ 254 h 369"/>
                <a:gd name="T32" fmla="*/ 328 w 362"/>
                <a:gd name="T33" fmla="*/ 195 h 369"/>
                <a:gd name="T34" fmla="*/ 354 w 362"/>
                <a:gd name="T35" fmla="*/ 144 h 369"/>
                <a:gd name="T36" fmla="*/ 361 w 362"/>
                <a:gd name="T37" fmla="*/ 136 h 369"/>
                <a:gd name="T38" fmla="*/ 360 w 362"/>
                <a:gd name="T39" fmla="*/ 124 h 369"/>
                <a:gd name="T40" fmla="*/ 316 w 362"/>
                <a:gd name="T41" fmla="*/ 53 h 369"/>
                <a:gd name="T42" fmla="*/ 304 w 362"/>
                <a:gd name="T43" fmla="*/ 52 h 369"/>
                <a:gd name="T44" fmla="*/ 256 w 362"/>
                <a:gd name="T45" fmla="*/ 56 h 369"/>
                <a:gd name="T46" fmla="*/ 236 w 362"/>
                <a:gd name="T47" fmla="*/ 10 h 369"/>
                <a:gd name="T48" fmla="*/ 229 w 362"/>
                <a:gd name="T49" fmla="*/ 2 h 369"/>
                <a:gd name="T50" fmla="*/ 146 w 362"/>
                <a:gd name="T51" fmla="*/ 0 h 369"/>
                <a:gd name="T52" fmla="*/ 135 w 362"/>
                <a:gd name="T53" fmla="*/ 3 h 369"/>
                <a:gd name="T54" fmla="*/ 131 w 362"/>
                <a:gd name="T55" fmla="*/ 14 h 369"/>
                <a:gd name="T56" fmla="*/ 99 w 362"/>
                <a:gd name="T57" fmla="*/ 63 h 369"/>
                <a:gd name="T58" fmla="*/ 55 w 362"/>
                <a:gd name="T59" fmla="*/ 51 h 369"/>
                <a:gd name="T60" fmla="*/ 44 w 362"/>
                <a:gd name="T61" fmla="*/ 54 h 369"/>
                <a:gd name="T62" fmla="*/ 1 w 362"/>
                <a:gd name="T63" fmla="*/ 126 h 369"/>
                <a:gd name="T64" fmla="*/ 2 w 362"/>
                <a:gd name="T65" fmla="*/ 139 h 369"/>
                <a:gd name="T66" fmla="*/ 36 w 362"/>
                <a:gd name="T67" fmla="*/ 160 h 369"/>
                <a:gd name="T68" fmla="*/ 36 w 362"/>
                <a:gd name="T69" fmla="*/ 207 h 369"/>
                <a:gd name="T70" fmla="*/ 1 w 362"/>
                <a:gd name="T71" fmla="*/ 230 h 369"/>
                <a:gd name="T72" fmla="*/ 1 w 362"/>
                <a:gd name="T73" fmla="*/ 240 h 369"/>
                <a:gd name="T74" fmla="*/ 44 w 362"/>
                <a:gd name="T75" fmla="*/ 313 h 369"/>
                <a:gd name="T76" fmla="*/ 60 w 362"/>
                <a:gd name="T77" fmla="*/ 314 h 369"/>
                <a:gd name="T78" fmla="*/ 120 w 362"/>
                <a:gd name="T79" fmla="*/ 316 h 369"/>
                <a:gd name="T80" fmla="*/ 132 w 362"/>
                <a:gd name="T81" fmla="*/ 359 h 369"/>
                <a:gd name="T82" fmla="*/ 140 w 362"/>
                <a:gd name="T83" fmla="*/ 368 h 369"/>
                <a:gd name="T84" fmla="*/ 225 w 362"/>
                <a:gd name="T85" fmla="*/ 368 h 369"/>
                <a:gd name="T86" fmla="*/ 233 w 362"/>
                <a:gd name="T87" fmla="*/ 361 h 369"/>
                <a:gd name="T88" fmla="*/ 237 w 362"/>
                <a:gd name="T89" fmla="*/ 321 h 369"/>
                <a:gd name="T90" fmla="*/ 274 w 362"/>
                <a:gd name="T91" fmla="*/ 298 h 369"/>
                <a:gd name="T92" fmla="*/ 310 w 362"/>
                <a:gd name="T93" fmla="*/ 316 h 369"/>
                <a:gd name="T94" fmla="*/ 360 w 362"/>
                <a:gd name="T95" fmla="*/ 243 h 369"/>
                <a:gd name="T96" fmla="*/ 362 w 362"/>
                <a:gd name="T97" fmla="*/ 232 h 369"/>
                <a:gd name="T98" fmla="*/ 354 w 362"/>
                <a:gd name="T99" fmla="*/ 22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2" h="369">
                  <a:moveTo>
                    <a:pt x="181" y="255"/>
                  </a:moveTo>
                  <a:lnTo>
                    <a:pt x="174" y="254"/>
                  </a:lnTo>
                  <a:lnTo>
                    <a:pt x="166" y="253"/>
                  </a:lnTo>
                  <a:lnTo>
                    <a:pt x="160" y="252"/>
                  </a:lnTo>
                  <a:lnTo>
                    <a:pt x="153" y="249"/>
                  </a:lnTo>
                  <a:lnTo>
                    <a:pt x="147" y="247"/>
                  </a:lnTo>
                  <a:lnTo>
                    <a:pt x="141" y="243"/>
                  </a:lnTo>
                  <a:lnTo>
                    <a:pt x="135" y="238"/>
                  </a:lnTo>
                  <a:lnTo>
                    <a:pt x="131" y="234"/>
                  </a:lnTo>
                  <a:lnTo>
                    <a:pt x="125" y="229"/>
                  </a:lnTo>
                  <a:lnTo>
                    <a:pt x="122" y="223"/>
                  </a:lnTo>
                  <a:lnTo>
                    <a:pt x="118" y="218"/>
                  </a:lnTo>
                  <a:lnTo>
                    <a:pt x="115" y="212"/>
                  </a:lnTo>
                  <a:lnTo>
                    <a:pt x="113" y="205"/>
                  </a:lnTo>
                  <a:lnTo>
                    <a:pt x="110" y="198"/>
                  </a:lnTo>
                  <a:lnTo>
                    <a:pt x="109" y="190"/>
                  </a:lnTo>
                  <a:lnTo>
                    <a:pt x="109" y="183"/>
                  </a:lnTo>
                  <a:lnTo>
                    <a:pt x="109" y="176"/>
                  </a:lnTo>
                  <a:lnTo>
                    <a:pt x="110" y="169"/>
                  </a:lnTo>
                  <a:lnTo>
                    <a:pt x="113" y="162"/>
                  </a:lnTo>
                  <a:lnTo>
                    <a:pt x="115" y="156"/>
                  </a:lnTo>
                  <a:lnTo>
                    <a:pt x="118" y="149"/>
                  </a:lnTo>
                  <a:lnTo>
                    <a:pt x="122" y="143"/>
                  </a:lnTo>
                  <a:lnTo>
                    <a:pt x="125" y="138"/>
                  </a:lnTo>
                  <a:lnTo>
                    <a:pt x="131" y="132"/>
                  </a:lnTo>
                  <a:lnTo>
                    <a:pt x="135" y="128"/>
                  </a:lnTo>
                  <a:lnTo>
                    <a:pt x="141" y="124"/>
                  </a:lnTo>
                  <a:lnTo>
                    <a:pt x="147" y="121"/>
                  </a:lnTo>
                  <a:lnTo>
                    <a:pt x="153" y="117"/>
                  </a:lnTo>
                  <a:lnTo>
                    <a:pt x="160" y="114"/>
                  </a:lnTo>
                  <a:lnTo>
                    <a:pt x="166" y="113"/>
                  </a:lnTo>
                  <a:lnTo>
                    <a:pt x="174" y="112"/>
                  </a:lnTo>
                  <a:lnTo>
                    <a:pt x="181" y="111"/>
                  </a:lnTo>
                  <a:lnTo>
                    <a:pt x="189" y="112"/>
                  </a:lnTo>
                  <a:lnTo>
                    <a:pt x="195" y="113"/>
                  </a:lnTo>
                  <a:lnTo>
                    <a:pt x="202" y="114"/>
                  </a:lnTo>
                  <a:lnTo>
                    <a:pt x="209" y="117"/>
                  </a:lnTo>
                  <a:lnTo>
                    <a:pt x="215" y="121"/>
                  </a:lnTo>
                  <a:lnTo>
                    <a:pt x="221" y="124"/>
                  </a:lnTo>
                  <a:lnTo>
                    <a:pt x="226" y="128"/>
                  </a:lnTo>
                  <a:lnTo>
                    <a:pt x="231" y="132"/>
                  </a:lnTo>
                  <a:lnTo>
                    <a:pt x="236" y="138"/>
                  </a:lnTo>
                  <a:lnTo>
                    <a:pt x="240" y="143"/>
                  </a:lnTo>
                  <a:lnTo>
                    <a:pt x="244" y="149"/>
                  </a:lnTo>
                  <a:lnTo>
                    <a:pt x="247" y="156"/>
                  </a:lnTo>
                  <a:lnTo>
                    <a:pt x="250" y="162"/>
                  </a:lnTo>
                  <a:lnTo>
                    <a:pt x="251" y="169"/>
                  </a:lnTo>
                  <a:lnTo>
                    <a:pt x="252" y="176"/>
                  </a:lnTo>
                  <a:lnTo>
                    <a:pt x="253" y="183"/>
                  </a:lnTo>
                  <a:lnTo>
                    <a:pt x="252" y="190"/>
                  </a:lnTo>
                  <a:lnTo>
                    <a:pt x="251" y="198"/>
                  </a:lnTo>
                  <a:lnTo>
                    <a:pt x="250" y="205"/>
                  </a:lnTo>
                  <a:lnTo>
                    <a:pt x="247" y="212"/>
                  </a:lnTo>
                  <a:lnTo>
                    <a:pt x="244" y="218"/>
                  </a:lnTo>
                  <a:lnTo>
                    <a:pt x="240" y="223"/>
                  </a:lnTo>
                  <a:lnTo>
                    <a:pt x="236" y="229"/>
                  </a:lnTo>
                  <a:lnTo>
                    <a:pt x="231" y="234"/>
                  </a:lnTo>
                  <a:lnTo>
                    <a:pt x="226" y="238"/>
                  </a:lnTo>
                  <a:lnTo>
                    <a:pt x="221" y="243"/>
                  </a:lnTo>
                  <a:lnTo>
                    <a:pt x="215" y="247"/>
                  </a:lnTo>
                  <a:lnTo>
                    <a:pt x="209" y="249"/>
                  </a:lnTo>
                  <a:lnTo>
                    <a:pt x="202" y="252"/>
                  </a:lnTo>
                  <a:lnTo>
                    <a:pt x="195" y="253"/>
                  </a:lnTo>
                  <a:lnTo>
                    <a:pt x="189" y="254"/>
                  </a:lnTo>
                  <a:lnTo>
                    <a:pt x="181" y="255"/>
                  </a:lnTo>
                  <a:close/>
                  <a:moveTo>
                    <a:pt x="354" y="223"/>
                  </a:moveTo>
                  <a:lnTo>
                    <a:pt x="327" y="207"/>
                  </a:lnTo>
                  <a:lnTo>
                    <a:pt x="328" y="195"/>
                  </a:lnTo>
                  <a:lnTo>
                    <a:pt x="328" y="183"/>
                  </a:lnTo>
                  <a:lnTo>
                    <a:pt x="328" y="172"/>
                  </a:lnTo>
                  <a:lnTo>
                    <a:pt x="327" y="160"/>
                  </a:lnTo>
                  <a:lnTo>
                    <a:pt x="354" y="144"/>
                  </a:lnTo>
                  <a:lnTo>
                    <a:pt x="357" y="143"/>
                  </a:lnTo>
                  <a:lnTo>
                    <a:pt x="359" y="141"/>
                  </a:lnTo>
                  <a:lnTo>
                    <a:pt x="360" y="139"/>
                  </a:lnTo>
                  <a:lnTo>
                    <a:pt x="361" y="136"/>
                  </a:lnTo>
                  <a:lnTo>
                    <a:pt x="362" y="132"/>
                  </a:lnTo>
                  <a:lnTo>
                    <a:pt x="362" y="129"/>
                  </a:lnTo>
                  <a:lnTo>
                    <a:pt x="361" y="126"/>
                  </a:lnTo>
                  <a:lnTo>
                    <a:pt x="360" y="124"/>
                  </a:lnTo>
                  <a:lnTo>
                    <a:pt x="322" y="59"/>
                  </a:lnTo>
                  <a:lnTo>
                    <a:pt x="320" y="56"/>
                  </a:lnTo>
                  <a:lnTo>
                    <a:pt x="318" y="54"/>
                  </a:lnTo>
                  <a:lnTo>
                    <a:pt x="316" y="53"/>
                  </a:lnTo>
                  <a:lnTo>
                    <a:pt x="313" y="51"/>
                  </a:lnTo>
                  <a:lnTo>
                    <a:pt x="309" y="51"/>
                  </a:lnTo>
                  <a:lnTo>
                    <a:pt x="307" y="51"/>
                  </a:lnTo>
                  <a:lnTo>
                    <a:pt x="304" y="52"/>
                  </a:lnTo>
                  <a:lnTo>
                    <a:pt x="301" y="53"/>
                  </a:lnTo>
                  <a:lnTo>
                    <a:pt x="274" y="69"/>
                  </a:lnTo>
                  <a:lnTo>
                    <a:pt x="266" y="63"/>
                  </a:lnTo>
                  <a:lnTo>
                    <a:pt x="256" y="56"/>
                  </a:lnTo>
                  <a:lnTo>
                    <a:pt x="246" y="51"/>
                  </a:lnTo>
                  <a:lnTo>
                    <a:pt x="237" y="47"/>
                  </a:lnTo>
                  <a:lnTo>
                    <a:pt x="237" y="14"/>
                  </a:lnTo>
                  <a:lnTo>
                    <a:pt x="236" y="10"/>
                  </a:lnTo>
                  <a:lnTo>
                    <a:pt x="236" y="8"/>
                  </a:lnTo>
                  <a:lnTo>
                    <a:pt x="233" y="5"/>
                  </a:lnTo>
                  <a:lnTo>
                    <a:pt x="232" y="3"/>
                  </a:lnTo>
                  <a:lnTo>
                    <a:pt x="229" y="2"/>
                  </a:lnTo>
                  <a:lnTo>
                    <a:pt x="227" y="1"/>
                  </a:lnTo>
                  <a:lnTo>
                    <a:pt x="224" y="0"/>
                  </a:lnTo>
                  <a:lnTo>
                    <a:pt x="222" y="0"/>
                  </a:lnTo>
                  <a:lnTo>
                    <a:pt x="146" y="0"/>
                  </a:lnTo>
                  <a:lnTo>
                    <a:pt x="143" y="0"/>
                  </a:lnTo>
                  <a:lnTo>
                    <a:pt x="140" y="1"/>
                  </a:lnTo>
                  <a:lnTo>
                    <a:pt x="137" y="2"/>
                  </a:lnTo>
                  <a:lnTo>
                    <a:pt x="135" y="3"/>
                  </a:lnTo>
                  <a:lnTo>
                    <a:pt x="134" y="5"/>
                  </a:lnTo>
                  <a:lnTo>
                    <a:pt x="132" y="8"/>
                  </a:lnTo>
                  <a:lnTo>
                    <a:pt x="132" y="10"/>
                  </a:lnTo>
                  <a:lnTo>
                    <a:pt x="131" y="14"/>
                  </a:lnTo>
                  <a:lnTo>
                    <a:pt x="131" y="47"/>
                  </a:lnTo>
                  <a:lnTo>
                    <a:pt x="120" y="52"/>
                  </a:lnTo>
                  <a:lnTo>
                    <a:pt x="109" y="57"/>
                  </a:lnTo>
                  <a:lnTo>
                    <a:pt x="99" y="63"/>
                  </a:lnTo>
                  <a:lnTo>
                    <a:pt x="90" y="69"/>
                  </a:lnTo>
                  <a:lnTo>
                    <a:pt x="61" y="53"/>
                  </a:lnTo>
                  <a:lnTo>
                    <a:pt x="58" y="52"/>
                  </a:lnTo>
                  <a:lnTo>
                    <a:pt x="55" y="51"/>
                  </a:lnTo>
                  <a:lnTo>
                    <a:pt x="53" y="51"/>
                  </a:lnTo>
                  <a:lnTo>
                    <a:pt x="49" y="51"/>
                  </a:lnTo>
                  <a:lnTo>
                    <a:pt x="47" y="52"/>
                  </a:lnTo>
                  <a:lnTo>
                    <a:pt x="44" y="54"/>
                  </a:lnTo>
                  <a:lnTo>
                    <a:pt x="42" y="56"/>
                  </a:lnTo>
                  <a:lnTo>
                    <a:pt x="41" y="59"/>
                  </a:lnTo>
                  <a:lnTo>
                    <a:pt x="2" y="124"/>
                  </a:lnTo>
                  <a:lnTo>
                    <a:pt x="1" y="12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6"/>
                  </a:lnTo>
                  <a:lnTo>
                    <a:pt x="2" y="139"/>
                  </a:lnTo>
                  <a:lnTo>
                    <a:pt x="3" y="141"/>
                  </a:lnTo>
                  <a:lnTo>
                    <a:pt x="6" y="143"/>
                  </a:lnTo>
                  <a:lnTo>
                    <a:pt x="8" y="144"/>
                  </a:lnTo>
                  <a:lnTo>
                    <a:pt x="36" y="160"/>
                  </a:lnTo>
                  <a:lnTo>
                    <a:pt x="34" y="172"/>
                  </a:lnTo>
                  <a:lnTo>
                    <a:pt x="34" y="183"/>
                  </a:lnTo>
                  <a:lnTo>
                    <a:pt x="34" y="195"/>
                  </a:lnTo>
                  <a:lnTo>
                    <a:pt x="36" y="207"/>
                  </a:lnTo>
                  <a:lnTo>
                    <a:pt x="8" y="223"/>
                  </a:lnTo>
                  <a:lnTo>
                    <a:pt x="6" y="224"/>
                  </a:lnTo>
                  <a:lnTo>
                    <a:pt x="3" y="227"/>
                  </a:lnTo>
                  <a:lnTo>
                    <a:pt x="1" y="230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1" y="240"/>
                  </a:lnTo>
                  <a:lnTo>
                    <a:pt x="2" y="243"/>
                  </a:lnTo>
                  <a:lnTo>
                    <a:pt x="40" y="309"/>
                  </a:lnTo>
                  <a:lnTo>
                    <a:pt x="42" y="311"/>
                  </a:lnTo>
                  <a:lnTo>
                    <a:pt x="44" y="313"/>
                  </a:lnTo>
                  <a:lnTo>
                    <a:pt x="46" y="314"/>
                  </a:lnTo>
                  <a:lnTo>
                    <a:pt x="48" y="315"/>
                  </a:lnTo>
                  <a:lnTo>
                    <a:pt x="55" y="316"/>
                  </a:lnTo>
                  <a:lnTo>
                    <a:pt x="60" y="314"/>
                  </a:lnTo>
                  <a:lnTo>
                    <a:pt x="90" y="297"/>
                  </a:lnTo>
                  <a:lnTo>
                    <a:pt x="99" y="304"/>
                  </a:lnTo>
                  <a:lnTo>
                    <a:pt x="109" y="310"/>
                  </a:lnTo>
                  <a:lnTo>
                    <a:pt x="120" y="316"/>
                  </a:lnTo>
                  <a:lnTo>
                    <a:pt x="131" y="321"/>
                  </a:lnTo>
                  <a:lnTo>
                    <a:pt x="131" y="354"/>
                  </a:lnTo>
                  <a:lnTo>
                    <a:pt x="132" y="356"/>
                  </a:lnTo>
                  <a:lnTo>
                    <a:pt x="132" y="359"/>
                  </a:lnTo>
                  <a:lnTo>
                    <a:pt x="134" y="361"/>
                  </a:lnTo>
                  <a:lnTo>
                    <a:pt x="135" y="363"/>
                  </a:lnTo>
                  <a:lnTo>
                    <a:pt x="137" y="366"/>
                  </a:lnTo>
                  <a:lnTo>
                    <a:pt x="140" y="368"/>
                  </a:lnTo>
                  <a:lnTo>
                    <a:pt x="143" y="368"/>
                  </a:lnTo>
                  <a:lnTo>
                    <a:pt x="146" y="369"/>
                  </a:lnTo>
                  <a:lnTo>
                    <a:pt x="222" y="369"/>
                  </a:lnTo>
                  <a:lnTo>
                    <a:pt x="225" y="368"/>
                  </a:lnTo>
                  <a:lnTo>
                    <a:pt x="227" y="368"/>
                  </a:lnTo>
                  <a:lnTo>
                    <a:pt x="229" y="366"/>
                  </a:lnTo>
                  <a:lnTo>
                    <a:pt x="232" y="363"/>
                  </a:lnTo>
                  <a:lnTo>
                    <a:pt x="233" y="361"/>
                  </a:lnTo>
                  <a:lnTo>
                    <a:pt x="236" y="359"/>
                  </a:lnTo>
                  <a:lnTo>
                    <a:pt x="236" y="356"/>
                  </a:lnTo>
                  <a:lnTo>
                    <a:pt x="237" y="354"/>
                  </a:lnTo>
                  <a:lnTo>
                    <a:pt x="237" y="321"/>
                  </a:lnTo>
                  <a:lnTo>
                    <a:pt x="246" y="316"/>
                  </a:lnTo>
                  <a:lnTo>
                    <a:pt x="256" y="311"/>
                  </a:lnTo>
                  <a:lnTo>
                    <a:pt x="266" y="305"/>
                  </a:lnTo>
                  <a:lnTo>
                    <a:pt x="274" y="298"/>
                  </a:lnTo>
                  <a:lnTo>
                    <a:pt x="302" y="313"/>
                  </a:lnTo>
                  <a:lnTo>
                    <a:pt x="305" y="315"/>
                  </a:lnTo>
                  <a:lnTo>
                    <a:pt x="307" y="315"/>
                  </a:lnTo>
                  <a:lnTo>
                    <a:pt x="310" y="316"/>
                  </a:lnTo>
                  <a:lnTo>
                    <a:pt x="314" y="316"/>
                  </a:lnTo>
                  <a:lnTo>
                    <a:pt x="319" y="313"/>
                  </a:lnTo>
                  <a:lnTo>
                    <a:pt x="322" y="309"/>
                  </a:lnTo>
                  <a:lnTo>
                    <a:pt x="360" y="243"/>
                  </a:lnTo>
                  <a:lnTo>
                    <a:pt x="362" y="240"/>
                  </a:lnTo>
                  <a:lnTo>
                    <a:pt x="362" y="237"/>
                  </a:lnTo>
                  <a:lnTo>
                    <a:pt x="362" y="234"/>
                  </a:lnTo>
                  <a:lnTo>
                    <a:pt x="362" y="232"/>
                  </a:lnTo>
                  <a:lnTo>
                    <a:pt x="361" y="229"/>
                  </a:lnTo>
                  <a:lnTo>
                    <a:pt x="359" y="227"/>
                  </a:lnTo>
                  <a:lnTo>
                    <a:pt x="357" y="224"/>
                  </a:lnTo>
                  <a:lnTo>
                    <a:pt x="354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1196088-35C1-41D2-BA69-2F641D673C51}"/>
              </a:ext>
            </a:extLst>
          </p:cNvPr>
          <p:cNvGrpSpPr/>
          <p:nvPr/>
        </p:nvGrpSpPr>
        <p:grpSpPr>
          <a:xfrm>
            <a:off x="8094508" y="2213055"/>
            <a:ext cx="612531" cy="530861"/>
            <a:chOff x="5467350" y="1400175"/>
            <a:chExt cx="285750" cy="247650"/>
          </a:xfrm>
          <a:solidFill>
            <a:schemeClr val="accent2"/>
          </a:solidFill>
        </p:grpSpPr>
        <p:sp>
          <p:nvSpPr>
            <p:cNvPr id="74" name="Freeform 2692">
              <a:extLst>
                <a:ext uri="{FF2B5EF4-FFF2-40B4-BE49-F238E27FC236}">
                  <a16:creationId xmlns:a16="http://schemas.microsoft.com/office/drawing/2014/main" id="{FD9D3C7B-6B3B-46D2-8745-2E71A7F56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75" y="1447800"/>
              <a:ext cx="47625" cy="200025"/>
            </a:xfrm>
            <a:custGeom>
              <a:avLst/>
              <a:gdLst>
                <a:gd name="T0" fmla="*/ 36 w 120"/>
                <a:gd name="T1" fmla="*/ 0 h 504"/>
                <a:gd name="T2" fmla="*/ 0 w 120"/>
                <a:gd name="T3" fmla="*/ 0 h 504"/>
                <a:gd name="T4" fmla="*/ 0 w 120"/>
                <a:gd name="T5" fmla="*/ 504 h 504"/>
                <a:gd name="T6" fmla="*/ 36 w 120"/>
                <a:gd name="T7" fmla="*/ 504 h 504"/>
                <a:gd name="T8" fmla="*/ 45 w 120"/>
                <a:gd name="T9" fmla="*/ 503 h 504"/>
                <a:gd name="T10" fmla="*/ 53 w 120"/>
                <a:gd name="T11" fmla="*/ 502 h 504"/>
                <a:gd name="T12" fmla="*/ 61 w 120"/>
                <a:gd name="T13" fmla="*/ 500 h 504"/>
                <a:gd name="T14" fmla="*/ 68 w 120"/>
                <a:gd name="T15" fmla="*/ 497 h 504"/>
                <a:gd name="T16" fmla="*/ 76 w 120"/>
                <a:gd name="T17" fmla="*/ 494 h 504"/>
                <a:gd name="T18" fmla="*/ 82 w 120"/>
                <a:gd name="T19" fmla="*/ 490 h 504"/>
                <a:gd name="T20" fmla="*/ 90 w 120"/>
                <a:gd name="T21" fmla="*/ 484 h 504"/>
                <a:gd name="T22" fmla="*/ 96 w 120"/>
                <a:gd name="T23" fmla="*/ 479 h 504"/>
                <a:gd name="T24" fmla="*/ 101 w 120"/>
                <a:gd name="T25" fmla="*/ 473 h 504"/>
                <a:gd name="T26" fmla="*/ 106 w 120"/>
                <a:gd name="T27" fmla="*/ 467 h 504"/>
                <a:gd name="T28" fmla="*/ 110 w 120"/>
                <a:gd name="T29" fmla="*/ 460 h 504"/>
                <a:gd name="T30" fmla="*/ 113 w 120"/>
                <a:gd name="T31" fmla="*/ 453 h 504"/>
                <a:gd name="T32" fmla="*/ 116 w 120"/>
                <a:gd name="T33" fmla="*/ 445 h 504"/>
                <a:gd name="T34" fmla="*/ 118 w 120"/>
                <a:gd name="T35" fmla="*/ 437 h 504"/>
                <a:gd name="T36" fmla="*/ 120 w 120"/>
                <a:gd name="T37" fmla="*/ 429 h 504"/>
                <a:gd name="T38" fmla="*/ 120 w 120"/>
                <a:gd name="T39" fmla="*/ 419 h 504"/>
                <a:gd name="T40" fmla="*/ 120 w 120"/>
                <a:gd name="T41" fmla="*/ 83 h 504"/>
                <a:gd name="T42" fmla="*/ 120 w 120"/>
                <a:gd name="T43" fmla="*/ 75 h 504"/>
                <a:gd name="T44" fmla="*/ 118 w 120"/>
                <a:gd name="T45" fmla="*/ 67 h 504"/>
                <a:gd name="T46" fmla="*/ 116 w 120"/>
                <a:gd name="T47" fmla="*/ 59 h 504"/>
                <a:gd name="T48" fmla="*/ 113 w 120"/>
                <a:gd name="T49" fmla="*/ 51 h 504"/>
                <a:gd name="T50" fmla="*/ 110 w 120"/>
                <a:gd name="T51" fmla="*/ 44 h 504"/>
                <a:gd name="T52" fmla="*/ 106 w 120"/>
                <a:gd name="T53" fmla="*/ 36 h 504"/>
                <a:gd name="T54" fmla="*/ 101 w 120"/>
                <a:gd name="T55" fmla="*/ 30 h 504"/>
                <a:gd name="T56" fmla="*/ 96 w 120"/>
                <a:gd name="T57" fmla="*/ 24 h 504"/>
                <a:gd name="T58" fmla="*/ 90 w 120"/>
                <a:gd name="T59" fmla="*/ 19 h 504"/>
                <a:gd name="T60" fmla="*/ 82 w 120"/>
                <a:gd name="T61" fmla="*/ 14 h 504"/>
                <a:gd name="T62" fmla="*/ 76 w 120"/>
                <a:gd name="T63" fmla="*/ 10 h 504"/>
                <a:gd name="T64" fmla="*/ 68 w 120"/>
                <a:gd name="T65" fmla="*/ 6 h 504"/>
                <a:gd name="T66" fmla="*/ 61 w 120"/>
                <a:gd name="T67" fmla="*/ 3 h 504"/>
                <a:gd name="T68" fmla="*/ 53 w 120"/>
                <a:gd name="T69" fmla="*/ 1 h 504"/>
                <a:gd name="T70" fmla="*/ 45 w 120"/>
                <a:gd name="T71" fmla="*/ 0 h 504"/>
                <a:gd name="T72" fmla="*/ 36 w 120"/>
                <a:gd name="T73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" h="504">
                  <a:moveTo>
                    <a:pt x="36" y="0"/>
                  </a:moveTo>
                  <a:lnTo>
                    <a:pt x="0" y="0"/>
                  </a:lnTo>
                  <a:lnTo>
                    <a:pt x="0" y="504"/>
                  </a:lnTo>
                  <a:lnTo>
                    <a:pt x="36" y="504"/>
                  </a:lnTo>
                  <a:lnTo>
                    <a:pt x="45" y="503"/>
                  </a:lnTo>
                  <a:lnTo>
                    <a:pt x="53" y="502"/>
                  </a:lnTo>
                  <a:lnTo>
                    <a:pt x="61" y="500"/>
                  </a:lnTo>
                  <a:lnTo>
                    <a:pt x="68" y="497"/>
                  </a:lnTo>
                  <a:lnTo>
                    <a:pt x="76" y="494"/>
                  </a:lnTo>
                  <a:lnTo>
                    <a:pt x="82" y="490"/>
                  </a:lnTo>
                  <a:lnTo>
                    <a:pt x="90" y="484"/>
                  </a:lnTo>
                  <a:lnTo>
                    <a:pt x="96" y="479"/>
                  </a:lnTo>
                  <a:lnTo>
                    <a:pt x="101" y="473"/>
                  </a:lnTo>
                  <a:lnTo>
                    <a:pt x="106" y="467"/>
                  </a:lnTo>
                  <a:lnTo>
                    <a:pt x="110" y="460"/>
                  </a:lnTo>
                  <a:lnTo>
                    <a:pt x="113" y="453"/>
                  </a:lnTo>
                  <a:lnTo>
                    <a:pt x="116" y="445"/>
                  </a:lnTo>
                  <a:lnTo>
                    <a:pt x="118" y="437"/>
                  </a:lnTo>
                  <a:lnTo>
                    <a:pt x="120" y="429"/>
                  </a:lnTo>
                  <a:lnTo>
                    <a:pt x="120" y="419"/>
                  </a:lnTo>
                  <a:lnTo>
                    <a:pt x="120" y="83"/>
                  </a:lnTo>
                  <a:lnTo>
                    <a:pt x="120" y="75"/>
                  </a:lnTo>
                  <a:lnTo>
                    <a:pt x="118" y="67"/>
                  </a:lnTo>
                  <a:lnTo>
                    <a:pt x="116" y="59"/>
                  </a:lnTo>
                  <a:lnTo>
                    <a:pt x="113" y="51"/>
                  </a:lnTo>
                  <a:lnTo>
                    <a:pt x="110" y="44"/>
                  </a:lnTo>
                  <a:lnTo>
                    <a:pt x="106" y="36"/>
                  </a:lnTo>
                  <a:lnTo>
                    <a:pt x="101" y="30"/>
                  </a:lnTo>
                  <a:lnTo>
                    <a:pt x="96" y="24"/>
                  </a:lnTo>
                  <a:lnTo>
                    <a:pt x="90" y="19"/>
                  </a:lnTo>
                  <a:lnTo>
                    <a:pt x="82" y="14"/>
                  </a:lnTo>
                  <a:lnTo>
                    <a:pt x="76" y="10"/>
                  </a:lnTo>
                  <a:lnTo>
                    <a:pt x="68" y="6"/>
                  </a:lnTo>
                  <a:lnTo>
                    <a:pt x="61" y="3"/>
                  </a:lnTo>
                  <a:lnTo>
                    <a:pt x="53" y="1"/>
                  </a:lnTo>
                  <a:lnTo>
                    <a:pt x="45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693">
              <a:extLst>
                <a:ext uri="{FF2B5EF4-FFF2-40B4-BE49-F238E27FC236}">
                  <a16:creationId xmlns:a16="http://schemas.microsoft.com/office/drawing/2014/main" id="{842754CA-69EA-4650-8320-A6182195B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2600" y="1400175"/>
              <a:ext cx="95250" cy="247650"/>
            </a:xfrm>
            <a:custGeom>
              <a:avLst/>
              <a:gdLst>
                <a:gd name="T0" fmla="*/ 217 w 241"/>
                <a:gd name="T1" fmla="*/ 121 h 625"/>
                <a:gd name="T2" fmla="*/ 25 w 241"/>
                <a:gd name="T3" fmla="*/ 121 h 625"/>
                <a:gd name="T4" fmla="*/ 25 w 241"/>
                <a:gd name="T5" fmla="*/ 72 h 625"/>
                <a:gd name="T6" fmla="*/ 26 w 241"/>
                <a:gd name="T7" fmla="*/ 63 h 625"/>
                <a:gd name="T8" fmla="*/ 29 w 241"/>
                <a:gd name="T9" fmla="*/ 54 h 625"/>
                <a:gd name="T10" fmla="*/ 33 w 241"/>
                <a:gd name="T11" fmla="*/ 46 h 625"/>
                <a:gd name="T12" fmla="*/ 39 w 241"/>
                <a:gd name="T13" fmla="*/ 39 h 625"/>
                <a:gd name="T14" fmla="*/ 46 w 241"/>
                <a:gd name="T15" fmla="*/ 32 h 625"/>
                <a:gd name="T16" fmla="*/ 54 w 241"/>
                <a:gd name="T17" fmla="*/ 28 h 625"/>
                <a:gd name="T18" fmla="*/ 63 w 241"/>
                <a:gd name="T19" fmla="*/ 25 h 625"/>
                <a:gd name="T20" fmla="*/ 73 w 241"/>
                <a:gd name="T21" fmla="*/ 24 h 625"/>
                <a:gd name="T22" fmla="*/ 169 w 241"/>
                <a:gd name="T23" fmla="*/ 24 h 625"/>
                <a:gd name="T24" fmla="*/ 178 w 241"/>
                <a:gd name="T25" fmla="*/ 25 h 625"/>
                <a:gd name="T26" fmla="*/ 187 w 241"/>
                <a:gd name="T27" fmla="*/ 28 h 625"/>
                <a:gd name="T28" fmla="*/ 195 w 241"/>
                <a:gd name="T29" fmla="*/ 32 h 625"/>
                <a:gd name="T30" fmla="*/ 203 w 241"/>
                <a:gd name="T31" fmla="*/ 39 h 625"/>
                <a:gd name="T32" fmla="*/ 209 w 241"/>
                <a:gd name="T33" fmla="*/ 46 h 625"/>
                <a:gd name="T34" fmla="*/ 213 w 241"/>
                <a:gd name="T35" fmla="*/ 54 h 625"/>
                <a:gd name="T36" fmla="*/ 216 w 241"/>
                <a:gd name="T37" fmla="*/ 63 h 625"/>
                <a:gd name="T38" fmla="*/ 217 w 241"/>
                <a:gd name="T39" fmla="*/ 72 h 625"/>
                <a:gd name="T40" fmla="*/ 217 w 241"/>
                <a:gd name="T41" fmla="*/ 121 h 625"/>
                <a:gd name="T42" fmla="*/ 169 w 241"/>
                <a:gd name="T43" fmla="*/ 0 h 625"/>
                <a:gd name="T44" fmla="*/ 73 w 241"/>
                <a:gd name="T45" fmla="*/ 0 h 625"/>
                <a:gd name="T46" fmla="*/ 65 w 241"/>
                <a:gd name="T47" fmla="*/ 1 h 625"/>
                <a:gd name="T48" fmla="*/ 58 w 241"/>
                <a:gd name="T49" fmla="*/ 2 h 625"/>
                <a:gd name="T50" fmla="*/ 51 w 241"/>
                <a:gd name="T51" fmla="*/ 4 h 625"/>
                <a:gd name="T52" fmla="*/ 45 w 241"/>
                <a:gd name="T53" fmla="*/ 6 h 625"/>
                <a:gd name="T54" fmla="*/ 38 w 241"/>
                <a:gd name="T55" fmla="*/ 9 h 625"/>
                <a:gd name="T56" fmla="*/ 33 w 241"/>
                <a:gd name="T57" fmla="*/ 13 h 625"/>
                <a:gd name="T58" fmla="*/ 27 w 241"/>
                <a:gd name="T59" fmla="*/ 17 h 625"/>
                <a:gd name="T60" fmla="*/ 22 w 241"/>
                <a:gd name="T61" fmla="*/ 21 h 625"/>
                <a:gd name="T62" fmla="*/ 17 w 241"/>
                <a:gd name="T63" fmla="*/ 26 h 625"/>
                <a:gd name="T64" fmla="*/ 13 w 241"/>
                <a:gd name="T65" fmla="*/ 32 h 625"/>
                <a:gd name="T66" fmla="*/ 10 w 241"/>
                <a:gd name="T67" fmla="*/ 39 h 625"/>
                <a:gd name="T68" fmla="*/ 6 w 241"/>
                <a:gd name="T69" fmla="*/ 45 h 625"/>
                <a:gd name="T70" fmla="*/ 3 w 241"/>
                <a:gd name="T71" fmla="*/ 51 h 625"/>
                <a:gd name="T72" fmla="*/ 2 w 241"/>
                <a:gd name="T73" fmla="*/ 58 h 625"/>
                <a:gd name="T74" fmla="*/ 1 w 241"/>
                <a:gd name="T75" fmla="*/ 65 h 625"/>
                <a:gd name="T76" fmla="*/ 0 w 241"/>
                <a:gd name="T77" fmla="*/ 72 h 625"/>
                <a:gd name="T78" fmla="*/ 0 w 241"/>
                <a:gd name="T79" fmla="*/ 121 h 625"/>
                <a:gd name="T80" fmla="*/ 0 w 241"/>
                <a:gd name="T81" fmla="*/ 132 h 625"/>
                <a:gd name="T82" fmla="*/ 0 w 241"/>
                <a:gd name="T83" fmla="*/ 625 h 625"/>
                <a:gd name="T84" fmla="*/ 241 w 241"/>
                <a:gd name="T85" fmla="*/ 625 h 625"/>
                <a:gd name="T86" fmla="*/ 241 w 241"/>
                <a:gd name="T87" fmla="*/ 132 h 625"/>
                <a:gd name="T88" fmla="*/ 241 w 241"/>
                <a:gd name="T89" fmla="*/ 121 h 625"/>
                <a:gd name="T90" fmla="*/ 241 w 241"/>
                <a:gd name="T91" fmla="*/ 72 h 625"/>
                <a:gd name="T92" fmla="*/ 240 w 241"/>
                <a:gd name="T93" fmla="*/ 65 h 625"/>
                <a:gd name="T94" fmla="*/ 239 w 241"/>
                <a:gd name="T95" fmla="*/ 58 h 625"/>
                <a:gd name="T96" fmla="*/ 237 w 241"/>
                <a:gd name="T97" fmla="*/ 51 h 625"/>
                <a:gd name="T98" fmla="*/ 235 w 241"/>
                <a:gd name="T99" fmla="*/ 45 h 625"/>
                <a:gd name="T100" fmla="*/ 232 w 241"/>
                <a:gd name="T101" fmla="*/ 39 h 625"/>
                <a:gd name="T102" fmla="*/ 228 w 241"/>
                <a:gd name="T103" fmla="*/ 32 h 625"/>
                <a:gd name="T104" fmla="*/ 224 w 241"/>
                <a:gd name="T105" fmla="*/ 26 h 625"/>
                <a:gd name="T106" fmla="*/ 220 w 241"/>
                <a:gd name="T107" fmla="*/ 21 h 625"/>
                <a:gd name="T108" fmla="*/ 215 w 241"/>
                <a:gd name="T109" fmla="*/ 17 h 625"/>
                <a:gd name="T110" fmla="*/ 209 w 241"/>
                <a:gd name="T111" fmla="*/ 13 h 625"/>
                <a:gd name="T112" fmla="*/ 203 w 241"/>
                <a:gd name="T113" fmla="*/ 9 h 625"/>
                <a:gd name="T114" fmla="*/ 196 w 241"/>
                <a:gd name="T115" fmla="*/ 6 h 625"/>
                <a:gd name="T116" fmla="*/ 190 w 241"/>
                <a:gd name="T117" fmla="*/ 4 h 625"/>
                <a:gd name="T118" fmla="*/ 183 w 241"/>
                <a:gd name="T119" fmla="*/ 2 h 625"/>
                <a:gd name="T120" fmla="*/ 176 w 241"/>
                <a:gd name="T121" fmla="*/ 1 h 625"/>
                <a:gd name="T122" fmla="*/ 169 w 241"/>
                <a:gd name="T123" fmla="*/ 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1" h="625">
                  <a:moveTo>
                    <a:pt x="217" y="121"/>
                  </a:moveTo>
                  <a:lnTo>
                    <a:pt x="25" y="121"/>
                  </a:lnTo>
                  <a:lnTo>
                    <a:pt x="25" y="72"/>
                  </a:lnTo>
                  <a:lnTo>
                    <a:pt x="26" y="63"/>
                  </a:lnTo>
                  <a:lnTo>
                    <a:pt x="29" y="54"/>
                  </a:lnTo>
                  <a:lnTo>
                    <a:pt x="33" y="46"/>
                  </a:lnTo>
                  <a:lnTo>
                    <a:pt x="39" y="39"/>
                  </a:lnTo>
                  <a:lnTo>
                    <a:pt x="46" y="32"/>
                  </a:lnTo>
                  <a:lnTo>
                    <a:pt x="54" y="28"/>
                  </a:lnTo>
                  <a:lnTo>
                    <a:pt x="63" y="25"/>
                  </a:lnTo>
                  <a:lnTo>
                    <a:pt x="73" y="24"/>
                  </a:lnTo>
                  <a:lnTo>
                    <a:pt x="169" y="24"/>
                  </a:lnTo>
                  <a:lnTo>
                    <a:pt x="178" y="25"/>
                  </a:lnTo>
                  <a:lnTo>
                    <a:pt x="187" y="28"/>
                  </a:lnTo>
                  <a:lnTo>
                    <a:pt x="195" y="32"/>
                  </a:lnTo>
                  <a:lnTo>
                    <a:pt x="203" y="39"/>
                  </a:lnTo>
                  <a:lnTo>
                    <a:pt x="209" y="46"/>
                  </a:lnTo>
                  <a:lnTo>
                    <a:pt x="213" y="54"/>
                  </a:lnTo>
                  <a:lnTo>
                    <a:pt x="216" y="63"/>
                  </a:lnTo>
                  <a:lnTo>
                    <a:pt x="217" y="72"/>
                  </a:lnTo>
                  <a:lnTo>
                    <a:pt x="217" y="121"/>
                  </a:lnTo>
                  <a:close/>
                  <a:moveTo>
                    <a:pt x="169" y="0"/>
                  </a:moveTo>
                  <a:lnTo>
                    <a:pt x="73" y="0"/>
                  </a:lnTo>
                  <a:lnTo>
                    <a:pt x="65" y="1"/>
                  </a:lnTo>
                  <a:lnTo>
                    <a:pt x="58" y="2"/>
                  </a:lnTo>
                  <a:lnTo>
                    <a:pt x="51" y="4"/>
                  </a:lnTo>
                  <a:lnTo>
                    <a:pt x="45" y="6"/>
                  </a:lnTo>
                  <a:lnTo>
                    <a:pt x="38" y="9"/>
                  </a:lnTo>
                  <a:lnTo>
                    <a:pt x="33" y="13"/>
                  </a:lnTo>
                  <a:lnTo>
                    <a:pt x="27" y="17"/>
                  </a:lnTo>
                  <a:lnTo>
                    <a:pt x="22" y="21"/>
                  </a:lnTo>
                  <a:lnTo>
                    <a:pt x="17" y="26"/>
                  </a:lnTo>
                  <a:lnTo>
                    <a:pt x="13" y="32"/>
                  </a:lnTo>
                  <a:lnTo>
                    <a:pt x="10" y="39"/>
                  </a:lnTo>
                  <a:lnTo>
                    <a:pt x="6" y="45"/>
                  </a:lnTo>
                  <a:lnTo>
                    <a:pt x="3" y="51"/>
                  </a:lnTo>
                  <a:lnTo>
                    <a:pt x="2" y="58"/>
                  </a:lnTo>
                  <a:lnTo>
                    <a:pt x="1" y="65"/>
                  </a:lnTo>
                  <a:lnTo>
                    <a:pt x="0" y="72"/>
                  </a:lnTo>
                  <a:lnTo>
                    <a:pt x="0" y="121"/>
                  </a:lnTo>
                  <a:lnTo>
                    <a:pt x="0" y="132"/>
                  </a:lnTo>
                  <a:lnTo>
                    <a:pt x="0" y="625"/>
                  </a:lnTo>
                  <a:lnTo>
                    <a:pt x="241" y="625"/>
                  </a:lnTo>
                  <a:lnTo>
                    <a:pt x="241" y="132"/>
                  </a:lnTo>
                  <a:lnTo>
                    <a:pt x="241" y="121"/>
                  </a:lnTo>
                  <a:lnTo>
                    <a:pt x="241" y="72"/>
                  </a:lnTo>
                  <a:lnTo>
                    <a:pt x="240" y="65"/>
                  </a:lnTo>
                  <a:lnTo>
                    <a:pt x="239" y="58"/>
                  </a:lnTo>
                  <a:lnTo>
                    <a:pt x="237" y="51"/>
                  </a:lnTo>
                  <a:lnTo>
                    <a:pt x="235" y="45"/>
                  </a:lnTo>
                  <a:lnTo>
                    <a:pt x="232" y="39"/>
                  </a:lnTo>
                  <a:lnTo>
                    <a:pt x="228" y="32"/>
                  </a:lnTo>
                  <a:lnTo>
                    <a:pt x="224" y="26"/>
                  </a:lnTo>
                  <a:lnTo>
                    <a:pt x="220" y="21"/>
                  </a:lnTo>
                  <a:lnTo>
                    <a:pt x="215" y="17"/>
                  </a:lnTo>
                  <a:lnTo>
                    <a:pt x="209" y="13"/>
                  </a:lnTo>
                  <a:lnTo>
                    <a:pt x="203" y="9"/>
                  </a:lnTo>
                  <a:lnTo>
                    <a:pt x="196" y="6"/>
                  </a:lnTo>
                  <a:lnTo>
                    <a:pt x="190" y="4"/>
                  </a:lnTo>
                  <a:lnTo>
                    <a:pt x="183" y="2"/>
                  </a:lnTo>
                  <a:lnTo>
                    <a:pt x="176" y="1"/>
                  </a:lnTo>
                  <a:lnTo>
                    <a:pt x="1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694">
              <a:extLst>
                <a:ext uri="{FF2B5EF4-FFF2-40B4-BE49-F238E27FC236}">
                  <a16:creationId xmlns:a16="http://schemas.microsoft.com/office/drawing/2014/main" id="{99F93FA2-AD8C-491A-A7FA-D0A4BF4E61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7375" y="1447800"/>
              <a:ext cx="28575" cy="200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695">
              <a:extLst>
                <a:ext uri="{FF2B5EF4-FFF2-40B4-BE49-F238E27FC236}">
                  <a16:creationId xmlns:a16="http://schemas.microsoft.com/office/drawing/2014/main" id="{5E172292-47D4-4131-862D-68B410456B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4500" y="1447800"/>
              <a:ext cx="28575" cy="200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696">
              <a:extLst>
                <a:ext uri="{FF2B5EF4-FFF2-40B4-BE49-F238E27FC236}">
                  <a16:creationId xmlns:a16="http://schemas.microsoft.com/office/drawing/2014/main" id="{74B2FBD8-1A22-4853-8EDE-EA6FB3E66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350" y="1447800"/>
              <a:ext cx="47625" cy="200025"/>
            </a:xfrm>
            <a:custGeom>
              <a:avLst/>
              <a:gdLst>
                <a:gd name="T0" fmla="*/ 0 w 119"/>
                <a:gd name="T1" fmla="*/ 83 h 504"/>
                <a:gd name="T2" fmla="*/ 0 w 119"/>
                <a:gd name="T3" fmla="*/ 419 h 504"/>
                <a:gd name="T4" fmla="*/ 0 w 119"/>
                <a:gd name="T5" fmla="*/ 429 h 504"/>
                <a:gd name="T6" fmla="*/ 2 w 119"/>
                <a:gd name="T7" fmla="*/ 437 h 504"/>
                <a:gd name="T8" fmla="*/ 4 w 119"/>
                <a:gd name="T9" fmla="*/ 445 h 504"/>
                <a:gd name="T10" fmla="*/ 6 w 119"/>
                <a:gd name="T11" fmla="*/ 453 h 504"/>
                <a:gd name="T12" fmla="*/ 10 w 119"/>
                <a:gd name="T13" fmla="*/ 460 h 504"/>
                <a:gd name="T14" fmla="*/ 14 w 119"/>
                <a:gd name="T15" fmla="*/ 467 h 504"/>
                <a:gd name="T16" fmla="*/ 19 w 119"/>
                <a:gd name="T17" fmla="*/ 473 h 504"/>
                <a:gd name="T18" fmla="*/ 24 w 119"/>
                <a:gd name="T19" fmla="*/ 479 h 504"/>
                <a:gd name="T20" fmla="*/ 30 w 119"/>
                <a:gd name="T21" fmla="*/ 484 h 504"/>
                <a:gd name="T22" fmla="*/ 36 w 119"/>
                <a:gd name="T23" fmla="*/ 490 h 504"/>
                <a:gd name="T24" fmla="*/ 43 w 119"/>
                <a:gd name="T25" fmla="*/ 494 h 504"/>
                <a:gd name="T26" fmla="*/ 50 w 119"/>
                <a:gd name="T27" fmla="*/ 497 h 504"/>
                <a:gd name="T28" fmla="*/ 59 w 119"/>
                <a:gd name="T29" fmla="*/ 500 h 504"/>
                <a:gd name="T30" fmla="*/ 67 w 119"/>
                <a:gd name="T31" fmla="*/ 502 h 504"/>
                <a:gd name="T32" fmla="*/ 75 w 119"/>
                <a:gd name="T33" fmla="*/ 504 h 504"/>
                <a:gd name="T34" fmla="*/ 84 w 119"/>
                <a:gd name="T35" fmla="*/ 504 h 504"/>
                <a:gd name="T36" fmla="*/ 119 w 119"/>
                <a:gd name="T37" fmla="*/ 504 h 504"/>
                <a:gd name="T38" fmla="*/ 119 w 119"/>
                <a:gd name="T39" fmla="*/ 0 h 504"/>
                <a:gd name="T40" fmla="*/ 84 w 119"/>
                <a:gd name="T41" fmla="*/ 0 h 504"/>
                <a:gd name="T42" fmla="*/ 75 w 119"/>
                <a:gd name="T43" fmla="*/ 0 h 504"/>
                <a:gd name="T44" fmla="*/ 67 w 119"/>
                <a:gd name="T45" fmla="*/ 1 h 504"/>
                <a:gd name="T46" fmla="*/ 59 w 119"/>
                <a:gd name="T47" fmla="*/ 3 h 504"/>
                <a:gd name="T48" fmla="*/ 50 w 119"/>
                <a:gd name="T49" fmla="*/ 6 h 504"/>
                <a:gd name="T50" fmla="*/ 43 w 119"/>
                <a:gd name="T51" fmla="*/ 10 h 504"/>
                <a:gd name="T52" fmla="*/ 36 w 119"/>
                <a:gd name="T53" fmla="*/ 14 h 504"/>
                <a:gd name="T54" fmla="*/ 30 w 119"/>
                <a:gd name="T55" fmla="*/ 19 h 504"/>
                <a:gd name="T56" fmla="*/ 24 w 119"/>
                <a:gd name="T57" fmla="*/ 24 h 504"/>
                <a:gd name="T58" fmla="*/ 19 w 119"/>
                <a:gd name="T59" fmla="*/ 30 h 504"/>
                <a:gd name="T60" fmla="*/ 14 w 119"/>
                <a:gd name="T61" fmla="*/ 36 h 504"/>
                <a:gd name="T62" fmla="*/ 10 w 119"/>
                <a:gd name="T63" fmla="*/ 44 h 504"/>
                <a:gd name="T64" fmla="*/ 6 w 119"/>
                <a:gd name="T65" fmla="*/ 51 h 504"/>
                <a:gd name="T66" fmla="*/ 4 w 119"/>
                <a:gd name="T67" fmla="*/ 59 h 504"/>
                <a:gd name="T68" fmla="*/ 2 w 119"/>
                <a:gd name="T69" fmla="*/ 67 h 504"/>
                <a:gd name="T70" fmla="*/ 0 w 119"/>
                <a:gd name="T71" fmla="*/ 75 h 504"/>
                <a:gd name="T72" fmla="*/ 0 w 119"/>
                <a:gd name="T73" fmla="*/ 83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9" h="504">
                  <a:moveTo>
                    <a:pt x="0" y="83"/>
                  </a:moveTo>
                  <a:lnTo>
                    <a:pt x="0" y="419"/>
                  </a:lnTo>
                  <a:lnTo>
                    <a:pt x="0" y="429"/>
                  </a:lnTo>
                  <a:lnTo>
                    <a:pt x="2" y="437"/>
                  </a:lnTo>
                  <a:lnTo>
                    <a:pt x="4" y="445"/>
                  </a:lnTo>
                  <a:lnTo>
                    <a:pt x="6" y="453"/>
                  </a:lnTo>
                  <a:lnTo>
                    <a:pt x="10" y="460"/>
                  </a:lnTo>
                  <a:lnTo>
                    <a:pt x="14" y="467"/>
                  </a:lnTo>
                  <a:lnTo>
                    <a:pt x="19" y="473"/>
                  </a:lnTo>
                  <a:lnTo>
                    <a:pt x="24" y="479"/>
                  </a:lnTo>
                  <a:lnTo>
                    <a:pt x="30" y="484"/>
                  </a:lnTo>
                  <a:lnTo>
                    <a:pt x="36" y="490"/>
                  </a:lnTo>
                  <a:lnTo>
                    <a:pt x="43" y="494"/>
                  </a:lnTo>
                  <a:lnTo>
                    <a:pt x="50" y="497"/>
                  </a:lnTo>
                  <a:lnTo>
                    <a:pt x="59" y="500"/>
                  </a:lnTo>
                  <a:lnTo>
                    <a:pt x="67" y="502"/>
                  </a:lnTo>
                  <a:lnTo>
                    <a:pt x="75" y="504"/>
                  </a:lnTo>
                  <a:lnTo>
                    <a:pt x="84" y="504"/>
                  </a:lnTo>
                  <a:lnTo>
                    <a:pt x="119" y="504"/>
                  </a:lnTo>
                  <a:lnTo>
                    <a:pt x="119" y="0"/>
                  </a:lnTo>
                  <a:lnTo>
                    <a:pt x="84" y="0"/>
                  </a:lnTo>
                  <a:lnTo>
                    <a:pt x="75" y="0"/>
                  </a:lnTo>
                  <a:lnTo>
                    <a:pt x="67" y="1"/>
                  </a:lnTo>
                  <a:lnTo>
                    <a:pt x="59" y="3"/>
                  </a:lnTo>
                  <a:lnTo>
                    <a:pt x="50" y="6"/>
                  </a:lnTo>
                  <a:lnTo>
                    <a:pt x="43" y="10"/>
                  </a:lnTo>
                  <a:lnTo>
                    <a:pt x="36" y="14"/>
                  </a:lnTo>
                  <a:lnTo>
                    <a:pt x="30" y="19"/>
                  </a:lnTo>
                  <a:lnTo>
                    <a:pt x="24" y="24"/>
                  </a:lnTo>
                  <a:lnTo>
                    <a:pt x="19" y="30"/>
                  </a:lnTo>
                  <a:lnTo>
                    <a:pt x="14" y="36"/>
                  </a:lnTo>
                  <a:lnTo>
                    <a:pt x="10" y="44"/>
                  </a:lnTo>
                  <a:lnTo>
                    <a:pt x="6" y="51"/>
                  </a:lnTo>
                  <a:lnTo>
                    <a:pt x="4" y="59"/>
                  </a:lnTo>
                  <a:lnTo>
                    <a:pt x="2" y="67"/>
                  </a:lnTo>
                  <a:lnTo>
                    <a:pt x="0" y="75"/>
                  </a:lnTo>
                  <a:lnTo>
                    <a:pt x="0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833D1F64-70EB-453B-9D2B-6118EB0C013C}"/>
              </a:ext>
            </a:extLst>
          </p:cNvPr>
          <p:cNvGrpSpPr/>
          <p:nvPr/>
        </p:nvGrpSpPr>
        <p:grpSpPr>
          <a:xfrm>
            <a:off x="10402000" y="2177322"/>
            <a:ext cx="602326" cy="602326"/>
            <a:chOff x="6445250" y="2535238"/>
            <a:chExt cx="280988" cy="280988"/>
          </a:xfrm>
          <a:solidFill>
            <a:schemeClr val="accent1"/>
          </a:solidFill>
        </p:grpSpPr>
        <p:sp>
          <p:nvSpPr>
            <p:cNvPr id="80" name="Freeform 2270">
              <a:extLst>
                <a:ext uri="{FF2B5EF4-FFF2-40B4-BE49-F238E27FC236}">
                  <a16:creationId xmlns:a16="http://schemas.microsoft.com/office/drawing/2014/main" id="{639F4036-3438-45B9-B2D5-971948FA0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8913" y="2630488"/>
              <a:ext cx="93663" cy="173038"/>
            </a:xfrm>
            <a:custGeom>
              <a:avLst/>
              <a:gdLst>
                <a:gd name="T0" fmla="*/ 0 w 292"/>
                <a:gd name="T1" fmla="*/ 0 h 543"/>
                <a:gd name="T2" fmla="*/ 147 w 292"/>
                <a:gd name="T3" fmla="*/ 543 h 543"/>
                <a:gd name="T4" fmla="*/ 292 w 292"/>
                <a:gd name="T5" fmla="*/ 0 h 543"/>
                <a:gd name="T6" fmla="*/ 0 w 292"/>
                <a:gd name="T7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2" h="543">
                  <a:moveTo>
                    <a:pt x="0" y="0"/>
                  </a:moveTo>
                  <a:lnTo>
                    <a:pt x="147" y="543"/>
                  </a:lnTo>
                  <a:lnTo>
                    <a:pt x="29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271">
              <a:extLst>
                <a:ext uri="{FF2B5EF4-FFF2-40B4-BE49-F238E27FC236}">
                  <a16:creationId xmlns:a16="http://schemas.microsoft.com/office/drawing/2014/main" id="{C4AB84F1-A90A-4366-8B2B-BDBC77B7A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2088" y="2544763"/>
              <a:ext cx="87313" cy="76200"/>
            </a:xfrm>
            <a:custGeom>
              <a:avLst/>
              <a:gdLst>
                <a:gd name="T0" fmla="*/ 278 w 278"/>
                <a:gd name="T1" fmla="*/ 242 h 242"/>
                <a:gd name="T2" fmla="*/ 139 w 278"/>
                <a:gd name="T3" fmla="*/ 0 h 242"/>
                <a:gd name="T4" fmla="*/ 0 w 278"/>
                <a:gd name="T5" fmla="*/ 242 h 242"/>
                <a:gd name="T6" fmla="*/ 278 w 278"/>
                <a:gd name="T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8" h="242">
                  <a:moveTo>
                    <a:pt x="278" y="242"/>
                  </a:moveTo>
                  <a:lnTo>
                    <a:pt x="139" y="0"/>
                  </a:lnTo>
                  <a:lnTo>
                    <a:pt x="0" y="242"/>
                  </a:lnTo>
                  <a:lnTo>
                    <a:pt x="278" y="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272">
              <a:extLst>
                <a:ext uri="{FF2B5EF4-FFF2-40B4-BE49-F238E27FC236}">
                  <a16:creationId xmlns:a16="http://schemas.microsoft.com/office/drawing/2014/main" id="{00463C86-013A-40A4-B8C3-52EC26220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1300" y="2535238"/>
              <a:ext cx="69850" cy="79375"/>
            </a:xfrm>
            <a:custGeom>
              <a:avLst/>
              <a:gdLst>
                <a:gd name="T0" fmla="*/ 219 w 219"/>
                <a:gd name="T1" fmla="*/ 0 h 248"/>
                <a:gd name="T2" fmla="*/ 0 w 219"/>
                <a:gd name="T3" fmla="*/ 0 h 248"/>
                <a:gd name="T4" fmla="*/ 144 w 219"/>
                <a:gd name="T5" fmla="*/ 248 h 248"/>
                <a:gd name="T6" fmla="*/ 219 w 219"/>
                <a:gd name="T7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248">
                  <a:moveTo>
                    <a:pt x="219" y="0"/>
                  </a:moveTo>
                  <a:lnTo>
                    <a:pt x="0" y="0"/>
                  </a:lnTo>
                  <a:lnTo>
                    <a:pt x="144" y="248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273">
              <a:extLst>
                <a:ext uri="{FF2B5EF4-FFF2-40B4-BE49-F238E27FC236}">
                  <a16:creationId xmlns:a16="http://schemas.microsoft.com/office/drawing/2014/main" id="{5AFE37A5-275C-477F-B188-087F7A9AB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275" y="2541588"/>
              <a:ext cx="80963" cy="79375"/>
            </a:xfrm>
            <a:custGeom>
              <a:avLst/>
              <a:gdLst>
                <a:gd name="T0" fmla="*/ 257 w 257"/>
                <a:gd name="T1" fmla="*/ 253 h 253"/>
                <a:gd name="T2" fmla="*/ 75 w 257"/>
                <a:gd name="T3" fmla="*/ 0 h 253"/>
                <a:gd name="T4" fmla="*/ 0 w 257"/>
                <a:gd name="T5" fmla="*/ 253 h 253"/>
                <a:gd name="T6" fmla="*/ 257 w 257"/>
                <a:gd name="T7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253">
                  <a:moveTo>
                    <a:pt x="257" y="253"/>
                  </a:moveTo>
                  <a:lnTo>
                    <a:pt x="75" y="0"/>
                  </a:lnTo>
                  <a:lnTo>
                    <a:pt x="0" y="253"/>
                  </a:lnTo>
                  <a:lnTo>
                    <a:pt x="257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274">
              <a:extLst>
                <a:ext uri="{FF2B5EF4-FFF2-40B4-BE49-F238E27FC236}">
                  <a16:creationId xmlns:a16="http://schemas.microsoft.com/office/drawing/2014/main" id="{A5133AE1-48C8-43AB-9036-4C2D87646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0338" y="2535238"/>
              <a:ext cx="69850" cy="79375"/>
            </a:xfrm>
            <a:custGeom>
              <a:avLst/>
              <a:gdLst>
                <a:gd name="T0" fmla="*/ 219 w 219"/>
                <a:gd name="T1" fmla="*/ 0 h 248"/>
                <a:gd name="T2" fmla="*/ 0 w 219"/>
                <a:gd name="T3" fmla="*/ 0 h 248"/>
                <a:gd name="T4" fmla="*/ 75 w 219"/>
                <a:gd name="T5" fmla="*/ 248 h 248"/>
                <a:gd name="T6" fmla="*/ 219 w 219"/>
                <a:gd name="T7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248">
                  <a:moveTo>
                    <a:pt x="219" y="0"/>
                  </a:moveTo>
                  <a:lnTo>
                    <a:pt x="0" y="0"/>
                  </a:lnTo>
                  <a:lnTo>
                    <a:pt x="75" y="248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275">
              <a:extLst>
                <a:ext uri="{FF2B5EF4-FFF2-40B4-BE49-F238E27FC236}">
                  <a16:creationId xmlns:a16="http://schemas.microsoft.com/office/drawing/2014/main" id="{13487745-2C92-4C3C-83A4-25DCF4DEE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250" y="2541588"/>
              <a:ext cx="80963" cy="79375"/>
            </a:xfrm>
            <a:custGeom>
              <a:avLst/>
              <a:gdLst>
                <a:gd name="T0" fmla="*/ 182 w 257"/>
                <a:gd name="T1" fmla="*/ 0 h 253"/>
                <a:gd name="T2" fmla="*/ 0 w 257"/>
                <a:gd name="T3" fmla="*/ 253 h 253"/>
                <a:gd name="T4" fmla="*/ 257 w 257"/>
                <a:gd name="T5" fmla="*/ 253 h 253"/>
                <a:gd name="T6" fmla="*/ 182 w 257"/>
                <a:gd name="T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253">
                  <a:moveTo>
                    <a:pt x="182" y="0"/>
                  </a:moveTo>
                  <a:lnTo>
                    <a:pt x="0" y="253"/>
                  </a:lnTo>
                  <a:lnTo>
                    <a:pt x="257" y="253"/>
                  </a:lnTo>
                  <a:lnTo>
                    <a:pt x="1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276">
              <a:extLst>
                <a:ext uri="{FF2B5EF4-FFF2-40B4-BE49-F238E27FC236}">
                  <a16:creationId xmlns:a16="http://schemas.microsoft.com/office/drawing/2014/main" id="{A2A2513B-D010-4091-A40A-C2FCB37A1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250" y="2630488"/>
              <a:ext cx="133350" cy="185738"/>
            </a:xfrm>
            <a:custGeom>
              <a:avLst/>
              <a:gdLst>
                <a:gd name="T0" fmla="*/ 0 w 422"/>
                <a:gd name="T1" fmla="*/ 0 h 585"/>
                <a:gd name="T2" fmla="*/ 422 w 422"/>
                <a:gd name="T3" fmla="*/ 585 h 585"/>
                <a:gd name="T4" fmla="*/ 266 w 422"/>
                <a:gd name="T5" fmla="*/ 0 h 585"/>
                <a:gd name="T6" fmla="*/ 0 w 422"/>
                <a:gd name="T7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2" h="585">
                  <a:moveTo>
                    <a:pt x="0" y="0"/>
                  </a:moveTo>
                  <a:lnTo>
                    <a:pt x="422" y="585"/>
                  </a:lnTo>
                  <a:lnTo>
                    <a:pt x="26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277">
              <a:extLst>
                <a:ext uri="{FF2B5EF4-FFF2-40B4-BE49-F238E27FC236}">
                  <a16:creationId xmlns:a16="http://schemas.microsoft.com/office/drawing/2014/main" id="{6A98EDB3-A388-48E4-85FA-766AEEA38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1300" y="2630488"/>
              <a:ext cx="134938" cy="185738"/>
            </a:xfrm>
            <a:custGeom>
              <a:avLst/>
              <a:gdLst>
                <a:gd name="T0" fmla="*/ 0 w 424"/>
                <a:gd name="T1" fmla="*/ 585 h 585"/>
                <a:gd name="T2" fmla="*/ 424 w 424"/>
                <a:gd name="T3" fmla="*/ 0 h 585"/>
                <a:gd name="T4" fmla="*/ 158 w 424"/>
                <a:gd name="T5" fmla="*/ 0 h 585"/>
                <a:gd name="T6" fmla="*/ 0 w 424"/>
                <a:gd name="T7" fmla="*/ 58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4" h="585">
                  <a:moveTo>
                    <a:pt x="0" y="585"/>
                  </a:moveTo>
                  <a:lnTo>
                    <a:pt x="424" y="0"/>
                  </a:lnTo>
                  <a:lnTo>
                    <a:pt x="158" y="0"/>
                  </a:lnTo>
                  <a:lnTo>
                    <a:pt x="0" y="5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59337484-B926-4DF9-8A8D-B96FD04B8981}"/>
              </a:ext>
            </a:extLst>
          </p:cNvPr>
          <p:cNvSpPr/>
          <p:nvPr/>
        </p:nvSpPr>
        <p:spPr>
          <a:xfrm>
            <a:off x="431800" y="3270959"/>
            <a:ext cx="2109319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</a:rPr>
              <a:t>$5/month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F67A522-1CA4-4064-98F4-62D102BC5551}"/>
              </a:ext>
            </a:extLst>
          </p:cNvPr>
          <p:cNvSpPr/>
          <p:nvPr/>
        </p:nvSpPr>
        <p:spPr>
          <a:xfrm>
            <a:off x="2736571" y="3270959"/>
            <a:ext cx="2109319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2"/>
                </a:solidFill>
              </a:rPr>
              <a:t>$15/month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F910966-BFE2-4B00-A1A1-09366A4D9AC3}"/>
              </a:ext>
            </a:extLst>
          </p:cNvPr>
          <p:cNvSpPr/>
          <p:nvPr/>
        </p:nvSpPr>
        <p:spPr>
          <a:xfrm>
            <a:off x="5041341" y="3270959"/>
            <a:ext cx="2109319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</a:rPr>
              <a:t>$30/month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9716B02-1EC6-4765-B4D6-D007D9A68D28}"/>
              </a:ext>
            </a:extLst>
          </p:cNvPr>
          <p:cNvSpPr/>
          <p:nvPr/>
        </p:nvSpPr>
        <p:spPr>
          <a:xfrm>
            <a:off x="7346113" y="3270959"/>
            <a:ext cx="2109319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2"/>
                </a:solidFill>
              </a:rPr>
              <a:t>$50/month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78833A0-DBB4-4D2D-8A9A-DC4A5BE6B6E3}"/>
              </a:ext>
            </a:extLst>
          </p:cNvPr>
          <p:cNvSpPr/>
          <p:nvPr/>
        </p:nvSpPr>
        <p:spPr>
          <a:xfrm>
            <a:off x="9650881" y="3270959"/>
            <a:ext cx="2109319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</a:rPr>
              <a:t>$75/month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B9F52EA-0E22-4061-BE0F-771400990FCF}"/>
              </a:ext>
            </a:extLst>
          </p:cNvPr>
          <p:cNvSpPr/>
          <p:nvPr/>
        </p:nvSpPr>
        <p:spPr>
          <a:xfrm>
            <a:off x="431792" y="3788882"/>
            <a:ext cx="2109319" cy="218521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14300" indent="-114300">
              <a:spcBef>
                <a:spcPts val="600"/>
              </a:spcBef>
              <a:buClr>
                <a:schemeClr val="accent1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  <a:p>
            <a:pPr marL="114300" indent="-114300">
              <a:spcBef>
                <a:spcPts val="600"/>
              </a:spcBef>
              <a:buClr>
                <a:schemeClr val="accent1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  <a:p>
            <a:pPr marL="114300" indent="-114300">
              <a:spcBef>
                <a:spcPts val="600"/>
              </a:spcBef>
              <a:buClr>
                <a:schemeClr val="accent1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 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97EC381-CF5E-43B6-AD90-084B2CCE6FEA}"/>
              </a:ext>
            </a:extLst>
          </p:cNvPr>
          <p:cNvSpPr/>
          <p:nvPr/>
        </p:nvSpPr>
        <p:spPr>
          <a:xfrm>
            <a:off x="2736571" y="3788882"/>
            <a:ext cx="2109319" cy="218521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14300" indent="-114300">
              <a:spcBef>
                <a:spcPts val="600"/>
              </a:spcBef>
              <a:buClr>
                <a:schemeClr val="accent2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  <a:p>
            <a:pPr marL="114300" indent="-114300">
              <a:spcBef>
                <a:spcPts val="600"/>
              </a:spcBef>
              <a:buClr>
                <a:schemeClr val="accent2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  <a:p>
            <a:pPr marL="114300" indent="-114300">
              <a:spcBef>
                <a:spcPts val="600"/>
              </a:spcBef>
              <a:buClr>
                <a:schemeClr val="accent2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 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B60C796-8A52-40C2-8AD8-18216681C010}"/>
              </a:ext>
            </a:extLst>
          </p:cNvPr>
          <p:cNvSpPr/>
          <p:nvPr/>
        </p:nvSpPr>
        <p:spPr>
          <a:xfrm>
            <a:off x="5041342" y="3788882"/>
            <a:ext cx="2109319" cy="218521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14300" indent="-114300">
              <a:spcBef>
                <a:spcPts val="600"/>
              </a:spcBef>
              <a:buClr>
                <a:schemeClr val="accent1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  <a:p>
            <a:pPr marL="114300" indent="-114300">
              <a:spcBef>
                <a:spcPts val="600"/>
              </a:spcBef>
              <a:buClr>
                <a:schemeClr val="accent1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  <a:p>
            <a:pPr marL="114300" indent="-114300">
              <a:spcBef>
                <a:spcPts val="600"/>
              </a:spcBef>
              <a:buClr>
                <a:schemeClr val="accent1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9FB21C96-AFF5-478E-9C44-1518E9709522}"/>
              </a:ext>
            </a:extLst>
          </p:cNvPr>
          <p:cNvSpPr/>
          <p:nvPr/>
        </p:nvSpPr>
        <p:spPr>
          <a:xfrm>
            <a:off x="7346113" y="3788882"/>
            <a:ext cx="2109319" cy="218521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14300" indent="-114300">
              <a:spcBef>
                <a:spcPts val="600"/>
              </a:spcBef>
              <a:buClr>
                <a:schemeClr val="accent2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  <a:p>
            <a:pPr marL="114300" indent="-114300">
              <a:spcBef>
                <a:spcPts val="600"/>
              </a:spcBef>
              <a:buClr>
                <a:schemeClr val="accent2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  <a:p>
            <a:pPr marL="114300" indent="-114300">
              <a:spcBef>
                <a:spcPts val="600"/>
              </a:spcBef>
              <a:buClr>
                <a:schemeClr val="accent2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 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B176D4B-1939-473E-9CA9-4BEBD3BEC072}"/>
              </a:ext>
            </a:extLst>
          </p:cNvPr>
          <p:cNvSpPr/>
          <p:nvPr/>
        </p:nvSpPr>
        <p:spPr>
          <a:xfrm>
            <a:off x="9650881" y="3788882"/>
            <a:ext cx="2109319" cy="218521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14300" indent="-114300">
              <a:spcBef>
                <a:spcPts val="600"/>
              </a:spcBef>
              <a:buClr>
                <a:schemeClr val="accent1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  <a:p>
            <a:pPr marL="114300" indent="-114300">
              <a:spcBef>
                <a:spcPts val="600"/>
              </a:spcBef>
              <a:buClr>
                <a:schemeClr val="accent1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</a:t>
            </a:r>
          </a:p>
          <a:p>
            <a:pPr marL="114300" indent="-114300">
              <a:spcBef>
                <a:spcPts val="600"/>
              </a:spcBef>
              <a:buClr>
                <a:schemeClr val="accent1"/>
              </a:buClr>
              <a:buFont typeface="Corbel" panose="020B0503020204020204" pitchFamily="34" charset="0"/>
              <a:buChar char="›"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156212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431800" y="191214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TAB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A22ABB57-F0EC-4286-B1AC-36841ACD99BD}" type="datetime1">
              <a:rPr lang="en-US" smtClean="0"/>
              <a:t>4/7/2024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794E2DD-4F38-4D2A-97E5-5D7467AA1DEC}" type="slidenum">
              <a:rPr lang="en-US" smtClean="0"/>
              <a:t>16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9532C1-AE19-4AD1-B533-93A2C15BB1E8}"/>
              </a:ext>
            </a:extLst>
          </p:cNvPr>
          <p:cNvSpPr/>
          <p:nvPr/>
        </p:nvSpPr>
        <p:spPr>
          <a:xfrm>
            <a:off x="1117084" y="158692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iamond 2">
            <a:extLst>
              <a:ext uri="{FF2B5EF4-FFF2-40B4-BE49-F238E27FC236}">
                <a16:creationId xmlns:a16="http://schemas.microsoft.com/office/drawing/2014/main" id="{F03B039F-E3C7-4F55-8FAB-FA2285262342}"/>
              </a:ext>
            </a:extLst>
          </p:cNvPr>
          <p:cNvSpPr/>
          <p:nvPr/>
        </p:nvSpPr>
        <p:spPr>
          <a:xfrm>
            <a:off x="597416" y="1436589"/>
            <a:ext cx="1039336" cy="1039336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9962F7E-1F5D-4832-B399-84E8CF293F23}"/>
              </a:ext>
            </a:extLst>
          </p:cNvPr>
          <p:cNvSpPr/>
          <p:nvPr/>
        </p:nvSpPr>
        <p:spPr>
          <a:xfrm>
            <a:off x="1117084" y="272304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Diamond 62">
            <a:extLst>
              <a:ext uri="{FF2B5EF4-FFF2-40B4-BE49-F238E27FC236}">
                <a16:creationId xmlns:a16="http://schemas.microsoft.com/office/drawing/2014/main" id="{073428CD-D80C-4C3A-A386-B7483AA76D28}"/>
              </a:ext>
            </a:extLst>
          </p:cNvPr>
          <p:cNvSpPr/>
          <p:nvPr/>
        </p:nvSpPr>
        <p:spPr>
          <a:xfrm>
            <a:off x="597416" y="2572709"/>
            <a:ext cx="1039336" cy="1039336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572F3F5E-DE6B-44E0-98B9-8D34B9E5E8E0}"/>
              </a:ext>
            </a:extLst>
          </p:cNvPr>
          <p:cNvSpPr/>
          <p:nvPr/>
        </p:nvSpPr>
        <p:spPr>
          <a:xfrm>
            <a:off x="1117084" y="385916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Diamond 64">
            <a:extLst>
              <a:ext uri="{FF2B5EF4-FFF2-40B4-BE49-F238E27FC236}">
                <a16:creationId xmlns:a16="http://schemas.microsoft.com/office/drawing/2014/main" id="{2DC6C739-DF11-42FD-B29B-D9DB72120625}"/>
              </a:ext>
            </a:extLst>
          </p:cNvPr>
          <p:cNvSpPr/>
          <p:nvPr/>
        </p:nvSpPr>
        <p:spPr>
          <a:xfrm>
            <a:off x="597416" y="3708829"/>
            <a:ext cx="1039336" cy="1039336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91AAD8E-D79D-4EBF-A2D2-6BCDAE0C6C05}"/>
              </a:ext>
            </a:extLst>
          </p:cNvPr>
          <p:cNvSpPr/>
          <p:nvPr/>
        </p:nvSpPr>
        <p:spPr>
          <a:xfrm>
            <a:off x="1117084" y="4995285"/>
            <a:ext cx="104775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Diamond 66">
            <a:extLst>
              <a:ext uri="{FF2B5EF4-FFF2-40B4-BE49-F238E27FC236}">
                <a16:creationId xmlns:a16="http://schemas.microsoft.com/office/drawing/2014/main" id="{12EEB03C-B6EB-47C4-AAD3-0DD7C1B6FF16}"/>
              </a:ext>
            </a:extLst>
          </p:cNvPr>
          <p:cNvSpPr/>
          <p:nvPr/>
        </p:nvSpPr>
        <p:spPr>
          <a:xfrm>
            <a:off x="597416" y="4844949"/>
            <a:ext cx="1039336" cy="1039336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18440AD-92A1-40FC-A81C-CFD82F3CEC6C}"/>
              </a:ext>
            </a:extLst>
          </p:cNvPr>
          <p:cNvGrpSpPr/>
          <p:nvPr/>
        </p:nvGrpSpPr>
        <p:grpSpPr>
          <a:xfrm>
            <a:off x="4085410" y="1436590"/>
            <a:ext cx="5060515" cy="4447696"/>
            <a:chOff x="3954078" y="1193453"/>
            <a:chExt cx="5060515" cy="4931229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BACDD0FD-F73F-46AC-8BD2-F7DADD2A2A27}"/>
                </a:ext>
              </a:extLst>
            </p:cNvPr>
            <p:cNvCxnSpPr/>
            <p:nvPr/>
          </p:nvCxnSpPr>
          <p:spPr>
            <a:xfrm>
              <a:off x="3954078" y="1193453"/>
              <a:ext cx="0" cy="4931229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CA678646-4156-49C1-A283-AEC6A7F9FE32}"/>
                </a:ext>
              </a:extLst>
            </p:cNvPr>
            <p:cNvCxnSpPr/>
            <p:nvPr/>
          </p:nvCxnSpPr>
          <p:spPr>
            <a:xfrm>
              <a:off x="6484335" y="1193453"/>
              <a:ext cx="0" cy="4931229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AE4AB90-3D30-482D-B89F-7413A63991E5}"/>
                </a:ext>
              </a:extLst>
            </p:cNvPr>
            <p:cNvCxnSpPr/>
            <p:nvPr/>
          </p:nvCxnSpPr>
          <p:spPr>
            <a:xfrm>
              <a:off x="9014593" y="1193453"/>
              <a:ext cx="0" cy="4931229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980B7BDF-8FF5-4C79-BBDB-713A702A7700}"/>
              </a:ext>
            </a:extLst>
          </p:cNvPr>
          <p:cNvSpPr/>
          <p:nvPr/>
        </p:nvSpPr>
        <p:spPr>
          <a:xfrm>
            <a:off x="1827228" y="1817757"/>
            <a:ext cx="206679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LOREM IPSUM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A748AF94-6FD6-4F41-9F69-7FDEA07209F8}"/>
              </a:ext>
            </a:extLst>
          </p:cNvPr>
          <p:cNvSpPr/>
          <p:nvPr/>
        </p:nvSpPr>
        <p:spPr>
          <a:xfrm>
            <a:off x="1827228" y="4089997"/>
            <a:ext cx="206679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LOREM IPSUM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6D9A33FD-E443-44AB-BAA7-D68DA1533033}"/>
              </a:ext>
            </a:extLst>
          </p:cNvPr>
          <p:cNvSpPr/>
          <p:nvPr/>
        </p:nvSpPr>
        <p:spPr>
          <a:xfrm>
            <a:off x="1827228" y="2953877"/>
            <a:ext cx="206679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LOREM IPSUM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6212B2B5-0156-4F85-8FFD-50E66A7F3FFC}"/>
              </a:ext>
            </a:extLst>
          </p:cNvPr>
          <p:cNvSpPr/>
          <p:nvPr/>
        </p:nvSpPr>
        <p:spPr>
          <a:xfrm>
            <a:off x="1827228" y="5226117"/>
            <a:ext cx="206679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LOREM IPSUM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5CDD8B42-47E2-442A-9129-09850748544A}"/>
              </a:ext>
            </a:extLst>
          </p:cNvPr>
          <p:cNvSpPr/>
          <p:nvPr/>
        </p:nvSpPr>
        <p:spPr>
          <a:xfrm>
            <a:off x="4167008" y="1802367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2F89566B-B33E-427C-A9F4-F6F57791204A}"/>
              </a:ext>
            </a:extLst>
          </p:cNvPr>
          <p:cNvSpPr/>
          <p:nvPr/>
        </p:nvSpPr>
        <p:spPr>
          <a:xfrm>
            <a:off x="6697267" y="1802367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A35BC5E-E0E4-43CA-BB1F-309207F410A0}"/>
              </a:ext>
            </a:extLst>
          </p:cNvPr>
          <p:cNvSpPr/>
          <p:nvPr/>
        </p:nvSpPr>
        <p:spPr>
          <a:xfrm>
            <a:off x="9186727" y="1802367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26DDCF6-7CCA-4899-868C-13A68777BC54}"/>
              </a:ext>
            </a:extLst>
          </p:cNvPr>
          <p:cNvSpPr/>
          <p:nvPr/>
        </p:nvSpPr>
        <p:spPr>
          <a:xfrm>
            <a:off x="4167008" y="2938489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DCC4E98-C361-439E-8A2F-72CA4E599B9D}"/>
              </a:ext>
            </a:extLst>
          </p:cNvPr>
          <p:cNvSpPr/>
          <p:nvPr/>
        </p:nvSpPr>
        <p:spPr>
          <a:xfrm>
            <a:off x="6697267" y="2938489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5906F9F6-F84F-4705-9857-34B93F45A0BF}"/>
              </a:ext>
            </a:extLst>
          </p:cNvPr>
          <p:cNvSpPr/>
          <p:nvPr/>
        </p:nvSpPr>
        <p:spPr>
          <a:xfrm>
            <a:off x="9186727" y="2938489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FFAA703-8CED-4896-8981-1E3F326F2A23}"/>
              </a:ext>
            </a:extLst>
          </p:cNvPr>
          <p:cNvSpPr/>
          <p:nvPr/>
        </p:nvSpPr>
        <p:spPr>
          <a:xfrm>
            <a:off x="4167008" y="4074609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26F17CA-BE67-4C3F-9263-A0EDC961BEB8}"/>
              </a:ext>
            </a:extLst>
          </p:cNvPr>
          <p:cNvSpPr/>
          <p:nvPr/>
        </p:nvSpPr>
        <p:spPr>
          <a:xfrm>
            <a:off x="6697267" y="4074609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42EEE498-F5F0-4662-8074-B86CB84EE09A}"/>
              </a:ext>
            </a:extLst>
          </p:cNvPr>
          <p:cNvSpPr/>
          <p:nvPr/>
        </p:nvSpPr>
        <p:spPr>
          <a:xfrm>
            <a:off x="9186727" y="4074609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1DFE735-BBDE-4061-B89E-79A1880EC0B0}"/>
              </a:ext>
            </a:extLst>
          </p:cNvPr>
          <p:cNvSpPr/>
          <p:nvPr/>
        </p:nvSpPr>
        <p:spPr>
          <a:xfrm>
            <a:off x="4167008" y="5210729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D90555FD-99FF-4270-9949-BB3B356A87C0}"/>
              </a:ext>
            </a:extLst>
          </p:cNvPr>
          <p:cNvSpPr/>
          <p:nvPr/>
        </p:nvSpPr>
        <p:spPr>
          <a:xfrm>
            <a:off x="6697267" y="5210729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734B6B9-0BFB-4D00-88F9-F4B452B0FE8E}"/>
              </a:ext>
            </a:extLst>
          </p:cNvPr>
          <p:cNvSpPr/>
          <p:nvPr/>
        </p:nvSpPr>
        <p:spPr>
          <a:xfrm>
            <a:off x="9186727" y="5210729"/>
            <a:ext cx="236705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.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2B9F66B1-95FF-4079-B380-3C243B04ED93}"/>
              </a:ext>
            </a:extLst>
          </p:cNvPr>
          <p:cNvGrpSpPr/>
          <p:nvPr/>
        </p:nvGrpSpPr>
        <p:grpSpPr>
          <a:xfrm>
            <a:off x="973415" y="5225711"/>
            <a:ext cx="287338" cy="277813"/>
            <a:chOff x="4892675" y="2501900"/>
            <a:chExt cx="287338" cy="277813"/>
          </a:xfrm>
          <a:solidFill>
            <a:schemeClr val="bg1"/>
          </a:solidFill>
        </p:grpSpPr>
        <p:sp>
          <p:nvSpPr>
            <p:cNvPr id="114" name="Freeform 300">
              <a:extLst>
                <a:ext uri="{FF2B5EF4-FFF2-40B4-BE49-F238E27FC236}">
                  <a16:creationId xmlns:a16="http://schemas.microsoft.com/office/drawing/2014/main" id="{021FABE3-D226-4B7D-8846-87804F105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5" y="2501900"/>
              <a:ext cx="227013" cy="157163"/>
            </a:xfrm>
            <a:custGeom>
              <a:avLst/>
              <a:gdLst>
                <a:gd name="T0" fmla="*/ 19 w 712"/>
                <a:gd name="T1" fmla="*/ 494 h 495"/>
                <a:gd name="T2" fmla="*/ 679 w 712"/>
                <a:gd name="T3" fmla="*/ 60 h 495"/>
                <a:gd name="T4" fmla="*/ 668 w 712"/>
                <a:gd name="T5" fmla="*/ 167 h 495"/>
                <a:gd name="T6" fmla="*/ 669 w 712"/>
                <a:gd name="T7" fmla="*/ 173 h 495"/>
                <a:gd name="T8" fmla="*/ 672 w 712"/>
                <a:gd name="T9" fmla="*/ 177 h 495"/>
                <a:gd name="T10" fmla="*/ 677 w 712"/>
                <a:gd name="T11" fmla="*/ 180 h 495"/>
                <a:gd name="T12" fmla="*/ 682 w 712"/>
                <a:gd name="T13" fmla="*/ 180 h 495"/>
                <a:gd name="T14" fmla="*/ 688 w 712"/>
                <a:gd name="T15" fmla="*/ 179 h 495"/>
                <a:gd name="T16" fmla="*/ 696 w 712"/>
                <a:gd name="T17" fmla="*/ 173 h 495"/>
                <a:gd name="T18" fmla="*/ 712 w 712"/>
                <a:gd name="T19" fmla="*/ 31 h 495"/>
                <a:gd name="T20" fmla="*/ 712 w 712"/>
                <a:gd name="T21" fmla="*/ 30 h 495"/>
                <a:gd name="T22" fmla="*/ 712 w 712"/>
                <a:gd name="T23" fmla="*/ 27 h 495"/>
                <a:gd name="T24" fmla="*/ 711 w 712"/>
                <a:gd name="T25" fmla="*/ 24 h 495"/>
                <a:gd name="T26" fmla="*/ 710 w 712"/>
                <a:gd name="T27" fmla="*/ 22 h 495"/>
                <a:gd name="T28" fmla="*/ 710 w 712"/>
                <a:gd name="T29" fmla="*/ 22 h 495"/>
                <a:gd name="T30" fmla="*/ 707 w 712"/>
                <a:gd name="T31" fmla="*/ 20 h 495"/>
                <a:gd name="T32" fmla="*/ 705 w 712"/>
                <a:gd name="T33" fmla="*/ 17 h 495"/>
                <a:gd name="T34" fmla="*/ 702 w 712"/>
                <a:gd name="T35" fmla="*/ 16 h 495"/>
                <a:gd name="T36" fmla="*/ 700 w 712"/>
                <a:gd name="T37" fmla="*/ 15 h 495"/>
                <a:gd name="T38" fmla="*/ 699 w 712"/>
                <a:gd name="T39" fmla="*/ 15 h 495"/>
                <a:gd name="T40" fmla="*/ 561 w 712"/>
                <a:gd name="T41" fmla="*/ 0 h 495"/>
                <a:gd name="T42" fmla="*/ 555 w 712"/>
                <a:gd name="T43" fmla="*/ 1 h 495"/>
                <a:gd name="T44" fmla="*/ 551 w 712"/>
                <a:gd name="T45" fmla="*/ 6 h 495"/>
                <a:gd name="T46" fmla="*/ 548 w 712"/>
                <a:gd name="T47" fmla="*/ 11 h 495"/>
                <a:gd name="T48" fmla="*/ 547 w 712"/>
                <a:gd name="T49" fmla="*/ 16 h 495"/>
                <a:gd name="T50" fmla="*/ 549 w 712"/>
                <a:gd name="T51" fmla="*/ 22 h 495"/>
                <a:gd name="T52" fmla="*/ 552 w 712"/>
                <a:gd name="T53" fmla="*/ 27 h 495"/>
                <a:gd name="T54" fmla="*/ 557 w 712"/>
                <a:gd name="T55" fmla="*/ 29 h 495"/>
                <a:gd name="T56" fmla="*/ 654 w 712"/>
                <a:gd name="T57" fmla="*/ 41 h 495"/>
                <a:gd name="T58" fmla="*/ 4 w 712"/>
                <a:gd name="T59" fmla="*/ 469 h 495"/>
                <a:gd name="T60" fmla="*/ 1 w 712"/>
                <a:gd name="T61" fmla="*/ 473 h 495"/>
                <a:gd name="T62" fmla="*/ 0 w 712"/>
                <a:gd name="T63" fmla="*/ 480 h 495"/>
                <a:gd name="T64" fmla="*/ 1 w 712"/>
                <a:gd name="T65" fmla="*/ 485 h 495"/>
                <a:gd name="T66" fmla="*/ 5 w 712"/>
                <a:gd name="T67" fmla="*/ 490 h 495"/>
                <a:gd name="T68" fmla="*/ 11 w 712"/>
                <a:gd name="T69" fmla="*/ 494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2" h="495">
                  <a:moveTo>
                    <a:pt x="15" y="495"/>
                  </a:moveTo>
                  <a:lnTo>
                    <a:pt x="19" y="494"/>
                  </a:lnTo>
                  <a:lnTo>
                    <a:pt x="23" y="493"/>
                  </a:lnTo>
                  <a:lnTo>
                    <a:pt x="679" y="60"/>
                  </a:lnTo>
                  <a:lnTo>
                    <a:pt x="668" y="164"/>
                  </a:lnTo>
                  <a:lnTo>
                    <a:pt x="668" y="167"/>
                  </a:lnTo>
                  <a:lnTo>
                    <a:pt x="668" y="170"/>
                  </a:lnTo>
                  <a:lnTo>
                    <a:pt x="669" y="173"/>
                  </a:lnTo>
                  <a:lnTo>
                    <a:pt x="671" y="175"/>
                  </a:lnTo>
                  <a:lnTo>
                    <a:pt x="672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1" y="180"/>
                  </a:lnTo>
                  <a:lnTo>
                    <a:pt x="682" y="180"/>
                  </a:lnTo>
                  <a:lnTo>
                    <a:pt x="682" y="180"/>
                  </a:lnTo>
                  <a:lnTo>
                    <a:pt x="688" y="179"/>
                  </a:lnTo>
                  <a:lnTo>
                    <a:pt x="692" y="177"/>
                  </a:lnTo>
                  <a:lnTo>
                    <a:pt x="696" y="173"/>
                  </a:lnTo>
                  <a:lnTo>
                    <a:pt x="697" y="168"/>
                  </a:lnTo>
                  <a:lnTo>
                    <a:pt x="712" y="31"/>
                  </a:lnTo>
                  <a:lnTo>
                    <a:pt x="712" y="31"/>
                  </a:lnTo>
                  <a:lnTo>
                    <a:pt x="712" y="30"/>
                  </a:lnTo>
                  <a:lnTo>
                    <a:pt x="712" y="28"/>
                  </a:lnTo>
                  <a:lnTo>
                    <a:pt x="712" y="27"/>
                  </a:lnTo>
                  <a:lnTo>
                    <a:pt x="712" y="25"/>
                  </a:lnTo>
                  <a:lnTo>
                    <a:pt x="711" y="24"/>
                  </a:lnTo>
                  <a:lnTo>
                    <a:pt x="711" y="23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09" y="21"/>
                  </a:lnTo>
                  <a:lnTo>
                    <a:pt x="707" y="20"/>
                  </a:lnTo>
                  <a:lnTo>
                    <a:pt x="706" y="18"/>
                  </a:lnTo>
                  <a:lnTo>
                    <a:pt x="705" y="17"/>
                  </a:lnTo>
                  <a:lnTo>
                    <a:pt x="704" y="17"/>
                  </a:lnTo>
                  <a:lnTo>
                    <a:pt x="702" y="16"/>
                  </a:lnTo>
                  <a:lnTo>
                    <a:pt x="701" y="16"/>
                  </a:lnTo>
                  <a:lnTo>
                    <a:pt x="700" y="15"/>
                  </a:lnTo>
                  <a:lnTo>
                    <a:pt x="699" y="15"/>
                  </a:lnTo>
                  <a:lnTo>
                    <a:pt x="699" y="15"/>
                  </a:lnTo>
                  <a:lnTo>
                    <a:pt x="564" y="0"/>
                  </a:lnTo>
                  <a:lnTo>
                    <a:pt x="561" y="0"/>
                  </a:lnTo>
                  <a:lnTo>
                    <a:pt x="557" y="0"/>
                  </a:lnTo>
                  <a:lnTo>
                    <a:pt x="555" y="1"/>
                  </a:lnTo>
                  <a:lnTo>
                    <a:pt x="553" y="3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8" y="11"/>
                  </a:lnTo>
                  <a:lnTo>
                    <a:pt x="547" y="13"/>
                  </a:lnTo>
                  <a:lnTo>
                    <a:pt x="547" y="16"/>
                  </a:lnTo>
                  <a:lnTo>
                    <a:pt x="548" y="20"/>
                  </a:lnTo>
                  <a:lnTo>
                    <a:pt x="549" y="22"/>
                  </a:lnTo>
                  <a:lnTo>
                    <a:pt x="550" y="25"/>
                  </a:lnTo>
                  <a:lnTo>
                    <a:pt x="552" y="27"/>
                  </a:lnTo>
                  <a:lnTo>
                    <a:pt x="554" y="28"/>
                  </a:lnTo>
                  <a:lnTo>
                    <a:pt x="557" y="29"/>
                  </a:lnTo>
                  <a:lnTo>
                    <a:pt x="561" y="30"/>
                  </a:lnTo>
                  <a:lnTo>
                    <a:pt x="654" y="41"/>
                  </a:lnTo>
                  <a:lnTo>
                    <a:pt x="6" y="467"/>
                  </a:lnTo>
                  <a:lnTo>
                    <a:pt x="4" y="469"/>
                  </a:lnTo>
                  <a:lnTo>
                    <a:pt x="2" y="471"/>
                  </a:lnTo>
                  <a:lnTo>
                    <a:pt x="1" y="473"/>
                  </a:lnTo>
                  <a:lnTo>
                    <a:pt x="0" y="477"/>
                  </a:lnTo>
                  <a:lnTo>
                    <a:pt x="0" y="480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3"/>
                  </a:lnTo>
                  <a:lnTo>
                    <a:pt x="11" y="494"/>
                  </a:lnTo>
                  <a:lnTo>
                    <a:pt x="15" y="4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01">
              <a:extLst>
                <a:ext uri="{FF2B5EF4-FFF2-40B4-BE49-F238E27FC236}">
                  <a16:creationId xmlns:a16="http://schemas.microsoft.com/office/drawing/2014/main" id="{2EDDA2D3-3BB5-4C91-B8C2-6C64A1B60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2675" y="2587625"/>
              <a:ext cx="287338" cy="192088"/>
            </a:xfrm>
            <a:custGeom>
              <a:avLst/>
              <a:gdLst>
                <a:gd name="T0" fmla="*/ 843 w 903"/>
                <a:gd name="T1" fmla="*/ 572 h 602"/>
                <a:gd name="T2" fmla="*/ 842 w 903"/>
                <a:gd name="T3" fmla="*/ 12 h 602"/>
                <a:gd name="T4" fmla="*/ 840 w 903"/>
                <a:gd name="T5" fmla="*/ 7 h 602"/>
                <a:gd name="T6" fmla="*/ 835 w 903"/>
                <a:gd name="T7" fmla="*/ 3 h 602"/>
                <a:gd name="T8" fmla="*/ 830 w 903"/>
                <a:gd name="T9" fmla="*/ 1 h 602"/>
                <a:gd name="T10" fmla="*/ 707 w 903"/>
                <a:gd name="T11" fmla="*/ 0 h 602"/>
                <a:gd name="T12" fmla="*/ 701 w 903"/>
                <a:gd name="T13" fmla="*/ 2 h 602"/>
                <a:gd name="T14" fmla="*/ 696 w 903"/>
                <a:gd name="T15" fmla="*/ 5 h 602"/>
                <a:gd name="T16" fmla="*/ 693 w 903"/>
                <a:gd name="T17" fmla="*/ 9 h 602"/>
                <a:gd name="T18" fmla="*/ 692 w 903"/>
                <a:gd name="T19" fmla="*/ 16 h 602"/>
                <a:gd name="T20" fmla="*/ 632 w 903"/>
                <a:gd name="T21" fmla="*/ 572 h 602"/>
                <a:gd name="T22" fmla="*/ 632 w 903"/>
                <a:gd name="T23" fmla="*/ 163 h 602"/>
                <a:gd name="T24" fmla="*/ 629 w 903"/>
                <a:gd name="T25" fmla="*/ 157 h 602"/>
                <a:gd name="T26" fmla="*/ 625 w 903"/>
                <a:gd name="T27" fmla="*/ 153 h 602"/>
                <a:gd name="T28" fmla="*/ 620 w 903"/>
                <a:gd name="T29" fmla="*/ 151 h 602"/>
                <a:gd name="T30" fmla="*/ 496 w 903"/>
                <a:gd name="T31" fmla="*/ 151 h 602"/>
                <a:gd name="T32" fmla="*/ 490 w 903"/>
                <a:gd name="T33" fmla="*/ 152 h 602"/>
                <a:gd name="T34" fmla="*/ 486 w 903"/>
                <a:gd name="T35" fmla="*/ 155 h 602"/>
                <a:gd name="T36" fmla="*/ 482 w 903"/>
                <a:gd name="T37" fmla="*/ 159 h 602"/>
                <a:gd name="T38" fmla="*/ 481 w 903"/>
                <a:gd name="T39" fmla="*/ 166 h 602"/>
                <a:gd name="T40" fmla="*/ 421 w 903"/>
                <a:gd name="T41" fmla="*/ 572 h 602"/>
                <a:gd name="T42" fmla="*/ 420 w 903"/>
                <a:gd name="T43" fmla="*/ 313 h 602"/>
                <a:gd name="T44" fmla="*/ 418 w 903"/>
                <a:gd name="T45" fmla="*/ 307 h 602"/>
                <a:gd name="T46" fmla="*/ 414 w 903"/>
                <a:gd name="T47" fmla="*/ 304 h 602"/>
                <a:gd name="T48" fmla="*/ 408 w 903"/>
                <a:gd name="T49" fmla="*/ 302 h 602"/>
                <a:gd name="T50" fmla="*/ 285 w 903"/>
                <a:gd name="T51" fmla="*/ 301 h 602"/>
                <a:gd name="T52" fmla="*/ 280 w 903"/>
                <a:gd name="T53" fmla="*/ 302 h 602"/>
                <a:gd name="T54" fmla="*/ 274 w 903"/>
                <a:gd name="T55" fmla="*/ 305 h 602"/>
                <a:gd name="T56" fmla="*/ 271 w 903"/>
                <a:gd name="T57" fmla="*/ 311 h 602"/>
                <a:gd name="T58" fmla="*/ 270 w 903"/>
                <a:gd name="T59" fmla="*/ 316 h 602"/>
                <a:gd name="T60" fmla="*/ 210 w 903"/>
                <a:gd name="T61" fmla="*/ 572 h 602"/>
                <a:gd name="T62" fmla="*/ 210 w 903"/>
                <a:gd name="T63" fmla="*/ 464 h 602"/>
                <a:gd name="T64" fmla="*/ 208 w 903"/>
                <a:gd name="T65" fmla="*/ 459 h 602"/>
                <a:gd name="T66" fmla="*/ 204 w 903"/>
                <a:gd name="T67" fmla="*/ 454 h 602"/>
                <a:gd name="T68" fmla="*/ 198 w 903"/>
                <a:gd name="T69" fmla="*/ 452 h 602"/>
                <a:gd name="T70" fmla="*/ 75 w 903"/>
                <a:gd name="T71" fmla="*/ 452 h 602"/>
                <a:gd name="T72" fmla="*/ 69 w 903"/>
                <a:gd name="T73" fmla="*/ 453 h 602"/>
                <a:gd name="T74" fmla="*/ 64 w 903"/>
                <a:gd name="T75" fmla="*/ 457 h 602"/>
                <a:gd name="T76" fmla="*/ 61 w 903"/>
                <a:gd name="T77" fmla="*/ 461 h 602"/>
                <a:gd name="T78" fmla="*/ 60 w 903"/>
                <a:gd name="T79" fmla="*/ 467 h 602"/>
                <a:gd name="T80" fmla="*/ 15 w 903"/>
                <a:gd name="T81" fmla="*/ 572 h 602"/>
                <a:gd name="T82" fmla="*/ 8 w 903"/>
                <a:gd name="T83" fmla="*/ 573 h 602"/>
                <a:gd name="T84" fmla="*/ 4 w 903"/>
                <a:gd name="T85" fmla="*/ 577 h 602"/>
                <a:gd name="T86" fmla="*/ 1 w 903"/>
                <a:gd name="T87" fmla="*/ 581 h 602"/>
                <a:gd name="T88" fmla="*/ 0 w 903"/>
                <a:gd name="T89" fmla="*/ 587 h 602"/>
                <a:gd name="T90" fmla="*/ 1 w 903"/>
                <a:gd name="T91" fmla="*/ 593 h 602"/>
                <a:gd name="T92" fmla="*/ 4 w 903"/>
                <a:gd name="T93" fmla="*/ 598 h 602"/>
                <a:gd name="T94" fmla="*/ 8 w 903"/>
                <a:gd name="T95" fmla="*/ 601 h 602"/>
                <a:gd name="T96" fmla="*/ 15 w 903"/>
                <a:gd name="T97" fmla="*/ 602 h 602"/>
                <a:gd name="T98" fmla="*/ 195 w 903"/>
                <a:gd name="T99" fmla="*/ 602 h 602"/>
                <a:gd name="T100" fmla="*/ 406 w 903"/>
                <a:gd name="T101" fmla="*/ 602 h 602"/>
                <a:gd name="T102" fmla="*/ 617 w 903"/>
                <a:gd name="T103" fmla="*/ 602 h 602"/>
                <a:gd name="T104" fmla="*/ 828 w 903"/>
                <a:gd name="T105" fmla="*/ 602 h 602"/>
                <a:gd name="T106" fmla="*/ 891 w 903"/>
                <a:gd name="T107" fmla="*/ 602 h 602"/>
                <a:gd name="T108" fmla="*/ 896 w 903"/>
                <a:gd name="T109" fmla="*/ 600 h 602"/>
                <a:gd name="T110" fmla="*/ 900 w 903"/>
                <a:gd name="T111" fmla="*/ 596 h 602"/>
                <a:gd name="T112" fmla="*/ 902 w 903"/>
                <a:gd name="T113" fmla="*/ 591 h 602"/>
                <a:gd name="T114" fmla="*/ 902 w 903"/>
                <a:gd name="T115" fmla="*/ 584 h 602"/>
                <a:gd name="T116" fmla="*/ 900 w 903"/>
                <a:gd name="T117" fmla="*/ 579 h 602"/>
                <a:gd name="T118" fmla="*/ 896 w 903"/>
                <a:gd name="T119" fmla="*/ 575 h 602"/>
                <a:gd name="T120" fmla="*/ 891 w 903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3" h="602">
                  <a:moveTo>
                    <a:pt x="888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2" y="12"/>
                  </a:lnTo>
                  <a:lnTo>
                    <a:pt x="842" y="9"/>
                  </a:lnTo>
                  <a:lnTo>
                    <a:pt x="840" y="7"/>
                  </a:lnTo>
                  <a:lnTo>
                    <a:pt x="839" y="5"/>
                  </a:lnTo>
                  <a:lnTo>
                    <a:pt x="835" y="3"/>
                  </a:lnTo>
                  <a:lnTo>
                    <a:pt x="833" y="2"/>
                  </a:lnTo>
                  <a:lnTo>
                    <a:pt x="830" y="1"/>
                  </a:lnTo>
                  <a:lnTo>
                    <a:pt x="828" y="1"/>
                  </a:lnTo>
                  <a:lnTo>
                    <a:pt x="707" y="0"/>
                  </a:lnTo>
                  <a:lnTo>
                    <a:pt x="704" y="1"/>
                  </a:lnTo>
                  <a:lnTo>
                    <a:pt x="701" y="2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5" y="7"/>
                  </a:lnTo>
                  <a:lnTo>
                    <a:pt x="693" y="9"/>
                  </a:lnTo>
                  <a:lnTo>
                    <a:pt x="693" y="12"/>
                  </a:lnTo>
                  <a:lnTo>
                    <a:pt x="692" y="16"/>
                  </a:lnTo>
                  <a:lnTo>
                    <a:pt x="692" y="572"/>
                  </a:lnTo>
                  <a:lnTo>
                    <a:pt x="632" y="572"/>
                  </a:lnTo>
                  <a:lnTo>
                    <a:pt x="632" y="166"/>
                  </a:lnTo>
                  <a:lnTo>
                    <a:pt x="632" y="163"/>
                  </a:lnTo>
                  <a:lnTo>
                    <a:pt x="630" y="159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3"/>
                  </a:lnTo>
                  <a:lnTo>
                    <a:pt x="623" y="152"/>
                  </a:lnTo>
                  <a:lnTo>
                    <a:pt x="620" y="151"/>
                  </a:lnTo>
                  <a:lnTo>
                    <a:pt x="617" y="151"/>
                  </a:lnTo>
                  <a:lnTo>
                    <a:pt x="496" y="151"/>
                  </a:lnTo>
                  <a:lnTo>
                    <a:pt x="493" y="151"/>
                  </a:lnTo>
                  <a:lnTo>
                    <a:pt x="490" y="152"/>
                  </a:lnTo>
                  <a:lnTo>
                    <a:pt x="488" y="153"/>
                  </a:lnTo>
                  <a:lnTo>
                    <a:pt x="486" y="155"/>
                  </a:lnTo>
                  <a:lnTo>
                    <a:pt x="484" y="157"/>
                  </a:lnTo>
                  <a:lnTo>
                    <a:pt x="482" y="159"/>
                  </a:lnTo>
                  <a:lnTo>
                    <a:pt x="481" y="163"/>
                  </a:lnTo>
                  <a:lnTo>
                    <a:pt x="481" y="166"/>
                  </a:lnTo>
                  <a:lnTo>
                    <a:pt x="481" y="572"/>
                  </a:lnTo>
                  <a:lnTo>
                    <a:pt x="421" y="572"/>
                  </a:lnTo>
                  <a:lnTo>
                    <a:pt x="421" y="316"/>
                  </a:lnTo>
                  <a:lnTo>
                    <a:pt x="420" y="313"/>
                  </a:lnTo>
                  <a:lnTo>
                    <a:pt x="420" y="311"/>
                  </a:lnTo>
                  <a:lnTo>
                    <a:pt x="418" y="307"/>
                  </a:lnTo>
                  <a:lnTo>
                    <a:pt x="417" y="305"/>
                  </a:lnTo>
                  <a:lnTo>
                    <a:pt x="414" y="304"/>
                  </a:lnTo>
                  <a:lnTo>
                    <a:pt x="412" y="302"/>
                  </a:lnTo>
                  <a:lnTo>
                    <a:pt x="408" y="302"/>
                  </a:lnTo>
                  <a:lnTo>
                    <a:pt x="406" y="301"/>
                  </a:lnTo>
                  <a:lnTo>
                    <a:pt x="285" y="301"/>
                  </a:lnTo>
                  <a:lnTo>
                    <a:pt x="283" y="302"/>
                  </a:lnTo>
                  <a:lnTo>
                    <a:pt x="280" y="302"/>
                  </a:lnTo>
                  <a:lnTo>
                    <a:pt x="278" y="304"/>
                  </a:lnTo>
                  <a:lnTo>
                    <a:pt x="274" y="305"/>
                  </a:lnTo>
                  <a:lnTo>
                    <a:pt x="273" y="307"/>
                  </a:lnTo>
                  <a:lnTo>
                    <a:pt x="271" y="311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2"/>
                  </a:lnTo>
                  <a:lnTo>
                    <a:pt x="210" y="572"/>
                  </a:lnTo>
                  <a:lnTo>
                    <a:pt x="210" y="467"/>
                  </a:lnTo>
                  <a:lnTo>
                    <a:pt x="210" y="464"/>
                  </a:lnTo>
                  <a:lnTo>
                    <a:pt x="209" y="461"/>
                  </a:lnTo>
                  <a:lnTo>
                    <a:pt x="208" y="459"/>
                  </a:lnTo>
                  <a:lnTo>
                    <a:pt x="206" y="457"/>
                  </a:lnTo>
                  <a:lnTo>
                    <a:pt x="204" y="454"/>
                  </a:lnTo>
                  <a:lnTo>
                    <a:pt x="201" y="453"/>
                  </a:lnTo>
                  <a:lnTo>
                    <a:pt x="198" y="452"/>
                  </a:lnTo>
                  <a:lnTo>
                    <a:pt x="195" y="452"/>
                  </a:lnTo>
                  <a:lnTo>
                    <a:pt x="75" y="452"/>
                  </a:lnTo>
                  <a:lnTo>
                    <a:pt x="72" y="452"/>
                  </a:lnTo>
                  <a:lnTo>
                    <a:pt x="69" y="453"/>
                  </a:lnTo>
                  <a:lnTo>
                    <a:pt x="66" y="454"/>
                  </a:lnTo>
                  <a:lnTo>
                    <a:pt x="64" y="457"/>
                  </a:lnTo>
                  <a:lnTo>
                    <a:pt x="62" y="459"/>
                  </a:lnTo>
                  <a:lnTo>
                    <a:pt x="61" y="461"/>
                  </a:lnTo>
                  <a:lnTo>
                    <a:pt x="60" y="464"/>
                  </a:lnTo>
                  <a:lnTo>
                    <a:pt x="60" y="467"/>
                  </a:lnTo>
                  <a:lnTo>
                    <a:pt x="60" y="572"/>
                  </a:lnTo>
                  <a:lnTo>
                    <a:pt x="15" y="572"/>
                  </a:lnTo>
                  <a:lnTo>
                    <a:pt x="12" y="572"/>
                  </a:lnTo>
                  <a:lnTo>
                    <a:pt x="8" y="573"/>
                  </a:lnTo>
                  <a:lnTo>
                    <a:pt x="6" y="575"/>
                  </a:lnTo>
                  <a:lnTo>
                    <a:pt x="4" y="577"/>
                  </a:lnTo>
                  <a:lnTo>
                    <a:pt x="2" y="579"/>
                  </a:lnTo>
                  <a:lnTo>
                    <a:pt x="1" y="581"/>
                  </a:lnTo>
                  <a:lnTo>
                    <a:pt x="0" y="584"/>
                  </a:lnTo>
                  <a:lnTo>
                    <a:pt x="0" y="587"/>
                  </a:lnTo>
                  <a:lnTo>
                    <a:pt x="0" y="591"/>
                  </a:lnTo>
                  <a:lnTo>
                    <a:pt x="1" y="593"/>
                  </a:lnTo>
                  <a:lnTo>
                    <a:pt x="2" y="596"/>
                  </a:lnTo>
                  <a:lnTo>
                    <a:pt x="4" y="598"/>
                  </a:lnTo>
                  <a:lnTo>
                    <a:pt x="6" y="600"/>
                  </a:lnTo>
                  <a:lnTo>
                    <a:pt x="8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75" y="602"/>
                  </a:lnTo>
                  <a:lnTo>
                    <a:pt x="195" y="602"/>
                  </a:lnTo>
                  <a:lnTo>
                    <a:pt x="285" y="602"/>
                  </a:lnTo>
                  <a:lnTo>
                    <a:pt x="406" y="602"/>
                  </a:lnTo>
                  <a:lnTo>
                    <a:pt x="496" y="602"/>
                  </a:lnTo>
                  <a:lnTo>
                    <a:pt x="617" y="602"/>
                  </a:lnTo>
                  <a:lnTo>
                    <a:pt x="707" y="602"/>
                  </a:lnTo>
                  <a:lnTo>
                    <a:pt x="828" y="602"/>
                  </a:lnTo>
                  <a:lnTo>
                    <a:pt x="888" y="602"/>
                  </a:lnTo>
                  <a:lnTo>
                    <a:pt x="891" y="602"/>
                  </a:lnTo>
                  <a:lnTo>
                    <a:pt x="893" y="601"/>
                  </a:lnTo>
                  <a:lnTo>
                    <a:pt x="896" y="600"/>
                  </a:lnTo>
                  <a:lnTo>
                    <a:pt x="899" y="598"/>
                  </a:lnTo>
                  <a:lnTo>
                    <a:pt x="900" y="596"/>
                  </a:lnTo>
                  <a:lnTo>
                    <a:pt x="902" y="593"/>
                  </a:lnTo>
                  <a:lnTo>
                    <a:pt x="902" y="591"/>
                  </a:lnTo>
                  <a:lnTo>
                    <a:pt x="903" y="587"/>
                  </a:lnTo>
                  <a:lnTo>
                    <a:pt x="902" y="584"/>
                  </a:lnTo>
                  <a:lnTo>
                    <a:pt x="902" y="581"/>
                  </a:lnTo>
                  <a:lnTo>
                    <a:pt x="900" y="579"/>
                  </a:lnTo>
                  <a:lnTo>
                    <a:pt x="899" y="577"/>
                  </a:lnTo>
                  <a:lnTo>
                    <a:pt x="896" y="575"/>
                  </a:lnTo>
                  <a:lnTo>
                    <a:pt x="893" y="573"/>
                  </a:lnTo>
                  <a:lnTo>
                    <a:pt x="891" y="572"/>
                  </a:lnTo>
                  <a:lnTo>
                    <a:pt x="88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DE1961D9-E922-4C38-882A-6D7FBA42BF9D}"/>
              </a:ext>
            </a:extLst>
          </p:cNvPr>
          <p:cNvGrpSpPr/>
          <p:nvPr/>
        </p:nvGrpSpPr>
        <p:grpSpPr>
          <a:xfrm>
            <a:off x="1017072" y="1812588"/>
            <a:ext cx="200025" cy="287338"/>
            <a:chOff x="2073275" y="771525"/>
            <a:chExt cx="200025" cy="287338"/>
          </a:xfrm>
          <a:solidFill>
            <a:schemeClr val="bg1"/>
          </a:solidFill>
        </p:grpSpPr>
        <p:sp>
          <p:nvSpPr>
            <p:cNvPr id="117" name="Freeform 319">
              <a:extLst>
                <a:ext uri="{FF2B5EF4-FFF2-40B4-BE49-F238E27FC236}">
                  <a16:creationId xmlns:a16="http://schemas.microsoft.com/office/drawing/2014/main" id="{F2B7819E-C039-4D29-B083-8D2A87946F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3275" y="771525"/>
              <a:ext cx="200025" cy="287338"/>
            </a:xfrm>
            <a:custGeom>
              <a:avLst/>
              <a:gdLst>
                <a:gd name="T0" fmla="*/ 106 w 632"/>
                <a:gd name="T1" fmla="*/ 301 h 903"/>
                <a:gd name="T2" fmla="*/ 91 w 632"/>
                <a:gd name="T3" fmla="*/ 102 h 903"/>
                <a:gd name="T4" fmla="*/ 534 w 632"/>
                <a:gd name="T5" fmla="*/ 91 h 903"/>
                <a:gd name="T6" fmla="*/ 464 w 632"/>
                <a:gd name="T7" fmla="*/ 422 h 903"/>
                <a:gd name="T8" fmla="*/ 454 w 632"/>
                <a:gd name="T9" fmla="*/ 398 h 903"/>
                <a:gd name="T10" fmla="*/ 538 w 632"/>
                <a:gd name="T11" fmla="*/ 396 h 903"/>
                <a:gd name="T12" fmla="*/ 534 w 632"/>
                <a:gd name="T13" fmla="*/ 420 h 903"/>
                <a:gd name="T14" fmla="*/ 454 w 632"/>
                <a:gd name="T15" fmla="*/ 535 h 903"/>
                <a:gd name="T16" fmla="*/ 464 w 632"/>
                <a:gd name="T17" fmla="*/ 513 h 903"/>
                <a:gd name="T18" fmla="*/ 542 w 632"/>
                <a:gd name="T19" fmla="*/ 527 h 903"/>
                <a:gd name="T20" fmla="*/ 527 w 632"/>
                <a:gd name="T21" fmla="*/ 663 h 903"/>
                <a:gd name="T22" fmla="*/ 452 w 632"/>
                <a:gd name="T23" fmla="*/ 645 h 903"/>
                <a:gd name="T24" fmla="*/ 534 w 632"/>
                <a:gd name="T25" fmla="*/ 634 h 903"/>
                <a:gd name="T26" fmla="*/ 538 w 632"/>
                <a:gd name="T27" fmla="*/ 658 h 903"/>
                <a:gd name="T28" fmla="*/ 416 w 632"/>
                <a:gd name="T29" fmla="*/ 635 h 903"/>
                <a:gd name="T30" fmla="*/ 416 w 632"/>
                <a:gd name="T31" fmla="*/ 660 h 903"/>
                <a:gd name="T32" fmla="*/ 333 w 632"/>
                <a:gd name="T33" fmla="*/ 653 h 903"/>
                <a:gd name="T34" fmla="*/ 347 w 632"/>
                <a:gd name="T35" fmla="*/ 633 h 903"/>
                <a:gd name="T36" fmla="*/ 407 w 632"/>
                <a:gd name="T37" fmla="*/ 392 h 903"/>
                <a:gd name="T38" fmla="*/ 421 w 632"/>
                <a:gd name="T39" fmla="*/ 412 h 903"/>
                <a:gd name="T40" fmla="*/ 338 w 632"/>
                <a:gd name="T41" fmla="*/ 419 h 903"/>
                <a:gd name="T42" fmla="*/ 412 w 632"/>
                <a:gd name="T43" fmla="*/ 513 h 903"/>
                <a:gd name="T44" fmla="*/ 418 w 632"/>
                <a:gd name="T45" fmla="*/ 537 h 903"/>
                <a:gd name="T46" fmla="*/ 334 w 632"/>
                <a:gd name="T47" fmla="*/ 535 h 903"/>
                <a:gd name="T48" fmla="*/ 344 w 632"/>
                <a:gd name="T49" fmla="*/ 513 h 903"/>
                <a:gd name="T50" fmla="*/ 332 w 632"/>
                <a:gd name="T51" fmla="*/ 771 h 903"/>
                <a:gd name="T52" fmla="*/ 527 w 632"/>
                <a:gd name="T53" fmla="*/ 753 h 903"/>
                <a:gd name="T54" fmla="*/ 541 w 632"/>
                <a:gd name="T55" fmla="*/ 773 h 903"/>
                <a:gd name="T56" fmla="*/ 220 w 632"/>
                <a:gd name="T57" fmla="*/ 420 h 903"/>
                <a:gd name="T58" fmla="*/ 216 w 632"/>
                <a:gd name="T59" fmla="*/ 396 h 903"/>
                <a:gd name="T60" fmla="*/ 299 w 632"/>
                <a:gd name="T61" fmla="*/ 398 h 903"/>
                <a:gd name="T62" fmla="*/ 289 w 632"/>
                <a:gd name="T63" fmla="*/ 422 h 903"/>
                <a:gd name="T64" fmla="*/ 213 w 632"/>
                <a:gd name="T65" fmla="*/ 533 h 903"/>
                <a:gd name="T66" fmla="*/ 227 w 632"/>
                <a:gd name="T67" fmla="*/ 512 h 903"/>
                <a:gd name="T68" fmla="*/ 301 w 632"/>
                <a:gd name="T69" fmla="*/ 530 h 903"/>
                <a:gd name="T70" fmla="*/ 227 w 632"/>
                <a:gd name="T71" fmla="*/ 663 h 903"/>
                <a:gd name="T72" fmla="*/ 213 w 632"/>
                <a:gd name="T73" fmla="*/ 641 h 903"/>
                <a:gd name="T74" fmla="*/ 294 w 632"/>
                <a:gd name="T75" fmla="*/ 635 h 903"/>
                <a:gd name="T76" fmla="*/ 294 w 632"/>
                <a:gd name="T77" fmla="*/ 660 h 903"/>
                <a:gd name="T78" fmla="*/ 216 w 632"/>
                <a:gd name="T79" fmla="*/ 779 h 903"/>
                <a:gd name="T80" fmla="*/ 220 w 632"/>
                <a:gd name="T81" fmla="*/ 754 h 903"/>
                <a:gd name="T82" fmla="*/ 301 w 632"/>
                <a:gd name="T83" fmla="*/ 765 h 903"/>
                <a:gd name="T84" fmla="*/ 166 w 632"/>
                <a:gd name="T85" fmla="*/ 422 h 903"/>
                <a:gd name="T86" fmla="*/ 91 w 632"/>
                <a:gd name="T87" fmla="*/ 403 h 903"/>
                <a:gd name="T88" fmla="*/ 172 w 632"/>
                <a:gd name="T89" fmla="*/ 393 h 903"/>
                <a:gd name="T90" fmla="*/ 176 w 632"/>
                <a:gd name="T91" fmla="*/ 417 h 903"/>
                <a:gd name="T92" fmla="*/ 97 w 632"/>
                <a:gd name="T93" fmla="*/ 540 h 903"/>
                <a:gd name="T94" fmla="*/ 97 w 632"/>
                <a:gd name="T95" fmla="*/ 515 h 903"/>
                <a:gd name="T96" fmla="*/ 180 w 632"/>
                <a:gd name="T97" fmla="*/ 521 h 903"/>
                <a:gd name="T98" fmla="*/ 166 w 632"/>
                <a:gd name="T99" fmla="*/ 542 h 903"/>
                <a:gd name="T100" fmla="*/ 91 w 632"/>
                <a:gd name="T101" fmla="*/ 650 h 903"/>
                <a:gd name="T102" fmla="*/ 166 w 632"/>
                <a:gd name="T103" fmla="*/ 633 h 903"/>
                <a:gd name="T104" fmla="*/ 180 w 632"/>
                <a:gd name="T105" fmla="*/ 653 h 903"/>
                <a:gd name="T106" fmla="*/ 102 w 632"/>
                <a:gd name="T107" fmla="*/ 783 h 903"/>
                <a:gd name="T108" fmla="*/ 94 w 632"/>
                <a:gd name="T109" fmla="*/ 759 h 903"/>
                <a:gd name="T110" fmla="*/ 176 w 632"/>
                <a:gd name="T111" fmla="*/ 757 h 903"/>
                <a:gd name="T112" fmla="*/ 172 w 632"/>
                <a:gd name="T113" fmla="*/ 782 h 903"/>
                <a:gd name="T114" fmla="*/ 4 w 632"/>
                <a:gd name="T115" fmla="*/ 28 h 903"/>
                <a:gd name="T116" fmla="*/ 37 w 632"/>
                <a:gd name="T117" fmla="*/ 902 h 903"/>
                <a:gd name="T118" fmla="*/ 632 w 632"/>
                <a:gd name="T119" fmla="*/ 858 h 903"/>
                <a:gd name="T120" fmla="*/ 587 w 632"/>
                <a:gd name="T121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32" h="903">
                  <a:moveTo>
                    <a:pt x="542" y="286"/>
                  </a:moveTo>
                  <a:lnTo>
                    <a:pt x="542" y="290"/>
                  </a:lnTo>
                  <a:lnTo>
                    <a:pt x="541" y="292"/>
                  </a:lnTo>
                  <a:lnTo>
                    <a:pt x="540" y="295"/>
                  </a:lnTo>
                  <a:lnTo>
                    <a:pt x="538" y="297"/>
                  </a:lnTo>
                  <a:lnTo>
                    <a:pt x="536" y="298"/>
                  </a:lnTo>
                  <a:lnTo>
                    <a:pt x="534" y="300"/>
                  </a:lnTo>
                  <a:lnTo>
                    <a:pt x="530" y="301"/>
                  </a:lnTo>
                  <a:lnTo>
                    <a:pt x="527" y="301"/>
                  </a:lnTo>
                  <a:lnTo>
                    <a:pt x="106" y="301"/>
                  </a:lnTo>
                  <a:lnTo>
                    <a:pt x="102" y="300"/>
                  </a:lnTo>
                  <a:lnTo>
                    <a:pt x="100" y="300"/>
                  </a:lnTo>
                  <a:lnTo>
                    <a:pt x="97" y="298"/>
                  </a:lnTo>
                  <a:lnTo>
                    <a:pt x="95" y="297"/>
                  </a:lnTo>
                  <a:lnTo>
                    <a:pt x="94" y="295"/>
                  </a:lnTo>
                  <a:lnTo>
                    <a:pt x="92" y="292"/>
                  </a:lnTo>
                  <a:lnTo>
                    <a:pt x="91" y="290"/>
                  </a:lnTo>
                  <a:lnTo>
                    <a:pt x="91" y="286"/>
                  </a:lnTo>
                  <a:lnTo>
                    <a:pt x="91" y="105"/>
                  </a:lnTo>
                  <a:lnTo>
                    <a:pt x="91" y="102"/>
                  </a:lnTo>
                  <a:lnTo>
                    <a:pt x="92" y="100"/>
                  </a:lnTo>
                  <a:lnTo>
                    <a:pt x="94" y="97"/>
                  </a:lnTo>
                  <a:lnTo>
                    <a:pt x="95" y="94"/>
                  </a:lnTo>
                  <a:lnTo>
                    <a:pt x="97" y="93"/>
                  </a:lnTo>
                  <a:lnTo>
                    <a:pt x="100" y="91"/>
                  </a:lnTo>
                  <a:lnTo>
                    <a:pt x="102" y="91"/>
                  </a:lnTo>
                  <a:lnTo>
                    <a:pt x="106" y="90"/>
                  </a:lnTo>
                  <a:lnTo>
                    <a:pt x="527" y="90"/>
                  </a:lnTo>
                  <a:lnTo>
                    <a:pt x="530" y="91"/>
                  </a:lnTo>
                  <a:lnTo>
                    <a:pt x="534" y="91"/>
                  </a:lnTo>
                  <a:lnTo>
                    <a:pt x="536" y="93"/>
                  </a:lnTo>
                  <a:lnTo>
                    <a:pt x="538" y="94"/>
                  </a:lnTo>
                  <a:lnTo>
                    <a:pt x="540" y="97"/>
                  </a:lnTo>
                  <a:lnTo>
                    <a:pt x="541" y="100"/>
                  </a:lnTo>
                  <a:lnTo>
                    <a:pt x="542" y="102"/>
                  </a:lnTo>
                  <a:lnTo>
                    <a:pt x="542" y="105"/>
                  </a:lnTo>
                  <a:lnTo>
                    <a:pt x="542" y="286"/>
                  </a:lnTo>
                  <a:close/>
                  <a:moveTo>
                    <a:pt x="527" y="422"/>
                  </a:moveTo>
                  <a:lnTo>
                    <a:pt x="467" y="422"/>
                  </a:lnTo>
                  <a:lnTo>
                    <a:pt x="464" y="422"/>
                  </a:lnTo>
                  <a:lnTo>
                    <a:pt x="462" y="420"/>
                  </a:lnTo>
                  <a:lnTo>
                    <a:pt x="458" y="419"/>
                  </a:lnTo>
                  <a:lnTo>
                    <a:pt x="456" y="417"/>
                  </a:lnTo>
                  <a:lnTo>
                    <a:pt x="454" y="415"/>
                  </a:lnTo>
                  <a:lnTo>
                    <a:pt x="453" y="412"/>
                  </a:lnTo>
                  <a:lnTo>
                    <a:pt x="452" y="410"/>
                  </a:lnTo>
                  <a:lnTo>
                    <a:pt x="452" y="407"/>
                  </a:lnTo>
                  <a:lnTo>
                    <a:pt x="452" y="403"/>
                  </a:lnTo>
                  <a:lnTo>
                    <a:pt x="453" y="401"/>
                  </a:lnTo>
                  <a:lnTo>
                    <a:pt x="454" y="398"/>
                  </a:lnTo>
                  <a:lnTo>
                    <a:pt x="456" y="396"/>
                  </a:lnTo>
                  <a:lnTo>
                    <a:pt x="458" y="394"/>
                  </a:lnTo>
                  <a:lnTo>
                    <a:pt x="462" y="393"/>
                  </a:lnTo>
                  <a:lnTo>
                    <a:pt x="464" y="392"/>
                  </a:lnTo>
                  <a:lnTo>
                    <a:pt x="467" y="392"/>
                  </a:lnTo>
                  <a:lnTo>
                    <a:pt x="527" y="392"/>
                  </a:lnTo>
                  <a:lnTo>
                    <a:pt x="530" y="392"/>
                  </a:lnTo>
                  <a:lnTo>
                    <a:pt x="534" y="393"/>
                  </a:lnTo>
                  <a:lnTo>
                    <a:pt x="536" y="394"/>
                  </a:lnTo>
                  <a:lnTo>
                    <a:pt x="538" y="396"/>
                  </a:lnTo>
                  <a:lnTo>
                    <a:pt x="540" y="398"/>
                  </a:lnTo>
                  <a:lnTo>
                    <a:pt x="541" y="401"/>
                  </a:lnTo>
                  <a:lnTo>
                    <a:pt x="542" y="403"/>
                  </a:lnTo>
                  <a:lnTo>
                    <a:pt x="542" y="407"/>
                  </a:lnTo>
                  <a:lnTo>
                    <a:pt x="542" y="410"/>
                  </a:lnTo>
                  <a:lnTo>
                    <a:pt x="541" y="412"/>
                  </a:lnTo>
                  <a:lnTo>
                    <a:pt x="540" y="415"/>
                  </a:lnTo>
                  <a:lnTo>
                    <a:pt x="538" y="417"/>
                  </a:lnTo>
                  <a:lnTo>
                    <a:pt x="536" y="419"/>
                  </a:lnTo>
                  <a:lnTo>
                    <a:pt x="534" y="420"/>
                  </a:lnTo>
                  <a:lnTo>
                    <a:pt x="530" y="422"/>
                  </a:lnTo>
                  <a:lnTo>
                    <a:pt x="527" y="422"/>
                  </a:lnTo>
                  <a:lnTo>
                    <a:pt x="527" y="422"/>
                  </a:lnTo>
                  <a:close/>
                  <a:moveTo>
                    <a:pt x="527" y="542"/>
                  </a:moveTo>
                  <a:lnTo>
                    <a:pt x="467" y="542"/>
                  </a:lnTo>
                  <a:lnTo>
                    <a:pt x="464" y="542"/>
                  </a:lnTo>
                  <a:lnTo>
                    <a:pt x="462" y="541"/>
                  </a:lnTo>
                  <a:lnTo>
                    <a:pt x="458" y="540"/>
                  </a:lnTo>
                  <a:lnTo>
                    <a:pt x="456" y="537"/>
                  </a:lnTo>
                  <a:lnTo>
                    <a:pt x="454" y="535"/>
                  </a:lnTo>
                  <a:lnTo>
                    <a:pt x="453" y="533"/>
                  </a:lnTo>
                  <a:lnTo>
                    <a:pt x="452" y="530"/>
                  </a:lnTo>
                  <a:lnTo>
                    <a:pt x="452" y="527"/>
                  </a:lnTo>
                  <a:lnTo>
                    <a:pt x="452" y="523"/>
                  </a:lnTo>
                  <a:lnTo>
                    <a:pt x="453" y="521"/>
                  </a:lnTo>
                  <a:lnTo>
                    <a:pt x="454" y="518"/>
                  </a:lnTo>
                  <a:lnTo>
                    <a:pt x="456" y="516"/>
                  </a:lnTo>
                  <a:lnTo>
                    <a:pt x="458" y="515"/>
                  </a:lnTo>
                  <a:lnTo>
                    <a:pt x="462" y="513"/>
                  </a:lnTo>
                  <a:lnTo>
                    <a:pt x="464" y="513"/>
                  </a:lnTo>
                  <a:lnTo>
                    <a:pt x="467" y="512"/>
                  </a:lnTo>
                  <a:lnTo>
                    <a:pt x="527" y="512"/>
                  </a:lnTo>
                  <a:lnTo>
                    <a:pt x="530" y="513"/>
                  </a:lnTo>
                  <a:lnTo>
                    <a:pt x="534" y="513"/>
                  </a:lnTo>
                  <a:lnTo>
                    <a:pt x="536" y="515"/>
                  </a:lnTo>
                  <a:lnTo>
                    <a:pt x="538" y="516"/>
                  </a:lnTo>
                  <a:lnTo>
                    <a:pt x="540" y="518"/>
                  </a:lnTo>
                  <a:lnTo>
                    <a:pt x="541" y="521"/>
                  </a:lnTo>
                  <a:lnTo>
                    <a:pt x="542" y="523"/>
                  </a:lnTo>
                  <a:lnTo>
                    <a:pt x="542" y="527"/>
                  </a:lnTo>
                  <a:lnTo>
                    <a:pt x="542" y="530"/>
                  </a:lnTo>
                  <a:lnTo>
                    <a:pt x="541" y="533"/>
                  </a:lnTo>
                  <a:lnTo>
                    <a:pt x="540" y="535"/>
                  </a:lnTo>
                  <a:lnTo>
                    <a:pt x="538" y="537"/>
                  </a:lnTo>
                  <a:lnTo>
                    <a:pt x="536" y="540"/>
                  </a:lnTo>
                  <a:lnTo>
                    <a:pt x="534" y="541"/>
                  </a:lnTo>
                  <a:lnTo>
                    <a:pt x="530" y="542"/>
                  </a:lnTo>
                  <a:lnTo>
                    <a:pt x="527" y="542"/>
                  </a:lnTo>
                  <a:lnTo>
                    <a:pt x="527" y="542"/>
                  </a:lnTo>
                  <a:close/>
                  <a:moveTo>
                    <a:pt x="527" y="663"/>
                  </a:moveTo>
                  <a:lnTo>
                    <a:pt x="467" y="663"/>
                  </a:lnTo>
                  <a:lnTo>
                    <a:pt x="464" y="662"/>
                  </a:lnTo>
                  <a:lnTo>
                    <a:pt x="462" y="661"/>
                  </a:lnTo>
                  <a:lnTo>
                    <a:pt x="458" y="660"/>
                  </a:lnTo>
                  <a:lnTo>
                    <a:pt x="456" y="658"/>
                  </a:lnTo>
                  <a:lnTo>
                    <a:pt x="454" y="655"/>
                  </a:lnTo>
                  <a:lnTo>
                    <a:pt x="453" y="653"/>
                  </a:lnTo>
                  <a:lnTo>
                    <a:pt x="452" y="650"/>
                  </a:lnTo>
                  <a:lnTo>
                    <a:pt x="452" y="648"/>
                  </a:lnTo>
                  <a:lnTo>
                    <a:pt x="452" y="645"/>
                  </a:lnTo>
                  <a:lnTo>
                    <a:pt x="453" y="641"/>
                  </a:lnTo>
                  <a:lnTo>
                    <a:pt x="454" y="639"/>
                  </a:lnTo>
                  <a:lnTo>
                    <a:pt x="456" y="637"/>
                  </a:lnTo>
                  <a:lnTo>
                    <a:pt x="458" y="635"/>
                  </a:lnTo>
                  <a:lnTo>
                    <a:pt x="462" y="634"/>
                  </a:lnTo>
                  <a:lnTo>
                    <a:pt x="464" y="633"/>
                  </a:lnTo>
                  <a:lnTo>
                    <a:pt x="467" y="633"/>
                  </a:lnTo>
                  <a:lnTo>
                    <a:pt x="527" y="633"/>
                  </a:lnTo>
                  <a:lnTo>
                    <a:pt x="530" y="633"/>
                  </a:lnTo>
                  <a:lnTo>
                    <a:pt x="534" y="634"/>
                  </a:lnTo>
                  <a:lnTo>
                    <a:pt x="536" y="635"/>
                  </a:lnTo>
                  <a:lnTo>
                    <a:pt x="538" y="637"/>
                  </a:lnTo>
                  <a:lnTo>
                    <a:pt x="540" y="639"/>
                  </a:lnTo>
                  <a:lnTo>
                    <a:pt x="541" y="641"/>
                  </a:lnTo>
                  <a:lnTo>
                    <a:pt x="542" y="645"/>
                  </a:lnTo>
                  <a:lnTo>
                    <a:pt x="542" y="648"/>
                  </a:lnTo>
                  <a:lnTo>
                    <a:pt x="542" y="650"/>
                  </a:lnTo>
                  <a:lnTo>
                    <a:pt x="541" y="653"/>
                  </a:lnTo>
                  <a:lnTo>
                    <a:pt x="540" y="655"/>
                  </a:lnTo>
                  <a:lnTo>
                    <a:pt x="538" y="658"/>
                  </a:lnTo>
                  <a:lnTo>
                    <a:pt x="536" y="660"/>
                  </a:lnTo>
                  <a:lnTo>
                    <a:pt x="534" y="662"/>
                  </a:lnTo>
                  <a:lnTo>
                    <a:pt x="530" y="662"/>
                  </a:lnTo>
                  <a:lnTo>
                    <a:pt x="527" y="663"/>
                  </a:lnTo>
                  <a:lnTo>
                    <a:pt x="527" y="663"/>
                  </a:lnTo>
                  <a:close/>
                  <a:moveTo>
                    <a:pt x="347" y="633"/>
                  </a:moveTo>
                  <a:lnTo>
                    <a:pt x="407" y="633"/>
                  </a:lnTo>
                  <a:lnTo>
                    <a:pt x="410" y="633"/>
                  </a:lnTo>
                  <a:lnTo>
                    <a:pt x="412" y="634"/>
                  </a:lnTo>
                  <a:lnTo>
                    <a:pt x="416" y="635"/>
                  </a:lnTo>
                  <a:lnTo>
                    <a:pt x="418" y="637"/>
                  </a:lnTo>
                  <a:lnTo>
                    <a:pt x="420" y="639"/>
                  </a:lnTo>
                  <a:lnTo>
                    <a:pt x="421" y="641"/>
                  </a:lnTo>
                  <a:lnTo>
                    <a:pt x="422" y="645"/>
                  </a:lnTo>
                  <a:lnTo>
                    <a:pt x="422" y="648"/>
                  </a:lnTo>
                  <a:lnTo>
                    <a:pt x="422" y="650"/>
                  </a:lnTo>
                  <a:lnTo>
                    <a:pt x="421" y="653"/>
                  </a:lnTo>
                  <a:lnTo>
                    <a:pt x="420" y="655"/>
                  </a:lnTo>
                  <a:lnTo>
                    <a:pt x="418" y="658"/>
                  </a:lnTo>
                  <a:lnTo>
                    <a:pt x="416" y="660"/>
                  </a:lnTo>
                  <a:lnTo>
                    <a:pt x="412" y="662"/>
                  </a:lnTo>
                  <a:lnTo>
                    <a:pt x="410" y="662"/>
                  </a:lnTo>
                  <a:lnTo>
                    <a:pt x="407" y="663"/>
                  </a:lnTo>
                  <a:lnTo>
                    <a:pt x="347" y="663"/>
                  </a:lnTo>
                  <a:lnTo>
                    <a:pt x="344" y="662"/>
                  </a:lnTo>
                  <a:lnTo>
                    <a:pt x="340" y="661"/>
                  </a:lnTo>
                  <a:lnTo>
                    <a:pt x="338" y="660"/>
                  </a:lnTo>
                  <a:lnTo>
                    <a:pt x="336" y="658"/>
                  </a:lnTo>
                  <a:lnTo>
                    <a:pt x="334" y="655"/>
                  </a:lnTo>
                  <a:lnTo>
                    <a:pt x="333" y="653"/>
                  </a:lnTo>
                  <a:lnTo>
                    <a:pt x="332" y="650"/>
                  </a:lnTo>
                  <a:lnTo>
                    <a:pt x="332" y="648"/>
                  </a:lnTo>
                  <a:lnTo>
                    <a:pt x="332" y="645"/>
                  </a:lnTo>
                  <a:lnTo>
                    <a:pt x="333" y="641"/>
                  </a:lnTo>
                  <a:lnTo>
                    <a:pt x="334" y="639"/>
                  </a:lnTo>
                  <a:lnTo>
                    <a:pt x="336" y="637"/>
                  </a:lnTo>
                  <a:lnTo>
                    <a:pt x="338" y="635"/>
                  </a:lnTo>
                  <a:lnTo>
                    <a:pt x="340" y="634"/>
                  </a:lnTo>
                  <a:lnTo>
                    <a:pt x="344" y="633"/>
                  </a:lnTo>
                  <a:lnTo>
                    <a:pt x="347" y="633"/>
                  </a:lnTo>
                  <a:close/>
                  <a:moveTo>
                    <a:pt x="332" y="407"/>
                  </a:moveTo>
                  <a:lnTo>
                    <a:pt x="332" y="403"/>
                  </a:lnTo>
                  <a:lnTo>
                    <a:pt x="333" y="401"/>
                  </a:lnTo>
                  <a:lnTo>
                    <a:pt x="334" y="398"/>
                  </a:lnTo>
                  <a:lnTo>
                    <a:pt x="336" y="396"/>
                  </a:lnTo>
                  <a:lnTo>
                    <a:pt x="338" y="394"/>
                  </a:lnTo>
                  <a:lnTo>
                    <a:pt x="340" y="393"/>
                  </a:lnTo>
                  <a:lnTo>
                    <a:pt x="344" y="392"/>
                  </a:lnTo>
                  <a:lnTo>
                    <a:pt x="347" y="392"/>
                  </a:lnTo>
                  <a:lnTo>
                    <a:pt x="407" y="392"/>
                  </a:lnTo>
                  <a:lnTo>
                    <a:pt x="410" y="392"/>
                  </a:lnTo>
                  <a:lnTo>
                    <a:pt x="412" y="393"/>
                  </a:lnTo>
                  <a:lnTo>
                    <a:pt x="416" y="394"/>
                  </a:lnTo>
                  <a:lnTo>
                    <a:pt x="418" y="396"/>
                  </a:lnTo>
                  <a:lnTo>
                    <a:pt x="420" y="398"/>
                  </a:lnTo>
                  <a:lnTo>
                    <a:pt x="421" y="401"/>
                  </a:lnTo>
                  <a:lnTo>
                    <a:pt x="422" y="403"/>
                  </a:lnTo>
                  <a:lnTo>
                    <a:pt x="422" y="407"/>
                  </a:lnTo>
                  <a:lnTo>
                    <a:pt x="422" y="410"/>
                  </a:lnTo>
                  <a:lnTo>
                    <a:pt x="421" y="412"/>
                  </a:lnTo>
                  <a:lnTo>
                    <a:pt x="420" y="415"/>
                  </a:lnTo>
                  <a:lnTo>
                    <a:pt x="418" y="417"/>
                  </a:lnTo>
                  <a:lnTo>
                    <a:pt x="416" y="419"/>
                  </a:lnTo>
                  <a:lnTo>
                    <a:pt x="412" y="420"/>
                  </a:lnTo>
                  <a:lnTo>
                    <a:pt x="410" y="422"/>
                  </a:lnTo>
                  <a:lnTo>
                    <a:pt x="407" y="422"/>
                  </a:lnTo>
                  <a:lnTo>
                    <a:pt x="347" y="422"/>
                  </a:lnTo>
                  <a:lnTo>
                    <a:pt x="344" y="422"/>
                  </a:lnTo>
                  <a:lnTo>
                    <a:pt x="340" y="420"/>
                  </a:lnTo>
                  <a:lnTo>
                    <a:pt x="338" y="419"/>
                  </a:lnTo>
                  <a:lnTo>
                    <a:pt x="336" y="417"/>
                  </a:lnTo>
                  <a:lnTo>
                    <a:pt x="334" y="415"/>
                  </a:lnTo>
                  <a:lnTo>
                    <a:pt x="333" y="412"/>
                  </a:lnTo>
                  <a:lnTo>
                    <a:pt x="332" y="410"/>
                  </a:lnTo>
                  <a:lnTo>
                    <a:pt x="332" y="407"/>
                  </a:lnTo>
                  <a:lnTo>
                    <a:pt x="332" y="407"/>
                  </a:lnTo>
                  <a:close/>
                  <a:moveTo>
                    <a:pt x="347" y="512"/>
                  </a:moveTo>
                  <a:lnTo>
                    <a:pt x="407" y="512"/>
                  </a:lnTo>
                  <a:lnTo>
                    <a:pt x="410" y="513"/>
                  </a:lnTo>
                  <a:lnTo>
                    <a:pt x="412" y="513"/>
                  </a:lnTo>
                  <a:lnTo>
                    <a:pt x="416" y="515"/>
                  </a:lnTo>
                  <a:lnTo>
                    <a:pt x="418" y="516"/>
                  </a:lnTo>
                  <a:lnTo>
                    <a:pt x="420" y="518"/>
                  </a:lnTo>
                  <a:lnTo>
                    <a:pt x="421" y="521"/>
                  </a:lnTo>
                  <a:lnTo>
                    <a:pt x="422" y="523"/>
                  </a:lnTo>
                  <a:lnTo>
                    <a:pt x="422" y="527"/>
                  </a:lnTo>
                  <a:lnTo>
                    <a:pt x="422" y="530"/>
                  </a:lnTo>
                  <a:lnTo>
                    <a:pt x="421" y="533"/>
                  </a:lnTo>
                  <a:lnTo>
                    <a:pt x="420" y="535"/>
                  </a:lnTo>
                  <a:lnTo>
                    <a:pt x="418" y="537"/>
                  </a:lnTo>
                  <a:lnTo>
                    <a:pt x="416" y="540"/>
                  </a:lnTo>
                  <a:lnTo>
                    <a:pt x="412" y="541"/>
                  </a:lnTo>
                  <a:lnTo>
                    <a:pt x="410" y="542"/>
                  </a:lnTo>
                  <a:lnTo>
                    <a:pt x="407" y="542"/>
                  </a:lnTo>
                  <a:lnTo>
                    <a:pt x="347" y="542"/>
                  </a:lnTo>
                  <a:lnTo>
                    <a:pt x="344" y="542"/>
                  </a:lnTo>
                  <a:lnTo>
                    <a:pt x="340" y="541"/>
                  </a:lnTo>
                  <a:lnTo>
                    <a:pt x="338" y="540"/>
                  </a:lnTo>
                  <a:lnTo>
                    <a:pt x="336" y="537"/>
                  </a:lnTo>
                  <a:lnTo>
                    <a:pt x="334" y="535"/>
                  </a:lnTo>
                  <a:lnTo>
                    <a:pt x="333" y="533"/>
                  </a:lnTo>
                  <a:lnTo>
                    <a:pt x="332" y="530"/>
                  </a:lnTo>
                  <a:lnTo>
                    <a:pt x="332" y="527"/>
                  </a:lnTo>
                  <a:lnTo>
                    <a:pt x="332" y="523"/>
                  </a:lnTo>
                  <a:lnTo>
                    <a:pt x="333" y="521"/>
                  </a:lnTo>
                  <a:lnTo>
                    <a:pt x="334" y="518"/>
                  </a:lnTo>
                  <a:lnTo>
                    <a:pt x="336" y="516"/>
                  </a:lnTo>
                  <a:lnTo>
                    <a:pt x="338" y="515"/>
                  </a:lnTo>
                  <a:lnTo>
                    <a:pt x="340" y="513"/>
                  </a:lnTo>
                  <a:lnTo>
                    <a:pt x="344" y="513"/>
                  </a:lnTo>
                  <a:lnTo>
                    <a:pt x="347" y="512"/>
                  </a:lnTo>
                  <a:close/>
                  <a:moveTo>
                    <a:pt x="527" y="783"/>
                  </a:moveTo>
                  <a:lnTo>
                    <a:pt x="347" y="783"/>
                  </a:lnTo>
                  <a:lnTo>
                    <a:pt x="344" y="783"/>
                  </a:lnTo>
                  <a:lnTo>
                    <a:pt x="340" y="782"/>
                  </a:lnTo>
                  <a:lnTo>
                    <a:pt x="338" y="780"/>
                  </a:lnTo>
                  <a:lnTo>
                    <a:pt x="336" y="779"/>
                  </a:lnTo>
                  <a:lnTo>
                    <a:pt x="334" y="777"/>
                  </a:lnTo>
                  <a:lnTo>
                    <a:pt x="333" y="773"/>
                  </a:lnTo>
                  <a:lnTo>
                    <a:pt x="332" y="771"/>
                  </a:lnTo>
                  <a:lnTo>
                    <a:pt x="332" y="768"/>
                  </a:lnTo>
                  <a:lnTo>
                    <a:pt x="332" y="765"/>
                  </a:lnTo>
                  <a:lnTo>
                    <a:pt x="333" y="762"/>
                  </a:lnTo>
                  <a:lnTo>
                    <a:pt x="334" y="759"/>
                  </a:lnTo>
                  <a:lnTo>
                    <a:pt x="336" y="757"/>
                  </a:lnTo>
                  <a:lnTo>
                    <a:pt x="338" y="755"/>
                  </a:lnTo>
                  <a:lnTo>
                    <a:pt x="340" y="754"/>
                  </a:lnTo>
                  <a:lnTo>
                    <a:pt x="344" y="753"/>
                  </a:lnTo>
                  <a:lnTo>
                    <a:pt x="347" y="753"/>
                  </a:lnTo>
                  <a:lnTo>
                    <a:pt x="527" y="753"/>
                  </a:lnTo>
                  <a:lnTo>
                    <a:pt x="530" y="753"/>
                  </a:lnTo>
                  <a:lnTo>
                    <a:pt x="534" y="754"/>
                  </a:lnTo>
                  <a:lnTo>
                    <a:pt x="536" y="755"/>
                  </a:lnTo>
                  <a:lnTo>
                    <a:pt x="538" y="757"/>
                  </a:lnTo>
                  <a:lnTo>
                    <a:pt x="540" y="759"/>
                  </a:lnTo>
                  <a:lnTo>
                    <a:pt x="541" y="762"/>
                  </a:lnTo>
                  <a:lnTo>
                    <a:pt x="542" y="765"/>
                  </a:lnTo>
                  <a:lnTo>
                    <a:pt x="542" y="768"/>
                  </a:lnTo>
                  <a:lnTo>
                    <a:pt x="542" y="771"/>
                  </a:lnTo>
                  <a:lnTo>
                    <a:pt x="541" y="773"/>
                  </a:lnTo>
                  <a:lnTo>
                    <a:pt x="540" y="777"/>
                  </a:lnTo>
                  <a:lnTo>
                    <a:pt x="538" y="779"/>
                  </a:lnTo>
                  <a:lnTo>
                    <a:pt x="536" y="780"/>
                  </a:lnTo>
                  <a:lnTo>
                    <a:pt x="534" y="782"/>
                  </a:lnTo>
                  <a:lnTo>
                    <a:pt x="530" y="783"/>
                  </a:lnTo>
                  <a:lnTo>
                    <a:pt x="527" y="783"/>
                  </a:lnTo>
                  <a:close/>
                  <a:moveTo>
                    <a:pt x="287" y="422"/>
                  </a:moveTo>
                  <a:lnTo>
                    <a:pt x="227" y="422"/>
                  </a:lnTo>
                  <a:lnTo>
                    <a:pt x="224" y="422"/>
                  </a:lnTo>
                  <a:lnTo>
                    <a:pt x="220" y="420"/>
                  </a:lnTo>
                  <a:lnTo>
                    <a:pt x="218" y="419"/>
                  </a:lnTo>
                  <a:lnTo>
                    <a:pt x="216" y="417"/>
                  </a:lnTo>
                  <a:lnTo>
                    <a:pt x="214" y="415"/>
                  </a:lnTo>
                  <a:lnTo>
                    <a:pt x="213" y="412"/>
                  </a:lnTo>
                  <a:lnTo>
                    <a:pt x="212" y="410"/>
                  </a:lnTo>
                  <a:lnTo>
                    <a:pt x="211" y="407"/>
                  </a:lnTo>
                  <a:lnTo>
                    <a:pt x="212" y="403"/>
                  </a:lnTo>
                  <a:lnTo>
                    <a:pt x="213" y="401"/>
                  </a:lnTo>
                  <a:lnTo>
                    <a:pt x="214" y="398"/>
                  </a:lnTo>
                  <a:lnTo>
                    <a:pt x="216" y="396"/>
                  </a:lnTo>
                  <a:lnTo>
                    <a:pt x="218" y="394"/>
                  </a:lnTo>
                  <a:lnTo>
                    <a:pt x="220" y="393"/>
                  </a:lnTo>
                  <a:lnTo>
                    <a:pt x="224" y="392"/>
                  </a:lnTo>
                  <a:lnTo>
                    <a:pt x="227" y="392"/>
                  </a:lnTo>
                  <a:lnTo>
                    <a:pt x="287" y="392"/>
                  </a:lnTo>
                  <a:lnTo>
                    <a:pt x="289" y="392"/>
                  </a:lnTo>
                  <a:lnTo>
                    <a:pt x="292" y="393"/>
                  </a:lnTo>
                  <a:lnTo>
                    <a:pt x="294" y="394"/>
                  </a:lnTo>
                  <a:lnTo>
                    <a:pt x="298" y="396"/>
                  </a:lnTo>
                  <a:lnTo>
                    <a:pt x="299" y="398"/>
                  </a:lnTo>
                  <a:lnTo>
                    <a:pt x="301" y="401"/>
                  </a:lnTo>
                  <a:lnTo>
                    <a:pt x="301" y="403"/>
                  </a:lnTo>
                  <a:lnTo>
                    <a:pt x="302" y="407"/>
                  </a:lnTo>
                  <a:lnTo>
                    <a:pt x="301" y="410"/>
                  </a:lnTo>
                  <a:lnTo>
                    <a:pt x="301" y="412"/>
                  </a:lnTo>
                  <a:lnTo>
                    <a:pt x="299" y="415"/>
                  </a:lnTo>
                  <a:lnTo>
                    <a:pt x="298" y="417"/>
                  </a:lnTo>
                  <a:lnTo>
                    <a:pt x="294" y="419"/>
                  </a:lnTo>
                  <a:lnTo>
                    <a:pt x="292" y="420"/>
                  </a:lnTo>
                  <a:lnTo>
                    <a:pt x="289" y="422"/>
                  </a:lnTo>
                  <a:lnTo>
                    <a:pt x="287" y="422"/>
                  </a:lnTo>
                  <a:lnTo>
                    <a:pt x="287" y="422"/>
                  </a:lnTo>
                  <a:close/>
                  <a:moveTo>
                    <a:pt x="287" y="542"/>
                  </a:moveTo>
                  <a:lnTo>
                    <a:pt x="227" y="542"/>
                  </a:lnTo>
                  <a:lnTo>
                    <a:pt x="224" y="542"/>
                  </a:lnTo>
                  <a:lnTo>
                    <a:pt x="220" y="541"/>
                  </a:lnTo>
                  <a:lnTo>
                    <a:pt x="218" y="540"/>
                  </a:lnTo>
                  <a:lnTo>
                    <a:pt x="216" y="537"/>
                  </a:lnTo>
                  <a:lnTo>
                    <a:pt x="214" y="535"/>
                  </a:lnTo>
                  <a:lnTo>
                    <a:pt x="213" y="533"/>
                  </a:lnTo>
                  <a:lnTo>
                    <a:pt x="212" y="530"/>
                  </a:lnTo>
                  <a:lnTo>
                    <a:pt x="211" y="527"/>
                  </a:lnTo>
                  <a:lnTo>
                    <a:pt x="212" y="523"/>
                  </a:lnTo>
                  <a:lnTo>
                    <a:pt x="213" y="521"/>
                  </a:lnTo>
                  <a:lnTo>
                    <a:pt x="214" y="518"/>
                  </a:lnTo>
                  <a:lnTo>
                    <a:pt x="216" y="516"/>
                  </a:lnTo>
                  <a:lnTo>
                    <a:pt x="218" y="515"/>
                  </a:lnTo>
                  <a:lnTo>
                    <a:pt x="220" y="513"/>
                  </a:lnTo>
                  <a:lnTo>
                    <a:pt x="224" y="513"/>
                  </a:lnTo>
                  <a:lnTo>
                    <a:pt x="227" y="512"/>
                  </a:lnTo>
                  <a:lnTo>
                    <a:pt x="287" y="512"/>
                  </a:lnTo>
                  <a:lnTo>
                    <a:pt x="289" y="513"/>
                  </a:lnTo>
                  <a:lnTo>
                    <a:pt x="292" y="513"/>
                  </a:lnTo>
                  <a:lnTo>
                    <a:pt x="294" y="515"/>
                  </a:lnTo>
                  <a:lnTo>
                    <a:pt x="298" y="516"/>
                  </a:lnTo>
                  <a:lnTo>
                    <a:pt x="299" y="518"/>
                  </a:lnTo>
                  <a:lnTo>
                    <a:pt x="301" y="521"/>
                  </a:lnTo>
                  <a:lnTo>
                    <a:pt x="301" y="523"/>
                  </a:lnTo>
                  <a:lnTo>
                    <a:pt x="302" y="527"/>
                  </a:lnTo>
                  <a:lnTo>
                    <a:pt x="301" y="530"/>
                  </a:lnTo>
                  <a:lnTo>
                    <a:pt x="301" y="533"/>
                  </a:lnTo>
                  <a:lnTo>
                    <a:pt x="299" y="535"/>
                  </a:lnTo>
                  <a:lnTo>
                    <a:pt x="298" y="537"/>
                  </a:lnTo>
                  <a:lnTo>
                    <a:pt x="294" y="540"/>
                  </a:lnTo>
                  <a:lnTo>
                    <a:pt x="292" y="541"/>
                  </a:lnTo>
                  <a:lnTo>
                    <a:pt x="289" y="542"/>
                  </a:lnTo>
                  <a:lnTo>
                    <a:pt x="287" y="542"/>
                  </a:lnTo>
                  <a:lnTo>
                    <a:pt x="287" y="542"/>
                  </a:lnTo>
                  <a:close/>
                  <a:moveTo>
                    <a:pt x="287" y="663"/>
                  </a:moveTo>
                  <a:lnTo>
                    <a:pt x="227" y="663"/>
                  </a:lnTo>
                  <a:lnTo>
                    <a:pt x="224" y="662"/>
                  </a:lnTo>
                  <a:lnTo>
                    <a:pt x="220" y="661"/>
                  </a:lnTo>
                  <a:lnTo>
                    <a:pt x="218" y="660"/>
                  </a:lnTo>
                  <a:lnTo>
                    <a:pt x="216" y="658"/>
                  </a:lnTo>
                  <a:lnTo>
                    <a:pt x="214" y="655"/>
                  </a:lnTo>
                  <a:lnTo>
                    <a:pt x="213" y="653"/>
                  </a:lnTo>
                  <a:lnTo>
                    <a:pt x="212" y="650"/>
                  </a:lnTo>
                  <a:lnTo>
                    <a:pt x="211" y="648"/>
                  </a:lnTo>
                  <a:lnTo>
                    <a:pt x="212" y="645"/>
                  </a:lnTo>
                  <a:lnTo>
                    <a:pt x="213" y="641"/>
                  </a:lnTo>
                  <a:lnTo>
                    <a:pt x="214" y="639"/>
                  </a:lnTo>
                  <a:lnTo>
                    <a:pt x="216" y="637"/>
                  </a:lnTo>
                  <a:lnTo>
                    <a:pt x="218" y="635"/>
                  </a:lnTo>
                  <a:lnTo>
                    <a:pt x="220" y="634"/>
                  </a:lnTo>
                  <a:lnTo>
                    <a:pt x="224" y="633"/>
                  </a:lnTo>
                  <a:lnTo>
                    <a:pt x="227" y="633"/>
                  </a:lnTo>
                  <a:lnTo>
                    <a:pt x="287" y="633"/>
                  </a:lnTo>
                  <a:lnTo>
                    <a:pt x="289" y="633"/>
                  </a:lnTo>
                  <a:lnTo>
                    <a:pt x="292" y="634"/>
                  </a:lnTo>
                  <a:lnTo>
                    <a:pt x="294" y="635"/>
                  </a:lnTo>
                  <a:lnTo>
                    <a:pt x="298" y="637"/>
                  </a:lnTo>
                  <a:lnTo>
                    <a:pt x="299" y="639"/>
                  </a:lnTo>
                  <a:lnTo>
                    <a:pt x="301" y="641"/>
                  </a:lnTo>
                  <a:lnTo>
                    <a:pt x="301" y="645"/>
                  </a:lnTo>
                  <a:lnTo>
                    <a:pt x="302" y="648"/>
                  </a:lnTo>
                  <a:lnTo>
                    <a:pt x="301" y="650"/>
                  </a:lnTo>
                  <a:lnTo>
                    <a:pt x="301" y="653"/>
                  </a:lnTo>
                  <a:lnTo>
                    <a:pt x="299" y="655"/>
                  </a:lnTo>
                  <a:lnTo>
                    <a:pt x="298" y="658"/>
                  </a:lnTo>
                  <a:lnTo>
                    <a:pt x="294" y="660"/>
                  </a:lnTo>
                  <a:lnTo>
                    <a:pt x="292" y="662"/>
                  </a:lnTo>
                  <a:lnTo>
                    <a:pt x="289" y="662"/>
                  </a:lnTo>
                  <a:lnTo>
                    <a:pt x="287" y="663"/>
                  </a:lnTo>
                  <a:lnTo>
                    <a:pt x="287" y="663"/>
                  </a:lnTo>
                  <a:close/>
                  <a:moveTo>
                    <a:pt x="287" y="783"/>
                  </a:moveTo>
                  <a:lnTo>
                    <a:pt x="227" y="783"/>
                  </a:lnTo>
                  <a:lnTo>
                    <a:pt x="224" y="783"/>
                  </a:lnTo>
                  <a:lnTo>
                    <a:pt x="220" y="782"/>
                  </a:lnTo>
                  <a:lnTo>
                    <a:pt x="218" y="780"/>
                  </a:lnTo>
                  <a:lnTo>
                    <a:pt x="216" y="779"/>
                  </a:lnTo>
                  <a:lnTo>
                    <a:pt x="214" y="777"/>
                  </a:lnTo>
                  <a:lnTo>
                    <a:pt x="213" y="773"/>
                  </a:lnTo>
                  <a:lnTo>
                    <a:pt x="212" y="771"/>
                  </a:lnTo>
                  <a:lnTo>
                    <a:pt x="211" y="768"/>
                  </a:lnTo>
                  <a:lnTo>
                    <a:pt x="212" y="765"/>
                  </a:lnTo>
                  <a:lnTo>
                    <a:pt x="213" y="762"/>
                  </a:lnTo>
                  <a:lnTo>
                    <a:pt x="214" y="759"/>
                  </a:lnTo>
                  <a:lnTo>
                    <a:pt x="216" y="757"/>
                  </a:lnTo>
                  <a:lnTo>
                    <a:pt x="218" y="755"/>
                  </a:lnTo>
                  <a:lnTo>
                    <a:pt x="220" y="754"/>
                  </a:lnTo>
                  <a:lnTo>
                    <a:pt x="224" y="753"/>
                  </a:lnTo>
                  <a:lnTo>
                    <a:pt x="227" y="753"/>
                  </a:lnTo>
                  <a:lnTo>
                    <a:pt x="287" y="753"/>
                  </a:lnTo>
                  <a:lnTo>
                    <a:pt x="289" y="753"/>
                  </a:lnTo>
                  <a:lnTo>
                    <a:pt x="292" y="754"/>
                  </a:lnTo>
                  <a:lnTo>
                    <a:pt x="294" y="755"/>
                  </a:lnTo>
                  <a:lnTo>
                    <a:pt x="298" y="757"/>
                  </a:lnTo>
                  <a:lnTo>
                    <a:pt x="299" y="759"/>
                  </a:lnTo>
                  <a:lnTo>
                    <a:pt x="301" y="762"/>
                  </a:lnTo>
                  <a:lnTo>
                    <a:pt x="301" y="765"/>
                  </a:lnTo>
                  <a:lnTo>
                    <a:pt x="302" y="768"/>
                  </a:lnTo>
                  <a:lnTo>
                    <a:pt x="301" y="771"/>
                  </a:lnTo>
                  <a:lnTo>
                    <a:pt x="301" y="773"/>
                  </a:lnTo>
                  <a:lnTo>
                    <a:pt x="299" y="777"/>
                  </a:lnTo>
                  <a:lnTo>
                    <a:pt x="298" y="779"/>
                  </a:lnTo>
                  <a:lnTo>
                    <a:pt x="294" y="780"/>
                  </a:lnTo>
                  <a:lnTo>
                    <a:pt x="292" y="782"/>
                  </a:lnTo>
                  <a:lnTo>
                    <a:pt x="289" y="783"/>
                  </a:lnTo>
                  <a:lnTo>
                    <a:pt x="287" y="783"/>
                  </a:lnTo>
                  <a:close/>
                  <a:moveTo>
                    <a:pt x="166" y="422"/>
                  </a:moveTo>
                  <a:lnTo>
                    <a:pt x="106" y="422"/>
                  </a:lnTo>
                  <a:lnTo>
                    <a:pt x="102" y="422"/>
                  </a:lnTo>
                  <a:lnTo>
                    <a:pt x="100" y="420"/>
                  </a:lnTo>
                  <a:lnTo>
                    <a:pt x="97" y="419"/>
                  </a:lnTo>
                  <a:lnTo>
                    <a:pt x="95" y="417"/>
                  </a:lnTo>
                  <a:lnTo>
                    <a:pt x="94" y="415"/>
                  </a:lnTo>
                  <a:lnTo>
                    <a:pt x="92" y="412"/>
                  </a:lnTo>
                  <a:lnTo>
                    <a:pt x="91" y="410"/>
                  </a:lnTo>
                  <a:lnTo>
                    <a:pt x="91" y="407"/>
                  </a:lnTo>
                  <a:lnTo>
                    <a:pt x="91" y="403"/>
                  </a:lnTo>
                  <a:lnTo>
                    <a:pt x="92" y="401"/>
                  </a:lnTo>
                  <a:lnTo>
                    <a:pt x="94" y="398"/>
                  </a:lnTo>
                  <a:lnTo>
                    <a:pt x="95" y="396"/>
                  </a:lnTo>
                  <a:lnTo>
                    <a:pt x="97" y="394"/>
                  </a:lnTo>
                  <a:lnTo>
                    <a:pt x="100" y="393"/>
                  </a:lnTo>
                  <a:lnTo>
                    <a:pt x="102" y="392"/>
                  </a:lnTo>
                  <a:lnTo>
                    <a:pt x="106" y="392"/>
                  </a:lnTo>
                  <a:lnTo>
                    <a:pt x="166" y="392"/>
                  </a:lnTo>
                  <a:lnTo>
                    <a:pt x="169" y="392"/>
                  </a:lnTo>
                  <a:lnTo>
                    <a:pt x="172" y="393"/>
                  </a:lnTo>
                  <a:lnTo>
                    <a:pt x="174" y="394"/>
                  </a:lnTo>
                  <a:lnTo>
                    <a:pt x="176" y="396"/>
                  </a:lnTo>
                  <a:lnTo>
                    <a:pt x="179" y="398"/>
                  </a:lnTo>
                  <a:lnTo>
                    <a:pt x="180" y="401"/>
                  </a:lnTo>
                  <a:lnTo>
                    <a:pt x="181" y="403"/>
                  </a:lnTo>
                  <a:lnTo>
                    <a:pt x="181" y="407"/>
                  </a:lnTo>
                  <a:lnTo>
                    <a:pt x="181" y="410"/>
                  </a:lnTo>
                  <a:lnTo>
                    <a:pt x="180" y="412"/>
                  </a:lnTo>
                  <a:lnTo>
                    <a:pt x="179" y="415"/>
                  </a:lnTo>
                  <a:lnTo>
                    <a:pt x="176" y="417"/>
                  </a:lnTo>
                  <a:lnTo>
                    <a:pt x="174" y="419"/>
                  </a:lnTo>
                  <a:lnTo>
                    <a:pt x="172" y="420"/>
                  </a:lnTo>
                  <a:lnTo>
                    <a:pt x="169" y="422"/>
                  </a:lnTo>
                  <a:lnTo>
                    <a:pt x="166" y="422"/>
                  </a:lnTo>
                  <a:lnTo>
                    <a:pt x="166" y="422"/>
                  </a:lnTo>
                  <a:close/>
                  <a:moveTo>
                    <a:pt x="166" y="542"/>
                  </a:moveTo>
                  <a:lnTo>
                    <a:pt x="106" y="542"/>
                  </a:lnTo>
                  <a:lnTo>
                    <a:pt x="102" y="542"/>
                  </a:lnTo>
                  <a:lnTo>
                    <a:pt x="100" y="541"/>
                  </a:lnTo>
                  <a:lnTo>
                    <a:pt x="97" y="540"/>
                  </a:lnTo>
                  <a:lnTo>
                    <a:pt x="95" y="537"/>
                  </a:lnTo>
                  <a:lnTo>
                    <a:pt x="94" y="535"/>
                  </a:lnTo>
                  <a:lnTo>
                    <a:pt x="92" y="533"/>
                  </a:lnTo>
                  <a:lnTo>
                    <a:pt x="91" y="530"/>
                  </a:lnTo>
                  <a:lnTo>
                    <a:pt x="91" y="527"/>
                  </a:lnTo>
                  <a:lnTo>
                    <a:pt x="91" y="523"/>
                  </a:lnTo>
                  <a:lnTo>
                    <a:pt x="92" y="521"/>
                  </a:lnTo>
                  <a:lnTo>
                    <a:pt x="94" y="518"/>
                  </a:lnTo>
                  <a:lnTo>
                    <a:pt x="95" y="516"/>
                  </a:lnTo>
                  <a:lnTo>
                    <a:pt x="97" y="515"/>
                  </a:lnTo>
                  <a:lnTo>
                    <a:pt x="100" y="513"/>
                  </a:lnTo>
                  <a:lnTo>
                    <a:pt x="102" y="513"/>
                  </a:lnTo>
                  <a:lnTo>
                    <a:pt x="106" y="512"/>
                  </a:lnTo>
                  <a:lnTo>
                    <a:pt x="166" y="512"/>
                  </a:lnTo>
                  <a:lnTo>
                    <a:pt x="169" y="513"/>
                  </a:lnTo>
                  <a:lnTo>
                    <a:pt x="172" y="513"/>
                  </a:lnTo>
                  <a:lnTo>
                    <a:pt x="174" y="515"/>
                  </a:lnTo>
                  <a:lnTo>
                    <a:pt x="176" y="516"/>
                  </a:lnTo>
                  <a:lnTo>
                    <a:pt x="179" y="518"/>
                  </a:lnTo>
                  <a:lnTo>
                    <a:pt x="180" y="521"/>
                  </a:lnTo>
                  <a:lnTo>
                    <a:pt x="181" y="523"/>
                  </a:lnTo>
                  <a:lnTo>
                    <a:pt x="181" y="527"/>
                  </a:lnTo>
                  <a:lnTo>
                    <a:pt x="181" y="530"/>
                  </a:lnTo>
                  <a:lnTo>
                    <a:pt x="180" y="533"/>
                  </a:lnTo>
                  <a:lnTo>
                    <a:pt x="179" y="535"/>
                  </a:lnTo>
                  <a:lnTo>
                    <a:pt x="176" y="537"/>
                  </a:lnTo>
                  <a:lnTo>
                    <a:pt x="174" y="540"/>
                  </a:lnTo>
                  <a:lnTo>
                    <a:pt x="172" y="541"/>
                  </a:lnTo>
                  <a:lnTo>
                    <a:pt x="169" y="542"/>
                  </a:lnTo>
                  <a:lnTo>
                    <a:pt x="166" y="542"/>
                  </a:lnTo>
                  <a:lnTo>
                    <a:pt x="166" y="542"/>
                  </a:lnTo>
                  <a:close/>
                  <a:moveTo>
                    <a:pt x="166" y="663"/>
                  </a:moveTo>
                  <a:lnTo>
                    <a:pt x="106" y="663"/>
                  </a:lnTo>
                  <a:lnTo>
                    <a:pt x="102" y="662"/>
                  </a:lnTo>
                  <a:lnTo>
                    <a:pt x="100" y="661"/>
                  </a:lnTo>
                  <a:lnTo>
                    <a:pt x="97" y="660"/>
                  </a:lnTo>
                  <a:lnTo>
                    <a:pt x="95" y="658"/>
                  </a:lnTo>
                  <a:lnTo>
                    <a:pt x="94" y="655"/>
                  </a:lnTo>
                  <a:lnTo>
                    <a:pt x="92" y="653"/>
                  </a:lnTo>
                  <a:lnTo>
                    <a:pt x="91" y="650"/>
                  </a:lnTo>
                  <a:lnTo>
                    <a:pt x="91" y="648"/>
                  </a:lnTo>
                  <a:lnTo>
                    <a:pt x="91" y="645"/>
                  </a:lnTo>
                  <a:lnTo>
                    <a:pt x="92" y="641"/>
                  </a:lnTo>
                  <a:lnTo>
                    <a:pt x="94" y="639"/>
                  </a:lnTo>
                  <a:lnTo>
                    <a:pt x="95" y="637"/>
                  </a:lnTo>
                  <a:lnTo>
                    <a:pt x="97" y="635"/>
                  </a:lnTo>
                  <a:lnTo>
                    <a:pt x="100" y="634"/>
                  </a:lnTo>
                  <a:lnTo>
                    <a:pt x="102" y="633"/>
                  </a:lnTo>
                  <a:lnTo>
                    <a:pt x="106" y="633"/>
                  </a:lnTo>
                  <a:lnTo>
                    <a:pt x="166" y="633"/>
                  </a:lnTo>
                  <a:lnTo>
                    <a:pt x="169" y="633"/>
                  </a:lnTo>
                  <a:lnTo>
                    <a:pt x="172" y="634"/>
                  </a:lnTo>
                  <a:lnTo>
                    <a:pt x="174" y="635"/>
                  </a:lnTo>
                  <a:lnTo>
                    <a:pt x="176" y="637"/>
                  </a:lnTo>
                  <a:lnTo>
                    <a:pt x="179" y="639"/>
                  </a:lnTo>
                  <a:lnTo>
                    <a:pt x="180" y="641"/>
                  </a:lnTo>
                  <a:lnTo>
                    <a:pt x="181" y="645"/>
                  </a:lnTo>
                  <a:lnTo>
                    <a:pt x="181" y="648"/>
                  </a:lnTo>
                  <a:lnTo>
                    <a:pt x="181" y="650"/>
                  </a:lnTo>
                  <a:lnTo>
                    <a:pt x="180" y="653"/>
                  </a:lnTo>
                  <a:lnTo>
                    <a:pt x="179" y="655"/>
                  </a:lnTo>
                  <a:lnTo>
                    <a:pt x="176" y="658"/>
                  </a:lnTo>
                  <a:lnTo>
                    <a:pt x="174" y="660"/>
                  </a:lnTo>
                  <a:lnTo>
                    <a:pt x="172" y="662"/>
                  </a:lnTo>
                  <a:lnTo>
                    <a:pt x="169" y="662"/>
                  </a:lnTo>
                  <a:lnTo>
                    <a:pt x="166" y="663"/>
                  </a:lnTo>
                  <a:lnTo>
                    <a:pt x="166" y="663"/>
                  </a:lnTo>
                  <a:close/>
                  <a:moveTo>
                    <a:pt x="166" y="783"/>
                  </a:moveTo>
                  <a:lnTo>
                    <a:pt x="106" y="783"/>
                  </a:lnTo>
                  <a:lnTo>
                    <a:pt x="102" y="783"/>
                  </a:lnTo>
                  <a:lnTo>
                    <a:pt x="100" y="782"/>
                  </a:lnTo>
                  <a:lnTo>
                    <a:pt x="97" y="780"/>
                  </a:lnTo>
                  <a:lnTo>
                    <a:pt x="95" y="779"/>
                  </a:lnTo>
                  <a:lnTo>
                    <a:pt x="94" y="777"/>
                  </a:lnTo>
                  <a:lnTo>
                    <a:pt x="92" y="773"/>
                  </a:lnTo>
                  <a:lnTo>
                    <a:pt x="91" y="771"/>
                  </a:lnTo>
                  <a:lnTo>
                    <a:pt x="91" y="768"/>
                  </a:lnTo>
                  <a:lnTo>
                    <a:pt x="91" y="765"/>
                  </a:lnTo>
                  <a:lnTo>
                    <a:pt x="92" y="762"/>
                  </a:lnTo>
                  <a:lnTo>
                    <a:pt x="94" y="759"/>
                  </a:lnTo>
                  <a:lnTo>
                    <a:pt x="95" y="757"/>
                  </a:lnTo>
                  <a:lnTo>
                    <a:pt x="97" y="755"/>
                  </a:lnTo>
                  <a:lnTo>
                    <a:pt x="100" y="754"/>
                  </a:lnTo>
                  <a:lnTo>
                    <a:pt x="102" y="753"/>
                  </a:lnTo>
                  <a:lnTo>
                    <a:pt x="106" y="753"/>
                  </a:lnTo>
                  <a:lnTo>
                    <a:pt x="166" y="753"/>
                  </a:lnTo>
                  <a:lnTo>
                    <a:pt x="169" y="753"/>
                  </a:lnTo>
                  <a:lnTo>
                    <a:pt x="172" y="754"/>
                  </a:lnTo>
                  <a:lnTo>
                    <a:pt x="174" y="755"/>
                  </a:lnTo>
                  <a:lnTo>
                    <a:pt x="176" y="757"/>
                  </a:lnTo>
                  <a:lnTo>
                    <a:pt x="179" y="759"/>
                  </a:lnTo>
                  <a:lnTo>
                    <a:pt x="180" y="762"/>
                  </a:lnTo>
                  <a:lnTo>
                    <a:pt x="181" y="765"/>
                  </a:lnTo>
                  <a:lnTo>
                    <a:pt x="181" y="768"/>
                  </a:lnTo>
                  <a:lnTo>
                    <a:pt x="181" y="771"/>
                  </a:lnTo>
                  <a:lnTo>
                    <a:pt x="180" y="773"/>
                  </a:lnTo>
                  <a:lnTo>
                    <a:pt x="179" y="777"/>
                  </a:lnTo>
                  <a:lnTo>
                    <a:pt x="176" y="779"/>
                  </a:lnTo>
                  <a:lnTo>
                    <a:pt x="174" y="780"/>
                  </a:lnTo>
                  <a:lnTo>
                    <a:pt x="172" y="782"/>
                  </a:lnTo>
                  <a:lnTo>
                    <a:pt x="169" y="783"/>
                  </a:lnTo>
                  <a:lnTo>
                    <a:pt x="166" y="783"/>
                  </a:lnTo>
                  <a:close/>
                  <a:moveTo>
                    <a:pt x="587" y="0"/>
                  </a:moveTo>
                  <a:lnTo>
                    <a:pt x="46" y="0"/>
                  </a:lnTo>
                  <a:lnTo>
                    <a:pt x="37" y="1"/>
                  </a:lnTo>
                  <a:lnTo>
                    <a:pt x="28" y="3"/>
                  </a:lnTo>
                  <a:lnTo>
                    <a:pt x="21" y="8"/>
                  </a:lnTo>
                  <a:lnTo>
                    <a:pt x="13" y="13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2" y="36"/>
                  </a:lnTo>
                  <a:lnTo>
                    <a:pt x="0" y="45"/>
                  </a:lnTo>
                  <a:lnTo>
                    <a:pt x="0" y="858"/>
                  </a:lnTo>
                  <a:lnTo>
                    <a:pt x="2" y="868"/>
                  </a:lnTo>
                  <a:lnTo>
                    <a:pt x="4" y="875"/>
                  </a:lnTo>
                  <a:lnTo>
                    <a:pt x="8" y="884"/>
                  </a:lnTo>
                  <a:lnTo>
                    <a:pt x="13" y="890"/>
                  </a:lnTo>
                  <a:lnTo>
                    <a:pt x="21" y="896"/>
                  </a:lnTo>
                  <a:lnTo>
                    <a:pt x="28" y="900"/>
                  </a:lnTo>
                  <a:lnTo>
                    <a:pt x="37" y="902"/>
                  </a:lnTo>
                  <a:lnTo>
                    <a:pt x="46" y="903"/>
                  </a:lnTo>
                  <a:lnTo>
                    <a:pt x="587" y="903"/>
                  </a:lnTo>
                  <a:lnTo>
                    <a:pt x="597" y="902"/>
                  </a:lnTo>
                  <a:lnTo>
                    <a:pt x="605" y="900"/>
                  </a:lnTo>
                  <a:lnTo>
                    <a:pt x="613" y="896"/>
                  </a:lnTo>
                  <a:lnTo>
                    <a:pt x="619" y="890"/>
                  </a:lnTo>
                  <a:lnTo>
                    <a:pt x="625" y="884"/>
                  </a:lnTo>
                  <a:lnTo>
                    <a:pt x="629" y="875"/>
                  </a:lnTo>
                  <a:lnTo>
                    <a:pt x="632" y="868"/>
                  </a:lnTo>
                  <a:lnTo>
                    <a:pt x="632" y="858"/>
                  </a:lnTo>
                  <a:lnTo>
                    <a:pt x="632" y="45"/>
                  </a:lnTo>
                  <a:lnTo>
                    <a:pt x="632" y="36"/>
                  </a:lnTo>
                  <a:lnTo>
                    <a:pt x="629" y="28"/>
                  </a:lnTo>
                  <a:lnTo>
                    <a:pt x="625" y="20"/>
                  </a:lnTo>
                  <a:lnTo>
                    <a:pt x="619" y="13"/>
                  </a:lnTo>
                  <a:lnTo>
                    <a:pt x="613" y="8"/>
                  </a:lnTo>
                  <a:lnTo>
                    <a:pt x="605" y="3"/>
                  </a:lnTo>
                  <a:lnTo>
                    <a:pt x="597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20">
              <a:extLst>
                <a:ext uri="{FF2B5EF4-FFF2-40B4-BE49-F238E27FC236}">
                  <a16:creationId xmlns:a16="http://schemas.microsoft.com/office/drawing/2014/main" id="{1DC58E44-053C-4367-8049-EE5A4B0C6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6150" y="819150"/>
              <a:ext cx="9525" cy="28575"/>
            </a:xfrm>
            <a:custGeom>
              <a:avLst/>
              <a:gdLst>
                <a:gd name="T0" fmla="*/ 15 w 30"/>
                <a:gd name="T1" fmla="*/ 0 h 91"/>
                <a:gd name="T2" fmla="*/ 12 w 30"/>
                <a:gd name="T3" fmla="*/ 1 h 91"/>
                <a:gd name="T4" fmla="*/ 10 w 30"/>
                <a:gd name="T5" fmla="*/ 1 h 91"/>
                <a:gd name="T6" fmla="*/ 6 w 30"/>
                <a:gd name="T7" fmla="*/ 3 h 91"/>
                <a:gd name="T8" fmla="*/ 4 w 30"/>
                <a:gd name="T9" fmla="*/ 4 h 91"/>
                <a:gd name="T10" fmla="*/ 2 w 30"/>
                <a:gd name="T11" fmla="*/ 8 h 91"/>
                <a:gd name="T12" fmla="*/ 1 w 30"/>
                <a:gd name="T13" fmla="*/ 10 h 91"/>
                <a:gd name="T14" fmla="*/ 0 w 30"/>
                <a:gd name="T15" fmla="*/ 13 h 91"/>
                <a:gd name="T16" fmla="*/ 0 w 30"/>
                <a:gd name="T17" fmla="*/ 15 h 91"/>
                <a:gd name="T18" fmla="*/ 0 w 30"/>
                <a:gd name="T19" fmla="*/ 76 h 91"/>
                <a:gd name="T20" fmla="*/ 0 w 30"/>
                <a:gd name="T21" fmla="*/ 78 h 91"/>
                <a:gd name="T22" fmla="*/ 1 w 30"/>
                <a:gd name="T23" fmla="*/ 82 h 91"/>
                <a:gd name="T24" fmla="*/ 2 w 30"/>
                <a:gd name="T25" fmla="*/ 84 h 91"/>
                <a:gd name="T26" fmla="*/ 4 w 30"/>
                <a:gd name="T27" fmla="*/ 86 h 91"/>
                <a:gd name="T28" fmla="*/ 6 w 30"/>
                <a:gd name="T29" fmla="*/ 88 h 91"/>
                <a:gd name="T30" fmla="*/ 10 w 30"/>
                <a:gd name="T31" fmla="*/ 90 h 91"/>
                <a:gd name="T32" fmla="*/ 12 w 30"/>
                <a:gd name="T33" fmla="*/ 90 h 91"/>
                <a:gd name="T34" fmla="*/ 15 w 30"/>
                <a:gd name="T35" fmla="*/ 91 h 91"/>
                <a:gd name="T36" fmla="*/ 18 w 30"/>
                <a:gd name="T37" fmla="*/ 90 h 91"/>
                <a:gd name="T38" fmla="*/ 21 w 30"/>
                <a:gd name="T39" fmla="*/ 90 h 91"/>
                <a:gd name="T40" fmla="*/ 24 w 30"/>
                <a:gd name="T41" fmla="*/ 88 h 91"/>
                <a:gd name="T42" fmla="*/ 26 w 30"/>
                <a:gd name="T43" fmla="*/ 87 h 91"/>
                <a:gd name="T44" fmla="*/ 28 w 30"/>
                <a:gd name="T45" fmla="*/ 84 h 91"/>
                <a:gd name="T46" fmla="*/ 29 w 30"/>
                <a:gd name="T47" fmla="*/ 82 h 91"/>
                <a:gd name="T48" fmla="*/ 30 w 30"/>
                <a:gd name="T49" fmla="*/ 78 h 91"/>
                <a:gd name="T50" fmla="*/ 30 w 30"/>
                <a:gd name="T51" fmla="*/ 76 h 91"/>
                <a:gd name="T52" fmla="*/ 30 w 30"/>
                <a:gd name="T53" fmla="*/ 15 h 91"/>
                <a:gd name="T54" fmla="*/ 30 w 30"/>
                <a:gd name="T55" fmla="*/ 13 h 91"/>
                <a:gd name="T56" fmla="*/ 29 w 30"/>
                <a:gd name="T57" fmla="*/ 10 h 91"/>
                <a:gd name="T58" fmla="*/ 28 w 30"/>
                <a:gd name="T59" fmla="*/ 8 h 91"/>
                <a:gd name="T60" fmla="*/ 26 w 30"/>
                <a:gd name="T61" fmla="*/ 6 h 91"/>
                <a:gd name="T62" fmla="*/ 24 w 30"/>
                <a:gd name="T63" fmla="*/ 3 h 91"/>
                <a:gd name="T64" fmla="*/ 21 w 30"/>
                <a:gd name="T65" fmla="*/ 2 h 91"/>
                <a:gd name="T66" fmla="*/ 18 w 30"/>
                <a:gd name="T67" fmla="*/ 1 h 91"/>
                <a:gd name="T68" fmla="*/ 15 w 30"/>
                <a:gd name="T69" fmla="*/ 0 h 91"/>
                <a:gd name="T70" fmla="*/ 15 w 30"/>
                <a:gd name="T7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" h="91">
                  <a:moveTo>
                    <a:pt x="15" y="0"/>
                  </a:moveTo>
                  <a:lnTo>
                    <a:pt x="12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4" y="86"/>
                  </a:lnTo>
                  <a:lnTo>
                    <a:pt x="6" y="88"/>
                  </a:lnTo>
                  <a:lnTo>
                    <a:pt x="10" y="90"/>
                  </a:lnTo>
                  <a:lnTo>
                    <a:pt x="12" y="90"/>
                  </a:lnTo>
                  <a:lnTo>
                    <a:pt x="15" y="91"/>
                  </a:lnTo>
                  <a:lnTo>
                    <a:pt x="18" y="90"/>
                  </a:lnTo>
                  <a:lnTo>
                    <a:pt x="21" y="90"/>
                  </a:lnTo>
                  <a:lnTo>
                    <a:pt x="24" y="88"/>
                  </a:lnTo>
                  <a:lnTo>
                    <a:pt x="26" y="87"/>
                  </a:lnTo>
                  <a:lnTo>
                    <a:pt x="28" y="84"/>
                  </a:lnTo>
                  <a:lnTo>
                    <a:pt x="29" y="82"/>
                  </a:lnTo>
                  <a:lnTo>
                    <a:pt x="30" y="78"/>
                  </a:lnTo>
                  <a:lnTo>
                    <a:pt x="30" y="76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29" y="10"/>
                  </a:lnTo>
                  <a:lnTo>
                    <a:pt x="28" y="8"/>
                  </a:lnTo>
                  <a:lnTo>
                    <a:pt x="26" y="6"/>
                  </a:lnTo>
                  <a:lnTo>
                    <a:pt x="24" y="3"/>
                  </a:lnTo>
                  <a:lnTo>
                    <a:pt x="21" y="2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55386B80-4C9F-45FB-9682-0F6EBBFE50F1}"/>
              </a:ext>
            </a:extLst>
          </p:cNvPr>
          <p:cNvGrpSpPr/>
          <p:nvPr/>
        </p:nvGrpSpPr>
        <p:grpSpPr>
          <a:xfrm>
            <a:off x="973415" y="2950296"/>
            <a:ext cx="287338" cy="284163"/>
            <a:chOff x="2598738" y="1919288"/>
            <a:chExt cx="287338" cy="284163"/>
          </a:xfrm>
          <a:solidFill>
            <a:schemeClr val="bg1"/>
          </a:solidFill>
        </p:grpSpPr>
        <p:sp>
          <p:nvSpPr>
            <p:cNvPr id="120" name="Freeform 505">
              <a:extLst>
                <a:ext uri="{FF2B5EF4-FFF2-40B4-BE49-F238E27FC236}">
                  <a16:creationId xmlns:a16="http://schemas.microsoft.com/office/drawing/2014/main" id="{1D0442E8-35A6-4630-930A-A03CD46A39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8738" y="1982788"/>
              <a:ext cx="142875" cy="220663"/>
            </a:xfrm>
            <a:custGeom>
              <a:avLst/>
              <a:gdLst>
                <a:gd name="T0" fmla="*/ 121 w 452"/>
                <a:gd name="T1" fmla="*/ 172 h 695"/>
                <a:gd name="T2" fmla="*/ 122 w 452"/>
                <a:gd name="T3" fmla="*/ 169 h 695"/>
                <a:gd name="T4" fmla="*/ 123 w 452"/>
                <a:gd name="T5" fmla="*/ 166 h 695"/>
                <a:gd name="T6" fmla="*/ 125 w 452"/>
                <a:gd name="T7" fmla="*/ 163 h 695"/>
                <a:gd name="T8" fmla="*/ 127 w 452"/>
                <a:gd name="T9" fmla="*/ 160 h 695"/>
                <a:gd name="T10" fmla="*/ 131 w 452"/>
                <a:gd name="T11" fmla="*/ 158 h 695"/>
                <a:gd name="T12" fmla="*/ 134 w 452"/>
                <a:gd name="T13" fmla="*/ 157 h 695"/>
                <a:gd name="T14" fmla="*/ 138 w 452"/>
                <a:gd name="T15" fmla="*/ 158 h 695"/>
                <a:gd name="T16" fmla="*/ 142 w 452"/>
                <a:gd name="T17" fmla="*/ 159 h 695"/>
                <a:gd name="T18" fmla="*/ 352 w 452"/>
                <a:gd name="T19" fmla="*/ 250 h 695"/>
                <a:gd name="T20" fmla="*/ 357 w 452"/>
                <a:gd name="T21" fmla="*/ 252 h 695"/>
                <a:gd name="T22" fmla="*/ 359 w 452"/>
                <a:gd name="T23" fmla="*/ 255 h 695"/>
                <a:gd name="T24" fmla="*/ 361 w 452"/>
                <a:gd name="T25" fmla="*/ 259 h 695"/>
                <a:gd name="T26" fmla="*/ 362 w 452"/>
                <a:gd name="T27" fmla="*/ 263 h 695"/>
                <a:gd name="T28" fmla="*/ 362 w 452"/>
                <a:gd name="T29" fmla="*/ 459 h 695"/>
                <a:gd name="T30" fmla="*/ 361 w 452"/>
                <a:gd name="T31" fmla="*/ 463 h 695"/>
                <a:gd name="T32" fmla="*/ 360 w 452"/>
                <a:gd name="T33" fmla="*/ 466 h 695"/>
                <a:gd name="T34" fmla="*/ 358 w 452"/>
                <a:gd name="T35" fmla="*/ 469 h 695"/>
                <a:gd name="T36" fmla="*/ 354 w 452"/>
                <a:gd name="T37" fmla="*/ 472 h 695"/>
                <a:gd name="T38" fmla="*/ 351 w 452"/>
                <a:gd name="T39" fmla="*/ 474 h 695"/>
                <a:gd name="T40" fmla="*/ 347 w 452"/>
                <a:gd name="T41" fmla="*/ 474 h 695"/>
                <a:gd name="T42" fmla="*/ 344 w 452"/>
                <a:gd name="T43" fmla="*/ 474 h 695"/>
                <a:gd name="T44" fmla="*/ 340 w 452"/>
                <a:gd name="T45" fmla="*/ 473 h 695"/>
                <a:gd name="T46" fmla="*/ 130 w 452"/>
                <a:gd name="T47" fmla="*/ 383 h 695"/>
                <a:gd name="T48" fmla="*/ 126 w 452"/>
                <a:gd name="T49" fmla="*/ 380 h 695"/>
                <a:gd name="T50" fmla="*/ 123 w 452"/>
                <a:gd name="T51" fmla="*/ 377 h 695"/>
                <a:gd name="T52" fmla="*/ 122 w 452"/>
                <a:gd name="T53" fmla="*/ 373 h 695"/>
                <a:gd name="T54" fmla="*/ 121 w 452"/>
                <a:gd name="T55" fmla="*/ 369 h 695"/>
                <a:gd name="T56" fmla="*/ 121 w 452"/>
                <a:gd name="T57" fmla="*/ 172 h 695"/>
                <a:gd name="T58" fmla="*/ 0 w 452"/>
                <a:gd name="T59" fmla="*/ 474 h 695"/>
                <a:gd name="T60" fmla="*/ 0 w 452"/>
                <a:gd name="T61" fmla="*/ 478 h 695"/>
                <a:gd name="T62" fmla="*/ 3 w 452"/>
                <a:gd name="T63" fmla="*/ 482 h 695"/>
                <a:gd name="T64" fmla="*/ 6 w 452"/>
                <a:gd name="T65" fmla="*/ 485 h 695"/>
                <a:gd name="T66" fmla="*/ 9 w 452"/>
                <a:gd name="T67" fmla="*/ 488 h 695"/>
                <a:gd name="T68" fmla="*/ 452 w 452"/>
                <a:gd name="T69" fmla="*/ 695 h 695"/>
                <a:gd name="T70" fmla="*/ 452 w 452"/>
                <a:gd name="T71" fmla="*/ 685 h 695"/>
                <a:gd name="T72" fmla="*/ 452 w 452"/>
                <a:gd name="T73" fmla="*/ 661 h 695"/>
                <a:gd name="T74" fmla="*/ 452 w 452"/>
                <a:gd name="T75" fmla="*/ 198 h 695"/>
                <a:gd name="T76" fmla="*/ 452 w 452"/>
                <a:gd name="T77" fmla="*/ 198 h 695"/>
                <a:gd name="T78" fmla="*/ 0 w 452"/>
                <a:gd name="T79" fmla="*/ 0 h 695"/>
                <a:gd name="T80" fmla="*/ 0 w 452"/>
                <a:gd name="T81" fmla="*/ 474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2" h="695">
                  <a:moveTo>
                    <a:pt x="121" y="172"/>
                  </a:moveTo>
                  <a:lnTo>
                    <a:pt x="122" y="169"/>
                  </a:lnTo>
                  <a:lnTo>
                    <a:pt x="123" y="166"/>
                  </a:lnTo>
                  <a:lnTo>
                    <a:pt x="125" y="163"/>
                  </a:lnTo>
                  <a:lnTo>
                    <a:pt x="127" y="160"/>
                  </a:lnTo>
                  <a:lnTo>
                    <a:pt x="131" y="158"/>
                  </a:lnTo>
                  <a:lnTo>
                    <a:pt x="134" y="157"/>
                  </a:lnTo>
                  <a:lnTo>
                    <a:pt x="138" y="158"/>
                  </a:lnTo>
                  <a:lnTo>
                    <a:pt x="142" y="159"/>
                  </a:lnTo>
                  <a:lnTo>
                    <a:pt x="352" y="250"/>
                  </a:lnTo>
                  <a:lnTo>
                    <a:pt x="357" y="252"/>
                  </a:lnTo>
                  <a:lnTo>
                    <a:pt x="359" y="255"/>
                  </a:lnTo>
                  <a:lnTo>
                    <a:pt x="361" y="259"/>
                  </a:lnTo>
                  <a:lnTo>
                    <a:pt x="362" y="263"/>
                  </a:lnTo>
                  <a:lnTo>
                    <a:pt x="362" y="459"/>
                  </a:lnTo>
                  <a:lnTo>
                    <a:pt x="361" y="463"/>
                  </a:lnTo>
                  <a:lnTo>
                    <a:pt x="360" y="466"/>
                  </a:lnTo>
                  <a:lnTo>
                    <a:pt x="358" y="469"/>
                  </a:lnTo>
                  <a:lnTo>
                    <a:pt x="354" y="472"/>
                  </a:lnTo>
                  <a:lnTo>
                    <a:pt x="351" y="474"/>
                  </a:lnTo>
                  <a:lnTo>
                    <a:pt x="347" y="474"/>
                  </a:lnTo>
                  <a:lnTo>
                    <a:pt x="344" y="474"/>
                  </a:lnTo>
                  <a:lnTo>
                    <a:pt x="340" y="473"/>
                  </a:lnTo>
                  <a:lnTo>
                    <a:pt x="130" y="383"/>
                  </a:lnTo>
                  <a:lnTo>
                    <a:pt x="126" y="380"/>
                  </a:lnTo>
                  <a:lnTo>
                    <a:pt x="123" y="377"/>
                  </a:lnTo>
                  <a:lnTo>
                    <a:pt x="122" y="373"/>
                  </a:lnTo>
                  <a:lnTo>
                    <a:pt x="121" y="369"/>
                  </a:lnTo>
                  <a:lnTo>
                    <a:pt x="121" y="172"/>
                  </a:lnTo>
                  <a:close/>
                  <a:moveTo>
                    <a:pt x="0" y="474"/>
                  </a:moveTo>
                  <a:lnTo>
                    <a:pt x="0" y="478"/>
                  </a:lnTo>
                  <a:lnTo>
                    <a:pt x="3" y="482"/>
                  </a:lnTo>
                  <a:lnTo>
                    <a:pt x="6" y="485"/>
                  </a:lnTo>
                  <a:lnTo>
                    <a:pt x="9" y="488"/>
                  </a:lnTo>
                  <a:lnTo>
                    <a:pt x="452" y="695"/>
                  </a:lnTo>
                  <a:lnTo>
                    <a:pt x="452" y="685"/>
                  </a:lnTo>
                  <a:lnTo>
                    <a:pt x="452" y="661"/>
                  </a:lnTo>
                  <a:lnTo>
                    <a:pt x="452" y="198"/>
                  </a:lnTo>
                  <a:lnTo>
                    <a:pt x="452" y="198"/>
                  </a:lnTo>
                  <a:lnTo>
                    <a:pt x="0" y="0"/>
                  </a:lnTo>
                  <a:lnTo>
                    <a:pt x="0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506">
              <a:extLst>
                <a:ext uri="{FF2B5EF4-FFF2-40B4-BE49-F238E27FC236}">
                  <a16:creationId xmlns:a16="http://schemas.microsoft.com/office/drawing/2014/main" id="{BD32AA30-994C-49C6-8B2B-3FB6FFE16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088" y="1947863"/>
              <a:ext cx="201613" cy="90488"/>
            </a:xfrm>
            <a:custGeom>
              <a:avLst/>
              <a:gdLst>
                <a:gd name="T0" fmla="*/ 212 w 639"/>
                <a:gd name="T1" fmla="*/ 0 h 281"/>
                <a:gd name="T2" fmla="*/ 0 w 639"/>
                <a:gd name="T3" fmla="*/ 85 h 281"/>
                <a:gd name="T4" fmla="*/ 449 w 639"/>
                <a:gd name="T5" fmla="*/ 281 h 281"/>
                <a:gd name="T6" fmla="*/ 639 w 639"/>
                <a:gd name="T7" fmla="*/ 192 h 281"/>
                <a:gd name="T8" fmla="*/ 212 w 639"/>
                <a:gd name="T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9" h="281">
                  <a:moveTo>
                    <a:pt x="212" y="0"/>
                  </a:moveTo>
                  <a:lnTo>
                    <a:pt x="0" y="85"/>
                  </a:lnTo>
                  <a:lnTo>
                    <a:pt x="449" y="281"/>
                  </a:lnTo>
                  <a:lnTo>
                    <a:pt x="639" y="19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507">
              <a:extLst>
                <a:ext uri="{FF2B5EF4-FFF2-40B4-BE49-F238E27FC236}">
                  <a16:creationId xmlns:a16="http://schemas.microsoft.com/office/drawing/2014/main" id="{D996AB0F-9B37-40B4-9831-A7C9B3323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138" y="1984375"/>
              <a:ext cx="134938" cy="219075"/>
            </a:xfrm>
            <a:custGeom>
              <a:avLst/>
              <a:gdLst>
                <a:gd name="T0" fmla="*/ 0 w 421"/>
                <a:gd name="T1" fmla="*/ 196 h 693"/>
                <a:gd name="T2" fmla="*/ 0 w 421"/>
                <a:gd name="T3" fmla="*/ 659 h 693"/>
                <a:gd name="T4" fmla="*/ 0 w 421"/>
                <a:gd name="T5" fmla="*/ 684 h 693"/>
                <a:gd name="T6" fmla="*/ 0 w 421"/>
                <a:gd name="T7" fmla="*/ 693 h 693"/>
                <a:gd name="T8" fmla="*/ 413 w 421"/>
                <a:gd name="T9" fmla="*/ 487 h 693"/>
                <a:gd name="T10" fmla="*/ 416 w 421"/>
                <a:gd name="T11" fmla="*/ 483 h 693"/>
                <a:gd name="T12" fmla="*/ 419 w 421"/>
                <a:gd name="T13" fmla="*/ 481 h 693"/>
                <a:gd name="T14" fmla="*/ 420 w 421"/>
                <a:gd name="T15" fmla="*/ 477 h 693"/>
                <a:gd name="T16" fmla="*/ 421 w 421"/>
                <a:gd name="T17" fmla="*/ 473 h 693"/>
                <a:gd name="T18" fmla="*/ 421 w 421"/>
                <a:gd name="T19" fmla="*/ 0 h 693"/>
                <a:gd name="T20" fmla="*/ 0 w 421"/>
                <a:gd name="T21" fmla="*/ 196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1" h="693">
                  <a:moveTo>
                    <a:pt x="0" y="196"/>
                  </a:moveTo>
                  <a:lnTo>
                    <a:pt x="0" y="659"/>
                  </a:lnTo>
                  <a:lnTo>
                    <a:pt x="0" y="684"/>
                  </a:lnTo>
                  <a:lnTo>
                    <a:pt x="0" y="693"/>
                  </a:lnTo>
                  <a:lnTo>
                    <a:pt x="413" y="487"/>
                  </a:lnTo>
                  <a:lnTo>
                    <a:pt x="416" y="483"/>
                  </a:lnTo>
                  <a:lnTo>
                    <a:pt x="419" y="481"/>
                  </a:lnTo>
                  <a:lnTo>
                    <a:pt x="420" y="477"/>
                  </a:lnTo>
                  <a:lnTo>
                    <a:pt x="421" y="473"/>
                  </a:lnTo>
                  <a:lnTo>
                    <a:pt x="421" y="0"/>
                  </a:lnTo>
                  <a:lnTo>
                    <a:pt x="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508">
              <a:extLst>
                <a:ext uri="{FF2B5EF4-FFF2-40B4-BE49-F238E27FC236}">
                  <a16:creationId xmlns:a16="http://schemas.microsoft.com/office/drawing/2014/main" id="{4B8AF541-3ED9-485A-ABAB-816C80BFB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1919288"/>
              <a:ext cx="195263" cy="85725"/>
            </a:xfrm>
            <a:custGeom>
              <a:avLst/>
              <a:gdLst>
                <a:gd name="T0" fmla="*/ 618 w 618"/>
                <a:gd name="T1" fmla="*/ 178 h 269"/>
                <a:gd name="T2" fmla="*/ 203 w 618"/>
                <a:gd name="T3" fmla="*/ 1 h 269"/>
                <a:gd name="T4" fmla="*/ 201 w 618"/>
                <a:gd name="T5" fmla="*/ 0 h 269"/>
                <a:gd name="T6" fmla="*/ 198 w 618"/>
                <a:gd name="T7" fmla="*/ 0 h 269"/>
                <a:gd name="T8" fmla="*/ 195 w 618"/>
                <a:gd name="T9" fmla="*/ 0 h 269"/>
                <a:gd name="T10" fmla="*/ 193 w 618"/>
                <a:gd name="T11" fmla="*/ 1 h 269"/>
                <a:gd name="T12" fmla="*/ 0 w 618"/>
                <a:gd name="T13" fmla="*/ 77 h 269"/>
                <a:gd name="T14" fmla="*/ 423 w 618"/>
                <a:gd name="T15" fmla="*/ 269 h 269"/>
                <a:gd name="T16" fmla="*/ 618 w 618"/>
                <a:gd name="T17" fmla="*/ 17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8" h="269">
                  <a:moveTo>
                    <a:pt x="618" y="178"/>
                  </a:moveTo>
                  <a:lnTo>
                    <a:pt x="203" y="1"/>
                  </a:lnTo>
                  <a:lnTo>
                    <a:pt x="201" y="0"/>
                  </a:lnTo>
                  <a:lnTo>
                    <a:pt x="198" y="0"/>
                  </a:lnTo>
                  <a:lnTo>
                    <a:pt x="195" y="0"/>
                  </a:lnTo>
                  <a:lnTo>
                    <a:pt x="193" y="1"/>
                  </a:lnTo>
                  <a:lnTo>
                    <a:pt x="0" y="77"/>
                  </a:lnTo>
                  <a:lnTo>
                    <a:pt x="423" y="269"/>
                  </a:lnTo>
                  <a:lnTo>
                    <a:pt x="618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D1FFECB4-9E18-45FA-A97D-9F3169EC9E35}"/>
              </a:ext>
            </a:extLst>
          </p:cNvPr>
          <p:cNvGrpSpPr/>
          <p:nvPr/>
        </p:nvGrpSpPr>
        <p:grpSpPr>
          <a:xfrm>
            <a:off x="973415" y="4103878"/>
            <a:ext cx="287338" cy="249238"/>
            <a:chOff x="2598738" y="2530475"/>
            <a:chExt cx="287338" cy="249238"/>
          </a:xfrm>
          <a:solidFill>
            <a:schemeClr val="bg1"/>
          </a:solidFill>
        </p:grpSpPr>
        <p:sp>
          <p:nvSpPr>
            <p:cNvPr id="125" name="Freeform 527">
              <a:extLst>
                <a:ext uri="{FF2B5EF4-FFF2-40B4-BE49-F238E27FC236}">
                  <a16:creationId xmlns:a16="http://schemas.microsoft.com/office/drawing/2014/main" id="{6FEFC7BE-E90A-4281-A08C-1C07BF681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2625725"/>
              <a:ext cx="123825" cy="134938"/>
            </a:xfrm>
            <a:custGeom>
              <a:avLst/>
              <a:gdLst>
                <a:gd name="T0" fmla="*/ 187 w 391"/>
                <a:gd name="T1" fmla="*/ 0 h 421"/>
                <a:gd name="T2" fmla="*/ 172 w 391"/>
                <a:gd name="T3" fmla="*/ 19 h 421"/>
                <a:gd name="T4" fmla="*/ 155 w 391"/>
                <a:gd name="T5" fmla="*/ 36 h 421"/>
                <a:gd name="T6" fmla="*/ 135 w 391"/>
                <a:gd name="T7" fmla="*/ 52 h 421"/>
                <a:gd name="T8" fmla="*/ 113 w 391"/>
                <a:gd name="T9" fmla="*/ 65 h 421"/>
                <a:gd name="T10" fmla="*/ 91 w 391"/>
                <a:gd name="T11" fmla="*/ 76 h 421"/>
                <a:gd name="T12" fmla="*/ 67 w 391"/>
                <a:gd name="T13" fmla="*/ 83 h 421"/>
                <a:gd name="T14" fmla="*/ 41 w 391"/>
                <a:gd name="T15" fmla="*/ 89 h 421"/>
                <a:gd name="T16" fmla="*/ 15 w 391"/>
                <a:gd name="T17" fmla="*/ 90 h 421"/>
                <a:gd name="T18" fmla="*/ 0 w 391"/>
                <a:gd name="T19" fmla="*/ 89 h 421"/>
                <a:gd name="T20" fmla="*/ 1 w 391"/>
                <a:gd name="T21" fmla="*/ 410 h 421"/>
                <a:gd name="T22" fmla="*/ 3 w 391"/>
                <a:gd name="T23" fmla="*/ 415 h 421"/>
                <a:gd name="T24" fmla="*/ 6 w 391"/>
                <a:gd name="T25" fmla="*/ 418 h 421"/>
                <a:gd name="T26" fmla="*/ 11 w 391"/>
                <a:gd name="T27" fmla="*/ 421 h 421"/>
                <a:gd name="T28" fmla="*/ 77 w 391"/>
                <a:gd name="T29" fmla="*/ 421 h 421"/>
                <a:gd name="T30" fmla="*/ 75 w 391"/>
                <a:gd name="T31" fmla="*/ 406 h 421"/>
                <a:gd name="T32" fmla="*/ 77 w 391"/>
                <a:gd name="T33" fmla="*/ 385 h 421"/>
                <a:gd name="T34" fmla="*/ 83 w 391"/>
                <a:gd name="T35" fmla="*/ 366 h 421"/>
                <a:gd name="T36" fmla="*/ 93 w 391"/>
                <a:gd name="T37" fmla="*/ 347 h 421"/>
                <a:gd name="T38" fmla="*/ 106 w 391"/>
                <a:gd name="T39" fmla="*/ 331 h 421"/>
                <a:gd name="T40" fmla="*/ 122 w 391"/>
                <a:gd name="T41" fmla="*/ 318 h 421"/>
                <a:gd name="T42" fmla="*/ 139 w 391"/>
                <a:gd name="T43" fmla="*/ 309 h 421"/>
                <a:gd name="T44" fmla="*/ 159 w 391"/>
                <a:gd name="T45" fmla="*/ 303 h 421"/>
                <a:gd name="T46" fmla="*/ 181 w 391"/>
                <a:gd name="T47" fmla="*/ 301 h 421"/>
                <a:gd name="T48" fmla="*/ 201 w 391"/>
                <a:gd name="T49" fmla="*/ 303 h 421"/>
                <a:gd name="T50" fmla="*/ 222 w 391"/>
                <a:gd name="T51" fmla="*/ 309 h 421"/>
                <a:gd name="T52" fmla="*/ 240 w 391"/>
                <a:gd name="T53" fmla="*/ 318 h 421"/>
                <a:gd name="T54" fmla="*/ 255 w 391"/>
                <a:gd name="T55" fmla="*/ 331 h 421"/>
                <a:gd name="T56" fmla="*/ 268 w 391"/>
                <a:gd name="T57" fmla="*/ 347 h 421"/>
                <a:gd name="T58" fmla="*/ 277 w 391"/>
                <a:gd name="T59" fmla="*/ 366 h 421"/>
                <a:gd name="T60" fmla="*/ 284 w 391"/>
                <a:gd name="T61" fmla="*/ 385 h 421"/>
                <a:gd name="T62" fmla="*/ 286 w 391"/>
                <a:gd name="T63" fmla="*/ 406 h 421"/>
                <a:gd name="T64" fmla="*/ 285 w 391"/>
                <a:gd name="T65" fmla="*/ 421 h 421"/>
                <a:gd name="T66" fmla="*/ 379 w 391"/>
                <a:gd name="T67" fmla="*/ 420 h 421"/>
                <a:gd name="T68" fmla="*/ 385 w 391"/>
                <a:gd name="T69" fmla="*/ 418 h 421"/>
                <a:gd name="T70" fmla="*/ 389 w 391"/>
                <a:gd name="T71" fmla="*/ 415 h 421"/>
                <a:gd name="T72" fmla="*/ 391 w 391"/>
                <a:gd name="T73" fmla="*/ 410 h 421"/>
                <a:gd name="T74" fmla="*/ 391 w 391"/>
                <a:gd name="T75" fmla="*/ 15 h 421"/>
                <a:gd name="T76" fmla="*/ 390 w 391"/>
                <a:gd name="T77" fmla="*/ 8 h 421"/>
                <a:gd name="T78" fmla="*/ 387 w 391"/>
                <a:gd name="T79" fmla="*/ 4 h 421"/>
                <a:gd name="T80" fmla="*/ 382 w 391"/>
                <a:gd name="T81" fmla="*/ 1 h 421"/>
                <a:gd name="T82" fmla="*/ 376 w 391"/>
                <a:gd name="T83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91" h="421">
                  <a:moveTo>
                    <a:pt x="376" y="0"/>
                  </a:moveTo>
                  <a:lnTo>
                    <a:pt x="187" y="0"/>
                  </a:lnTo>
                  <a:lnTo>
                    <a:pt x="180" y="9"/>
                  </a:lnTo>
                  <a:lnTo>
                    <a:pt x="172" y="19"/>
                  </a:lnTo>
                  <a:lnTo>
                    <a:pt x="164" y="28"/>
                  </a:lnTo>
                  <a:lnTo>
                    <a:pt x="155" y="36"/>
                  </a:lnTo>
                  <a:lnTo>
                    <a:pt x="145" y="45"/>
                  </a:lnTo>
                  <a:lnTo>
                    <a:pt x="135" y="52"/>
                  </a:lnTo>
                  <a:lnTo>
                    <a:pt x="125" y="59"/>
                  </a:lnTo>
                  <a:lnTo>
                    <a:pt x="113" y="65"/>
                  </a:lnTo>
                  <a:lnTo>
                    <a:pt x="103" y="71"/>
                  </a:lnTo>
                  <a:lnTo>
                    <a:pt x="91" y="76"/>
                  </a:lnTo>
                  <a:lnTo>
                    <a:pt x="79" y="80"/>
                  </a:lnTo>
                  <a:lnTo>
                    <a:pt x="67" y="83"/>
                  </a:lnTo>
                  <a:lnTo>
                    <a:pt x="54" y="87"/>
                  </a:lnTo>
                  <a:lnTo>
                    <a:pt x="41" y="89"/>
                  </a:lnTo>
                  <a:lnTo>
                    <a:pt x="29" y="90"/>
                  </a:lnTo>
                  <a:lnTo>
                    <a:pt x="15" y="90"/>
                  </a:lnTo>
                  <a:lnTo>
                    <a:pt x="7" y="90"/>
                  </a:lnTo>
                  <a:lnTo>
                    <a:pt x="0" y="89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8"/>
                  </a:lnTo>
                  <a:lnTo>
                    <a:pt x="9" y="420"/>
                  </a:lnTo>
                  <a:lnTo>
                    <a:pt x="11" y="421"/>
                  </a:lnTo>
                  <a:lnTo>
                    <a:pt x="15" y="421"/>
                  </a:lnTo>
                  <a:lnTo>
                    <a:pt x="77" y="421"/>
                  </a:lnTo>
                  <a:lnTo>
                    <a:pt x="76" y="414"/>
                  </a:lnTo>
                  <a:lnTo>
                    <a:pt x="75" y="406"/>
                  </a:lnTo>
                  <a:lnTo>
                    <a:pt x="76" y="396"/>
                  </a:lnTo>
                  <a:lnTo>
                    <a:pt x="77" y="385"/>
                  </a:lnTo>
                  <a:lnTo>
                    <a:pt x="80" y="375"/>
                  </a:lnTo>
                  <a:lnTo>
                    <a:pt x="83" y="366"/>
                  </a:lnTo>
                  <a:lnTo>
                    <a:pt x="88" y="356"/>
                  </a:lnTo>
                  <a:lnTo>
                    <a:pt x="93" y="347"/>
                  </a:lnTo>
                  <a:lnTo>
                    <a:pt x="99" y="339"/>
                  </a:lnTo>
                  <a:lnTo>
                    <a:pt x="106" y="331"/>
                  </a:lnTo>
                  <a:lnTo>
                    <a:pt x="113" y="325"/>
                  </a:lnTo>
                  <a:lnTo>
                    <a:pt x="122" y="318"/>
                  </a:lnTo>
                  <a:lnTo>
                    <a:pt x="130" y="313"/>
                  </a:lnTo>
                  <a:lnTo>
                    <a:pt x="139" y="309"/>
                  </a:lnTo>
                  <a:lnTo>
                    <a:pt x="150" y="305"/>
                  </a:lnTo>
                  <a:lnTo>
                    <a:pt x="159" y="303"/>
                  </a:lnTo>
                  <a:lnTo>
                    <a:pt x="170" y="301"/>
                  </a:lnTo>
                  <a:lnTo>
                    <a:pt x="181" y="301"/>
                  </a:lnTo>
                  <a:lnTo>
                    <a:pt x="192" y="301"/>
                  </a:lnTo>
                  <a:lnTo>
                    <a:pt x="201" y="303"/>
                  </a:lnTo>
                  <a:lnTo>
                    <a:pt x="212" y="305"/>
                  </a:lnTo>
                  <a:lnTo>
                    <a:pt x="222" y="309"/>
                  </a:lnTo>
                  <a:lnTo>
                    <a:pt x="230" y="313"/>
                  </a:lnTo>
                  <a:lnTo>
                    <a:pt x="240" y="318"/>
                  </a:lnTo>
                  <a:lnTo>
                    <a:pt x="247" y="325"/>
                  </a:lnTo>
                  <a:lnTo>
                    <a:pt x="255" y="331"/>
                  </a:lnTo>
                  <a:lnTo>
                    <a:pt x="261" y="339"/>
                  </a:lnTo>
                  <a:lnTo>
                    <a:pt x="268" y="347"/>
                  </a:lnTo>
                  <a:lnTo>
                    <a:pt x="273" y="356"/>
                  </a:lnTo>
                  <a:lnTo>
                    <a:pt x="277" y="366"/>
                  </a:lnTo>
                  <a:lnTo>
                    <a:pt x="282" y="375"/>
                  </a:lnTo>
                  <a:lnTo>
                    <a:pt x="284" y="385"/>
                  </a:lnTo>
                  <a:lnTo>
                    <a:pt x="285" y="396"/>
                  </a:lnTo>
                  <a:lnTo>
                    <a:pt x="286" y="406"/>
                  </a:lnTo>
                  <a:lnTo>
                    <a:pt x="286" y="414"/>
                  </a:lnTo>
                  <a:lnTo>
                    <a:pt x="285" y="421"/>
                  </a:lnTo>
                  <a:lnTo>
                    <a:pt x="376" y="421"/>
                  </a:lnTo>
                  <a:lnTo>
                    <a:pt x="379" y="420"/>
                  </a:lnTo>
                  <a:lnTo>
                    <a:pt x="382" y="420"/>
                  </a:lnTo>
                  <a:lnTo>
                    <a:pt x="385" y="418"/>
                  </a:lnTo>
                  <a:lnTo>
                    <a:pt x="387" y="417"/>
                  </a:lnTo>
                  <a:lnTo>
                    <a:pt x="389" y="415"/>
                  </a:lnTo>
                  <a:lnTo>
                    <a:pt x="390" y="412"/>
                  </a:lnTo>
                  <a:lnTo>
                    <a:pt x="391" y="410"/>
                  </a:lnTo>
                  <a:lnTo>
                    <a:pt x="391" y="406"/>
                  </a:lnTo>
                  <a:lnTo>
                    <a:pt x="391" y="15"/>
                  </a:lnTo>
                  <a:lnTo>
                    <a:pt x="391" y="12"/>
                  </a:lnTo>
                  <a:lnTo>
                    <a:pt x="390" y="8"/>
                  </a:lnTo>
                  <a:lnTo>
                    <a:pt x="389" y="6"/>
                  </a:lnTo>
                  <a:lnTo>
                    <a:pt x="387" y="4"/>
                  </a:lnTo>
                  <a:lnTo>
                    <a:pt x="385" y="2"/>
                  </a:lnTo>
                  <a:lnTo>
                    <a:pt x="382" y="1"/>
                  </a:lnTo>
                  <a:lnTo>
                    <a:pt x="379" y="0"/>
                  </a:lnTo>
                  <a:lnTo>
                    <a:pt x="376" y="0"/>
                  </a:lnTo>
                  <a:lnTo>
                    <a:pt x="3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528">
              <a:extLst>
                <a:ext uri="{FF2B5EF4-FFF2-40B4-BE49-F238E27FC236}">
                  <a16:creationId xmlns:a16="http://schemas.microsoft.com/office/drawing/2014/main" id="{0CF66D10-A966-463E-853D-6D701BE06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738" y="2692400"/>
              <a:ext cx="47625" cy="9525"/>
            </a:xfrm>
            <a:custGeom>
              <a:avLst/>
              <a:gdLst>
                <a:gd name="T0" fmla="*/ 136 w 151"/>
                <a:gd name="T1" fmla="*/ 0 h 30"/>
                <a:gd name="T2" fmla="*/ 15 w 151"/>
                <a:gd name="T3" fmla="*/ 0 h 30"/>
                <a:gd name="T4" fmla="*/ 12 w 151"/>
                <a:gd name="T5" fmla="*/ 1 h 30"/>
                <a:gd name="T6" fmla="*/ 9 w 151"/>
                <a:gd name="T7" fmla="*/ 1 h 30"/>
                <a:gd name="T8" fmla="*/ 7 w 151"/>
                <a:gd name="T9" fmla="*/ 3 h 30"/>
                <a:gd name="T10" fmla="*/ 5 w 151"/>
                <a:gd name="T11" fmla="*/ 4 h 30"/>
                <a:gd name="T12" fmla="*/ 3 w 151"/>
                <a:gd name="T13" fmla="*/ 6 h 30"/>
                <a:gd name="T14" fmla="*/ 2 w 151"/>
                <a:gd name="T15" fmla="*/ 10 h 30"/>
                <a:gd name="T16" fmla="*/ 0 w 151"/>
                <a:gd name="T17" fmla="*/ 13 h 30"/>
                <a:gd name="T18" fmla="*/ 0 w 151"/>
                <a:gd name="T19" fmla="*/ 15 h 30"/>
                <a:gd name="T20" fmla="*/ 0 w 151"/>
                <a:gd name="T21" fmla="*/ 18 h 30"/>
                <a:gd name="T22" fmla="*/ 2 w 151"/>
                <a:gd name="T23" fmla="*/ 21 h 30"/>
                <a:gd name="T24" fmla="*/ 3 w 151"/>
                <a:gd name="T25" fmla="*/ 24 h 30"/>
                <a:gd name="T26" fmla="*/ 5 w 151"/>
                <a:gd name="T27" fmla="*/ 26 h 30"/>
                <a:gd name="T28" fmla="*/ 7 w 151"/>
                <a:gd name="T29" fmla="*/ 28 h 30"/>
                <a:gd name="T30" fmla="*/ 9 w 151"/>
                <a:gd name="T31" fmla="*/ 29 h 30"/>
                <a:gd name="T32" fmla="*/ 12 w 151"/>
                <a:gd name="T33" fmla="*/ 30 h 30"/>
                <a:gd name="T34" fmla="*/ 15 w 151"/>
                <a:gd name="T35" fmla="*/ 30 h 30"/>
                <a:gd name="T36" fmla="*/ 136 w 151"/>
                <a:gd name="T37" fmla="*/ 30 h 30"/>
                <a:gd name="T38" fmla="*/ 139 w 151"/>
                <a:gd name="T39" fmla="*/ 30 h 30"/>
                <a:gd name="T40" fmla="*/ 142 w 151"/>
                <a:gd name="T41" fmla="*/ 29 h 30"/>
                <a:gd name="T42" fmla="*/ 144 w 151"/>
                <a:gd name="T43" fmla="*/ 28 h 30"/>
                <a:gd name="T44" fmla="*/ 146 w 151"/>
                <a:gd name="T45" fmla="*/ 26 h 30"/>
                <a:gd name="T46" fmla="*/ 148 w 151"/>
                <a:gd name="T47" fmla="*/ 24 h 30"/>
                <a:gd name="T48" fmla="*/ 150 w 151"/>
                <a:gd name="T49" fmla="*/ 21 h 30"/>
                <a:gd name="T50" fmla="*/ 151 w 151"/>
                <a:gd name="T51" fmla="*/ 18 h 30"/>
                <a:gd name="T52" fmla="*/ 151 w 151"/>
                <a:gd name="T53" fmla="*/ 15 h 30"/>
                <a:gd name="T54" fmla="*/ 151 w 151"/>
                <a:gd name="T55" fmla="*/ 13 h 30"/>
                <a:gd name="T56" fmla="*/ 150 w 151"/>
                <a:gd name="T57" fmla="*/ 10 h 30"/>
                <a:gd name="T58" fmla="*/ 148 w 151"/>
                <a:gd name="T59" fmla="*/ 8 h 30"/>
                <a:gd name="T60" fmla="*/ 146 w 151"/>
                <a:gd name="T61" fmla="*/ 4 h 30"/>
                <a:gd name="T62" fmla="*/ 144 w 151"/>
                <a:gd name="T63" fmla="*/ 3 h 30"/>
                <a:gd name="T64" fmla="*/ 142 w 151"/>
                <a:gd name="T65" fmla="*/ 1 h 30"/>
                <a:gd name="T66" fmla="*/ 139 w 151"/>
                <a:gd name="T67" fmla="*/ 1 h 30"/>
                <a:gd name="T68" fmla="*/ 136 w 15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30">
                  <a:moveTo>
                    <a:pt x="136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36" y="30"/>
                  </a:lnTo>
                  <a:lnTo>
                    <a:pt x="139" y="30"/>
                  </a:lnTo>
                  <a:lnTo>
                    <a:pt x="142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50" y="21"/>
                  </a:lnTo>
                  <a:lnTo>
                    <a:pt x="151" y="18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0" y="10"/>
                  </a:lnTo>
                  <a:lnTo>
                    <a:pt x="148" y="8"/>
                  </a:lnTo>
                  <a:lnTo>
                    <a:pt x="146" y="4"/>
                  </a:lnTo>
                  <a:lnTo>
                    <a:pt x="144" y="3"/>
                  </a:lnTo>
                  <a:lnTo>
                    <a:pt x="142" y="1"/>
                  </a:lnTo>
                  <a:lnTo>
                    <a:pt x="139" y="1"/>
                  </a:lnTo>
                  <a:lnTo>
                    <a:pt x="1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529">
              <a:extLst>
                <a:ext uri="{FF2B5EF4-FFF2-40B4-BE49-F238E27FC236}">
                  <a16:creationId xmlns:a16="http://schemas.microsoft.com/office/drawing/2014/main" id="{08F7A479-17EC-45B6-BD14-47E99EC0E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7788" y="2711450"/>
              <a:ext cx="28575" cy="11113"/>
            </a:xfrm>
            <a:custGeom>
              <a:avLst/>
              <a:gdLst>
                <a:gd name="T0" fmla="*/ 76 w 91"/>
                <a:gd name="T1" fmla="*/ 0 h 31"/>
                <a:gd name="T2" fmla="*/ 16 w 91"/>
                <a:gd name="T3" fmla="*/ 0 h 31"/>
                <a:gd name="T4" fmla="*/ 12 w 91"/>
                <a:gd name="T5" fmla="*/ 1 h 31"/>
                <a:gd name="T6" fmla="*/ 10 w 91"/>
                <a:gd name="T7" fmla="*/ 1 h 31"/>
                <a:gd name="T8" fmla="*/ 7 w 91"/>
                <a:gd name="T9" fmla="*/ 3 h 31"/>
                <a:gd name="T10" fmla="*/ 5 w 91"/>
                <a:gd name="T11" fmla="*/ 5 h 31"/>
                <a:gd name="T12" fmla="*/ 3 w 91"/>
                <a:gd name="T13" fmla="*/ 8 h 31"/>
                <a:gd name="T14" fmla="*/ 2 w 91"/>
                <a:gd name="T15" fmla="*/ 10 h 31"/>
                <a:gd name="T16" fmla="*/ 0 w 91"/>
                <a:gd name="T17" fmla="*/ 13 h 31"/>
                <a:gd name="T18" fmla="*/ 0 w 91"/>
                <a:gd name="T19" fmla="*/ 15 h 31"/>
                <a:gd name="T20" fmla="*/ 0 w 91"/>
                <a:gd name="T21" fmla="*/ 18 h 31"/>
                <a:gd name="T22" fmla="*/ 2 w 91"/>
                <a:gd name="T23" fmla="*/ 22 h 31"/>
                <a:gd name="T24" fmla="*/ 3 w 91"/>
                <a:gd name="T25" fmla="*/ 24 h 31"/>
                <a:gd name="T26" fmla="*/ 5 w 91"/>
                <a:gd name="T27" fmla="*/ 26 h 31"/>
                <a:gd name="T28" fmla="*/ 7 w 91"/>
                <a:gd name="T29" fmla="*/ 28 h 31"/>
                <a:gd name="T30" fmla="*/ 10 w 91"/>
                <a:gd name="T31" fmla="*/ 29 h 31"/>
                <a:gd name="T32" fmla="*/ 12 w 91"/>
                <a:gd name="T33" fmla="*/ 30 h 31"/>
                <a:gd name="T34" fmla="*/ 16 w 91"/>
                <a:gd name="T35" fmla="*/ 31 h 31"/>
                <a:gd name="T36" fmla="*/ 76 w 91"/>
                <a:gd name="T37" fmla="*/ 31 h 31"/>
                <a:gd name="T38" fmla="*/ 79 w 91"/>
                <a:gd name="T39" fmla="*/ 30 h 31"/>
                <a:gd name="T40" fmla="*/ 82 w 91"/>
                <a:gd name="T41" fmla="*/ 29 h 31"/>
                <a:gd name="T42" fmla="*/ 84 w 91"/>
                <a:gd name="T43" fmla="*/ 28 h 31"/>
                <a:gd name="T44" fmla="*/ 86 w 91"/>
                <a:gd name="T45" fmla="*/ 26 h 31"/>
                <a:gd name="T46" fmla="*/ 88 w 91"/>
                <a:gd name="T47" fmla="*/ 24 h 31"/>
                <a:gd name="T48" fmla="*/ 90 w 91"/>
                <a:gd name="T49" fmla="*/ 22 h 31"/>
                <a:gd name="T50" fmla="*/ 91 w 91"/>
                <a:gd name="T51" fmla="*/ 18 h 31"/>
                <a:gd name="T52" fmla="*/ 91 w 91"/>
                <a:gd name="T53" fmla="*/ 15 h 31"/>
                <a:gd name="T54" fmla="*/ 91 w 91"/>
                <a:gd name="T55" fmla="*/ 13 h 31"/>
                <a:gd name="T56" fmla="*/ 90 w 91"/>
                <a:gd name="T57" fmla="*/ 10 h 31"/>
                <a:gd name="T58" fmla="*/ 88 w 91"/>
                <a:gd name="T59" fmla="*/ 8 h 31"/>
                <a:gd name="T60" fmla="*/ 86 w 91"/>
                <a:gd name="T61" fmla="*/ 5 h 31"/>
                <a:gd name="T62" fmla="*/ 84 w 91"/>
                <a:gd name="T63" fmla="*/ 3 h 31"/>
                <a:gd name="T64" fmla="*/ 82 w 91"/>
                <a:gd name="T65" fmla="*/ 2 h 31"/>
                <a:gd name="T66" fmla="*/ 79 w 91"/>
                <a:gd name="T67" fmla="*/ 1 h 31"/>
                <a:gd name="T68" fmla="*/ 76 w 91"/>
                <a:gd name="T69" fmla="*/ 0 h 31"/>
                <a:gd name="T70" fmla="*/ 76 w 91"/>
                <a:gd name="T7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" h="31">
                  <a:moveTo>
                    <a:pt x="76" y="0"/>
                  </a:moveTo>
                  <a:lnTo>
                    <a:pt x="16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8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6" y="31"/>
                  </a:lnTo>
                  <a:lnTo>
                    <a:pt x="76" y="31"/>
                  </a:lnTo>
                  <a:lnTo>
                    <a:pt x="79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90" y="22"/>
                  </a:lnTo>
                  <a:lnTo>
                    <a:pt x="91" y="18"/>
                  </a:lnTo>
                  <a:lnTo>
                    <a:pt x="91" y="15"/>
                  </a:lnTo>
                  <a:lnTo>
                    <a:pt x="91" y="13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2" y="2"/>
                  </a:lnTo>
                  <a:lnTo>
                    <a:pt x="79" y="1"/>
                  </a:lnTo>
                  <a:lnTo>
                    <a:pt x="76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530">
              <a:extLst>
                <a:ext uri="{FF2B5EF4-FFF2-40B4-BE49-F238E27FC236}">
                  <a16:creationId xmlns:a16="http://schemas.microsoft.com/office/drawing/2014/main" id="{9EB603CB-1C96-4C5E-B3E1-B86CCC951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313" y="273208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1 w 60"/>
                <a:gd name="T5" fmla="*/ 0 h 30"/>
                <a:gd name="T6" fmla="*/ 9 w 60"/>
                <a:gd name="T7" fmla="*/ 1 h 30"/>
                <a:gd name="T8" fmla="*/ 6 w 60"/>
                <a:gd name="T9" fmla="*/ 2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7 h 30"/>
                <a:gd name="T22" fmla="*/ 1 w 60"/>
                <a:gd name="T23" fmla="*/ 21 h 30"/>
                <a:gd name="T24" fmla="*/ 2 w 60"/>
                <a:gd name="T25" fmla="*/ 23 h 30"/>
                <a:gd name="T26" fmla="*/ 4 w 60"/>
                <a:gd name="T27" fmla="*/ 26 h 30"/>
                <a:gd name="T28" fmla="*/ 6 w 60"/>
                <a:gd name="T29" fmla="*/ 27 h 30"/>
                <a:gd name="T30" fmla="*/ 9 w 60"/>
                <a:gd name="T31" fmla="*/ 29 h 30"/>
                <a:gd name="T32" fmla="*/ 11 w 60"/>
                <a:gd name="T33" fmla="*/ 29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29 h 30"/>
                <a:gd name="T40" fmla="*/ 51 w 60"/>
                <a:gd name="T41" fmla="*/ 29 h 30"/>
                <a:gd name="T42" fmla="*/ 53 w 60"/>
                <a:gd name="T43" fmla="*/ 27 h 30"/>
                <a:gd name="T44" fmla="*/ 55 w 60"/>
                <a:gd name="T45" fmla="*/ 26 h 30"/>
                <a:gd name="T46" fmla="*/ 57 w 60"/>
                <a:gd name="T47" fmla="*/ 23 h 30"/>
                <a:gd name="T48" fmla="*/ 59 w 60"/>
                <a:gd name="T49" fmla="*/ 21 h 30"/>
                <a:gd name="T50" fmla="*/ 60 w 60"/>
                <a:gd name="T51" fmla="*/ 17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7 w 60"/>
                <a:gd name="T59" fmla="*/ 7 h 30"/>
                <a:gd name="T60" fmla="*/ 55 w 60"/>
                <a:gd name="T61" fmla="*/ 5 h 30"/>
                <a:gd name="T62" fmla="*/ 53 w 60"/>
                <a:gd name="T63" fmla="*/ 2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3" y="27"/>
                  </a:lnTo>
                  <a:lnTo>
                    <a:pt x="55" y="26"/>
                  </a:lnTo>
                  <a:lnTo>
                    <a:pt x="57" y="23"/>
                  </a:lnTo>
                  <a:lnTo>
                    <a:pt x="59" y="21"/>
                  </a:lnTo>
                  <a:lnTo>
                    <a:pt x="60" y="17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531">
              <a:extLst>
                <a:ext uri="{FF2B5EF4-FFF2-40B4-BE49-F238E27FC236}">
                  <a16:creationId xmlns:a16="http://schemas.microsoft.com/office/drawing/2014/main" id="{D85652A0-515F-4667-9152-34E181ED06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3500" y="2530475"/>
              <a:ext cx="114300" cy="114300"/>
            </a:xfrm>
            <a:custGeom>
              <a:avLst/>
              <a:gdLst>
                <a:gd name="T0" fmla="*/ 167 w 362"/>
                <a:gd name="T1" fmla="*/ 103 h 362"/>
                <a:gd name="T2" fmla="*/ 169 w 362"/>
                <a:gd name="T3" fmla="*/ 98 h 362"/>
                <a:gd name="T4" fmla="*/ 172 w 362"/>
                <a:gd name="T5" fmla="*/ 94 h 362"/>
                <a:gd name="T6" fmla="*/ 177 w 362"/>
                <a:gd name="T7" fmla="*/ 92 h 362"/>
                <a:gd name="T8" fmla="*/ 184 w 362"/>
                <a:gd name="T9" fmla="*/ 92 h 362"/>
                <a:gd name="T10" fmla="*/ 189 w 362"/>
                <a:gd name="T11" fmla="*/ 94 h 362"/>
                <a:gd name="T12" fmla="*/ 193 w 362"/>
                <a:gd name="T13" fmla="*/ 98 h 362"/>
                <a:gd name="T14" fmla="*/ 196 w 362"/>
                <a:gd name="T15" fmla="*/ 103 h 362"/>
                <a:gd name="T16" fmla="*/ 196 w 362"/>
                <a:gd name="T17" fmla="*/ 181 h 362"/>
                <a:gd name="T18" fmla="*/ 244 w 362"/>
                <a:gd name="T19" fmla="*/ 182 h 362"/>
                <a:gd name="T20" fmla="*/ 249 w 362"/>
                <a:gd name="T21" fmla="*/ 184 h 362"/>
                <a:gd name="T22" fmla="*/ 254 w 362"/>
                <a:gd name="T23" fmla="*/ 188 h 362"/>
                <a:gd name="T24" fmla="*/ 256 w 362"/>
                <a:gd name="T25" fmla="*/ 193 h 362"/>
                <a:gd name="T26" fmla="*/ 256 w 362"/>
                <a:gd name="T27" fmla="*/ 199 h 362"/>
                <a:gd name="T28" fmla="*/ 254 w 362"/>
                <a:gd name="T29" fmla="*/ 204 h 362"/>
                <a:gd name="T30" fmla="*/ 249 w 362"/>
                <a:gd name="T31" fmla="*/ 208 h 362"/>
                <a:gd name="T32" fmla="*/ 244 w 362"/>
                <a:gd name="T33" fmla="*/ 211 h 362"/>
                <a:gd name="T34" fmla="*/ 181 w 362"/>
                <a:gd name="T35" fmla="*/ 212 h 362"/>
                <a:gd name="T36" fmla="*/ 175 w 362"/>
                <a:gd name="T37" fmla="*/ 211 h 362"/>
                <a:gd name="T38" fmla="*/ 170 w 362"/>
                <a:gd name="T39" fmla="*/ 206 h 362"/>
                <a:gd name="T40" fmla="*/ 167 w 362"/>
                <a:gd name="T41" fmla="*/ 202 h 362"/>
                <a:gd name="T42" fmla="*/ 166 w 362"/>
                <a:gd name="T43" fmla="*/ 197 h 362"/>
                <a:gd name="T44" fmla="*/ 181 w 362"/>
                <a:gd name="T45" fmla="*/ 362 h 362"/>
                <a:gd name="T46" fmla="*/ 217 w 362"/>
                <a:gd name="T47" fmla="*/ 359 h 362"/>
                <a:gd name="T48" fmla="*/ 251 w 362"/>
                <a:gd name="T49" fmla="*/ 348 h 362"/>
                <a:gd name="T50" fmla="*/ 281 w 362"/>
                <a:gd name="T51" fmla="*/ 331 h 362"/>
                <a:gd name="T52" fmla="*/ 308 w 362"/>
                <a:gd name="T53" fmla="*/ 309 h 362"/>
                <a:gd name="T54" fmla="*/ 331 w 362"/>
                <a:gd name="T55" fmla="*/ 282 h 362"/>
                <a:gd name="T56" fmla="*/ 347 w 362"/>
                <a:gd name="T57" fmla="*/ 251 h 362"/>
                <a:gd name="T58" fmla="*/ 358 w 362"/>
                <a:gd name="T59" fmla="*/ 217 h 362"/>
                <a:gd name="T60" fmla="*/ 362 w 362"/>
                <a:gd name="T61" fmla="*/ 182 h 362"/>
                <a:gd name="T62" fmla="*/ 358 w 362"/>
                <a:gd name="T63" fmla="*/ 145 h 362"/>
                <a:gd name="T64" fmla="*/ 347 w 362"/>
                <a:gd name="T65" fmla="*/ 111 h 362"/>
                <a:gd name="T66" fmla="*/ 331 w 362"/>
                <a:gd name="T67" fmla="*/ 80 h 362"/>
                <a:gd name="T68" fmla="*/ 308 w 362"/>
                <a:gd name="T69" fmla="*/ 53 h 362"/>
                <a:gd name="T70" fmla="*/ 281 w 362"/>
                <a:gd name="T71" fmla="*/ 31 h 362"/>
                <a:gd name="T72" fmla="*/ 251 w 362"/>
                <a:gd name="T73" fmla="*/ 14 h 362"/>
                <a:gd name="T74" fmla="*/ 217 w 362"/>
                <a:gd name="T75" fmla="*/ 5 h 362"/>
                <a:gd name="T76" fmla="*/ 181 w 362"/>
                <a:gd name="T77" fmla="*/ 0 h 362"/>
                <a:gd name="T78" fmla="*/ 144 w 362"/>
                <a:gd name="T79" fmla="*/ 5 h 362"/>
                <a:gd name="T80" fmla="*/ 111 w 362"/>
                <a:gd name="T81" fmla="*/ 14 h 362"/>
                <a:gd name="T82" fmla="*/ 80 w 362"/>
                <a:gd name="T83" fmla="*/ 31 h 362"/>
                <a:gd name="T84" fmla="*/ 53 w 362"/>
                <a:gd name="T85" fmla="*/ 53 h 362"/>
                <a:gd name="T86" fmla="*/ 32 w 362"/>
                <a:gd name="T87" fmla="*/ 80 h 362"/>
                <a:gd name="T88" fmla="*/ 14 w 362"/>
                <a:gd name="T89" fmla="*/ 111 h 362"/>
                <a:gd name="T90" fmla="*/ 4 w 362"/>
                <a:gd name="T91" fmla="*/ 145 h 362"/>
                <a:gd name="T92" fmla="*/ 0 w 362"/>
                <a:gd name="T93" fmla="*/ 182 h 362"/>
                <a:gd name="T94" fmla="*/ 4 w 362"/>
                <a:gd name="T95" fmla="*/ 217 h 362"/>
                <a:gd name="T96" fmla="*/ 14 w 362"/>
                <a:gd name="T97" fmla="*/ 251 h 362"/>
                <a:gd name="T98" fmla="*/ 32 w 362"/>
                <a:gd name="T99" fmla="*/ 282 h 362"/>
                <a:gd name="T100" fmla="*/ 53 w 362"/>
                <a:gd name="T101" fmla="*/ 309 h 362"/>
                <a:gd name="T102" fmla="*/ 80 w 362"/>
                <a:gd name="T103" fmla="*/ 331 h 362"/>
                <a:gd name="T104" fmla="*/ 111 w 362"/>
                <a:gd name="T105" fmla="*/ 348 h 362"/>
                <a:gd name="T106" fmla="*/ 144 w 362"/>
                <a:gd name="T107" fmla="*/ 359 h 362"/>
                <a:gd name="T108" fmla="*/ 181 w 362"/>
                <a:gd name="T109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362">
                  <a:moveTo>
                    <a:pt x="166" y="105"/>
                  </a:moveTo>
                  <a:lnTo>
                    <a:pt x="167" y="103"/>
                  </a:lnTo>
                  <a:lnTo>
                    <a:pt x="167" y="100"/>
                  </a:lnTo>
                  <a:lnTo>
                    <a:pt x="169" y="98"/>
                  </a:lnTo>
                  <a:lnTo>
                    <a:pt x="170" y="95"/>
                  </a:lnTo>
                  <a:lnTo>
                    <a:pt x="172" y="94"/>
                  </a:lnTo>
                  <a:lnTo>
                    <a:pt x="175" y="92"/>
                  </a:lnTo>
                  <a:lnTo>
                    <a:pt x="177" y="92"/>
                  </a:lnTo>
                  <a:lnTo>
                    <a:pt x="181" y="90"/>
                  </a:lnTo>
                  <a:lnTo>
                    <a:pt x="184" y="92"/>
                  </a:lnTo>
                  <a:lnTo>
                    <a:pt x="187" y="92"/>
                  </a:lnTo>
                  <a:lnTo>
                    <a:pt x="189" y="94"/>
                  </a:lnTo>
                  <a:lnTo>
                    <a:pt x="191" y="95"/>
                  </a:lnTo>
                  <a:lnTo>
                    <a:pt x="193" y="98"/>
                  </a:lnTo>
                  <a:lnTo>
                    <a:pt x="195" y="100"/>
                  </a:lnTo>
                  <a:lnTo>
                    <a:pt x="196" y="103"/>
                  </a:lnTo>
                  <a:lnTo>
                    <a:pt x="196" y="105"/>
                  </a:lnTo>
                  <a:lnTo>
                    <a:pt x="196" y="181"/>
                  </a:lnTo>
                  <a:lnTo>
                    <a:pt x="241" y="181"/>
                  </a:lnTo>
                  <a:lnTo>
                    <a:pt x="244" y="182"/>
                  </a:lnTo>
                  <a:lnTo>
                    <a:pt x="247" y="183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8"/>
                  </a:lnTo>
                  <a:lnTo>
                    <a:pt x="255" y="190"/>
                  </a:lnTo>
                  <a:lnTo>
                    <a:pt x="256" y="193"/>
                  </a:lnTo>
                  <a:lnTo>
                    <a:pt x="256" y="197"/>
                  </a:lnTo>
                  <a:lnTo>
                    <a:pt x="256" y="199"/>
                  </a:lnTo>
                  <a:lnTo>
                    <a:pt x="255" y="202"/>
                  </a:lnTo>
                  <a:lnTo>
                    <a:pt x="254" y="204"/>
                  </a:lnTo>
                  <a:lnTo>
                    <a:pt x="251" y="206"/>
                  </a:lnTo>
                  <a:lnTo>
                    <a:pt x="249" y="208"/>
                  </a:lnTo>
                  <a:lnTo>
                    <a:pt x="247" y="211"/>
                  </a:lnTo>
                  <a:lnTo>
                    <a:pt x="244" y="211"/>
                  </a:lnTo>
                  <a:lnTo>
                    <a:pt x="241" y="212"/>
                  </a:lnTo>
                  <a:lnTo>
                    <a:pt x="181" y="212"/>
                  </a:lnTo>
                  <a:lnTo>
                    <a:pt x="177" y="211"/>
                  </a:lnTo>
                  <a:lnTo>
                    <a:pt x="175" y="211"/>
                  </a:lnTo>
                  <a:lnTo>
                    <a:pt x="172" y="208"/>
                  </a:lnTo>
                  <a:lnTo>
                    <a:pt x="170" y="206"/>
                  </a:lnTo>
                  <a:lnTo>
                    <a:pt x="169" y="204"/>
                  </a:lnTo>
                  <a:lnTo>
                    <a:pt x="167" y="202"/>
                  </a:lnTo>
                  <a:lnTo>
                    <a:pt x="167" y="199"/>
                  </a:lnTo>
                  <a:lnTo>
                    <a:pt x="166" y="197"/>
                  </a:lnTo>
                  <a:lnTo>
                    <a:pt x="166" y="105"/>
                  </a:lnTo>
                  <a:close/>
                  <a:moveTo>
                    <a:pt x="181" y="362"/>
                  </a:moveTo>
                  <a:lnTo>
                    <a:pt x="200" y="361"/>
                  </a:lnTo>
                  <a:lnTo>
                    <a:pt x="217" y="359"/>
                  </a:lnTo>
                  <a:lnTo>
                    <a:pt x="234" y="353"/>
                  </a:lnTo>
                  <a:lnTo>
                    <a:pt x="251" y="348"/>
                  </a:lnTo>
                  <a:lnTo>
                    <a:pt x="268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1" y="282"/>
                  </a:lnTo>
                  <a:lnTo>
                    <a:pt x="339" y="267"/>
                  </a:lnTo>
                  <a:lnTo>
                    <a:pt x="347" y="251"/>
                  </a:lnTo>
                  <a:lnTo>
                    <a:pt x="353" y="235"/>
                  </a:lnTo>
                  <a:lnTo>
                    <a:pt x="358" y="217"/>
                  </a:lnTo>
                  <a:lnTo>
                    <a:pt x="361" y="200"/>
                  </a:lnTo>
                  <a:lnTo>
                    <a:pt x="362" y="182"/>
                  </a:lnTo>
                  <a:lnTo>
                    <a:pt x="361" y="162"/>
                  </a:lnTo>
                  <a:lnTo>
                    <a:pt x="358" y="145"/>
                  </a:lnTo>
                  <a:lnTo>
                    <a:pt x="353" y="127"/>
                  </a:lnTo>
                  <a:lnTo>
                    <a:pt x="347" y="111"/>
                  </a:lnTo>
                  <a:lnTo>
                    <a:pt x="339" y="95"/>
                  </a:lnTo>
                  <a:lnTo>
                    <a:pt x="331" y="80"/>
                  </a:lnTo>
                  <a:lnTo>
                    <a:pt x="320" y="66"/>
                  </a:lnTo>
                  <a:lnTo>
                    <a:pt x="308" y="53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8" y="22"/>
                  </a:lnTo>
                  <a:lnTo>
                    <a:pt x="251" y="14"/>
                  </a:lnTo>
                  <a:lnTo>
                    <a:pt x="234" y="9"/>
                  </a:lnTo>
                  <a:lnTo>
                    <a:pt x="217" y="5"/>
                  </a:lnTo>
                  <a:lnTo>
                    <a:pt x="200" y="1"/>
                  </a:lnTo>
                  <a:lnTo>
                    <a:pt x="181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7" y="9"/>
                  </a:lnTo>
                  <a:lnTo>
                    <a:pt x="111" y="14"/>
                  </a:lnTo>
                  <a:lnTo>
                    <a:pt x="95" y="22"/>
                  </a:lnTo>
                  <a:lnTo>
                    <a:pt x="80" y="31"/>
                  </a:lnTo>
                  <a:lnTo>
                    <a:pt x="66" y="42"/>
                  </a:lnTo>
                  <a:lnTo>
                    <a:pt x="53" y="53"/>
                  </a:lnTo>
                  <a:lnTo>
                    <a:pt x="41" y="66"/>
                  </a:lnTo>
                  <a:lnTo>
                    <a:pt x="32" y="80"/>
                  </a:lnTo>
                  <a:lnTo>
                    <a:pt x="22" y="95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4" y="145"/>
                  </a:lnTo>
                  <a:lnTo>
                    <a:pt x="2" y="162"/>
                  </a:lnTo>
                  <a:lnTo>
                    <a:pt x="0" y="182"/>
                  </a:lnTo>
                  <a:lnTo>
                    <a:pt x="2" y="200"/>
                  </a:lnTo>
                  <a:lnTo>
                    <a:pt x="4" y="217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2" y="267"/>
                  </a:lnTo>
                  <a:lnTo>
                    <a:pt x="32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6" y="320"/>
                  </a:lnTo>
                  <a:lnTo>
                    <a:pt x="80" y="331"/>
                  </a:lnTo>
                  <a:lnTo>
                    <a:pt x="95" y="340"/>
                  </a:lnTo>
                  <a:lnTo>
                    <a:pt x="111" y="348"/>
                  </a:lnTo>
                  <a:lnTo>
                    <a:pt x="127" y="353"/>
                  </a:lnTo>
                  <a:lnTo>
                    <a:pt x="144" y="359"/>
                  </a:lnTo>
                  <a:lnTo>
                    <a:pt x="162" y="361"/>
                  </a:lnTo>
                  <a:lnTo>
                    <a:pt x="181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532">
              <a:extLst>
                <a:ext uri="{FF2B5EF4-FFF2-40B4-BE49-F238E27FC236}">
                  <a16:creationId xmlns:a16="http://schemas.microsoft.com/office/drawing/2014/main" id="{2E52B048-064F-4F87-91F4-D8CAE49F4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9225" y="2732088"/>
              <a:ext cx="47625" cy="47625"/>
            </a:xfrm>
            <a:custGeom>
              <a:avLst/>
              <a:gdLst>
                <a:gd name="T0" fmla="*/ 67 w 150"/>
                <a:gd name="T1" fmla="*/ 0 h 150"/>
                <a:gd name="T2" fmla="*/ 52 w 150"/>
                <a:gd name="T3" fmla="*/ 3 h 150"/>
                <a:gd name="T4" fmla="*/ 38 w 150"/>
                <a:gd name="T5" fmla="*/ 9 h 150"/>
                <a:gd name="T6" fmla="*/ 27 w 150"/>
                <a:gd name="T7" fmla="*/ 17 h 150"/>
                <a:gd name="T8" fmla="*/ 17 w 150"/>
                <a:gd name="T9" fmla="*/ 27 h 150"/>
                <a:gd name="T10" fmla="*/ 8 w 150"/>
                <a:gd name="T11" fmla="*/ 39 h 150"/>
                <a:gd name="T12" fmla="*/ 3 w 150"/>
                <a:gd name="T13" fmla="*/ 53 h 150"/>
                <a:gd name="T14" fmla="*/ 0 w 150"/>
                <a:gd name="T15" fmla="*/ 68 h 150"/>
                <a:gd name="T16" fmla="*/ 0 w 150"/>
                <a:gd name="T17" fmla="*/ 83 h 150"/>
                <a:gd name="T18" fmla="*/ 3 w 150"/>
                <a:gd name="T19" fmla="*/ 98 h 150"/>
                <a:gd name="T20" fmla="*/ 8 w 150"/>
                <a:gd name="T21" fmla="*/ 111 h 150"/>
                <a:gd name="T22" fmla="*/ 17 w 150"/>
                <a:gd name="T23" fmla="*/ 123 h 150"/>
                <a:gd name="T24" fmla="*/ 27 w 150"/>
                <a:gd name="T25" fmla="*/ 133 h 150"/>
                <a:gd name="T26" fmla="*/ 38 w 150"/>
                <a:gd name="T27" fmla="*/ 141 h 150"/>
                <a:gd name="T28" fmla="*/ 52 w 150"/>
                <a:gd name="T29" fmla="*/ 147 h 150"/>
                <a:gd name="T30" fmla="*/ 67 w 150"/>
                <a:gd name="T31" fmla="*/ 150 h 150"/>
                <a:gd name="T32" fmla="*/ 82 w 150"/>
                <a:gd name="T33" fmla="*/ 150 h 150"/>
                <a:gd name="T34" fmla="*/ 97 w 150"/>
                <a:gd name="T35" fmla="*/ 147 h 150"/>
                <a:gd name="T36" fmla="*/ 110 w 150"/>
                <a:gd name="T37" fmla="*/ 141 h 150"/>
                <a:gd name="T38" fmla="*/ 122 w 150"/>
                <a:gd name="T39" fmla="*/ 133 h 150"/>
                <a:gd name="T40" fmla="*/ 133 w 150"/>
                <a:gd name="T41" fmla="*/ 123 h 150"/>
                <a:gd name="T42" fmla="*/ 140 w 150"/>
                <a:gd name="T43" fmla="*/ 111 h 150"/>
                <a:gd name="T44" fmla="*/ 147 w 150"/>
                <a:gd name="T45" fmla="*/ 98 h 150"/>
                <a:gd name="T46" fmla="*/ 150 w 150"/>
                <a:gd name="T47" fmla="*/ 83 h 150"/>
                <a:gd name="T48" fmla="*/ 150 w 150"/>
                <a:gd name="T49" fmla="*/ 68 h 150"/>
                <a:gd name="T50" fmla="*/ 147 w 150"/>
                <a:gd name="T51" fmla="*/ 53 h 150"/>
                <a:gd name="T52" fmla="*/ 140 w 150"/>
                <a:gd name="T53" fmla="*/ 39 h 150"/>
                <a:gd name="T54" fmla="*/ 133 w 150"/>
                <a:gd name="T55" fmla="*/ 27 h 150"/>
                <a:gd name="T56" fmla="*/ 122 w 150"/>
                <a:gd name="T57" fmla="*/ 17 h 150"/>
                <a:gd name="T58" fmla="*/ 110 w 150"/>
                <a:gd name="T59" fmla="*/ 9 h 150"/>
                <a:gd name="T60" fmla="*/ 97 w 150"/>
                <a:gd name="T61" fmla="*/ 3 h 150"/>
                <a:gd name="T62" fmla="*/ 82 w 150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0" h="150"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5" y="6"/>
                  </a:lnTo>
                  <a:lnTo>
                    <a:pt x="38" y="9"/>
                  </a:lnTo>
                  <a:lnTo>
                    <a:pt x="32" y="13"/>
                  </a:lnTo>
                  <a:lnTo>
                    <a:pt x="27" y="17"/>
                  </a:lnTo>
                  <a:lnTo>
                    <a:pt x="21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8" y="39"/>
                  </a:lnTo>
                  <a:lnTo>
                    <a:pt x="5" y="45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5" y="104"/>
                  </a:lnTo>
                  <a:lnTo>
                    <a:pt x="8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1" y="128"/>
                  </a:lnTo>
                  <a:lnTo>
                    <a:pt x="27" y="133"/>
                  </a:lnTo>
                  <a:lnTo>
                    <a:pt x="32" y="138"/>
                  </a:lnTo>
                  <a:lnTo>
                    <a:pt x="38" y="141"/>
                  </a:lnTo>
                  <a:lnTo>
                    <a:pt x="45" y="144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0"/>
                  </a:lnTo>
                  <a:lnTo>
                    <a:pt x="82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4" y="144"/>
                  </a:lnTo>
                  <a:lnTo>
                    <a:pt x="110" y="141"/>
                  </a:lnTo>
                  <a:lnTo>
                    <a:pt x="117" y="138"/>
                  </a:lnTo>
                  <a:lnTo>
                    <a:pt x="122" y="133"/>
                  </a:lnTo>
                  <a:lnTo>
                    <a:pt x="127" y="128"/>
                  </a:lnTo>
                  <a:lnTo>
                    <a:pt x="133" y="123"/>
                  </a:lnTo>
                  <a:lnTo>
                    <a:pt x="137" y="117"/>
                  </a:lnTo>
                  <a:lnTo>
                    <a:pt x="140" y="111"/>
                  </a:lnTo>
                  <a:lnTo>
                    <a:pt x="144" y="104"/>
                  </a:lnTo>
                  <a:lnTo>
                    <a:pt x="147" y="98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8"/>
                  </a:lnTo>
                  <a:lnTo>
                    <a:pt x="148" y="60"/>
                  </a:lnTo>
                  <a:lnTo>
                    <a:pt x="147" y="53"/>
                  </a:lnTo>
                  <a:lnTo>
                    <a:pt x="144" y="45"/>
                  </a:lnTo>
                  <a:lnTo>
                    <a:pt x="140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7" y="22"/>
                  </a:lnTo>
                  <a:lnTo>
                    <a:pt x="122" y="17"/>
                  </a:lnTo>
                  <a:lnTo>
                    <a:pt x="117" y="13"/>
                  </a:lnTo>
                  <a:lnTo>
                    <a:pt x="110" y="9"/>
                  </a:lnTo>
                  <a:lnTo>
                    <a:pt x="104" y="6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533">
              <a:extLst>
                <a:ext uri="{FF2B5EF4-FFF2-40B4-BE49-F238E27FC236}">
                  <a16:creationId xmlns:a16="http://schemas.microsoft.com/office/drawing/2014/main" id="{EAA333D2-8D3D-46F1-AA66-AF738FADC6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2654300"/>
              <a:ext cx="96838" cy="106363"/>
            </a:xfrm>
            <a:custGeom>
              <a:avLst/>
              <a:gdLst>
                <a:gd name="T0" fmla="*/ 30 w 301"/>
                <a:gd name="T1" fmla="*/ 30 h 331"/>
                <a:gd name="T2" fmla="*/ 250 w 301"/>
                <a:gd name="T3" fmla="*/ 150 h 331"/>
                <a:gd name="T4" fmla="*/ 301 w 301"/>
                <a:gd name="T5" fmla="*/ 165 h 331"/>
                <a:gd name="T6" fmla="*/ 300 w 301"/>
                <a:gd name="T7" fmla="*/ 161 h 331"/>
                <a:gd name="T8" fmla="*/ 300 w 301"/>
                <a:gd name="T9" fmla="*/ 160 h 331"/>
                <a:gd name="T10" fmla="*/ 297 w 301"/>
                <a:gd name="T11" fmla="*/ 155 h 331"/>
                <a:gd name="T12" fmla="*/ 297 w 301"/>
                <a:gd name="T13" fmla="*/ 155 h 331"/>
                <a:gd name="T14" fmla="*/ 144 w 301"/>
                <a:gd name="T15" fmla="*/ 2 h 331"/>
                <a:gd name="T16" fmla="*/ 138 w 301"/>
                <a:gd name="T17" fmla="*/ 0 h 331"/>
                <a:gd name="T18" fmla="*/ 15 w 301"/>
                <a:gd name="T19" fmla="*/ 0 h 331"/>
                <a:gd name="T20" fmla="*/ 10 w 301"/>
                <a:gd name="T21" fmla="*/ 1 h 331"/>
                <a:gd name="T22" fmla="*/ 4 w 301"/>
                <a:gd name="T23" fmla="*/ 4 h 331"/>
                <a:gd name="T24" fmla="*/ 1 w 301"/>
                <a:gd name="T25" fmla="*/ 10 h 331"/>
                <a:gd name="T26" fmla="*/ 0 w 301"/>
                <a:gd name="T27" fmla="*/ 15 h 331"/>
                <a:gd name="T28" fmla="*/ 0 w 301"/>
                <a:gd name="T29" fmla="*/ 316 h 331"/>
                <a:gd name="T30" fmla="*/ 1 w 301"/>
                <a:gd name="T31" fmla="*/ 322 h 331"/>
                <a:gd name="T32" fmla="*/ 4 w 301"/>
                <a:gd name="T33" fmla="*/ 327 h 331"/>
                <a:gd name="T34" fmla="*/ 10 w 301"/>
                <a:gd name="T35" fmla="*/ 330 h 331"/>
                <a:gd name="T36" fmla="*/ 15 w 301"/>
                <a:gd name="T37" fmla="*/ 331 h 331"/>
                <a:gd name="T38" fmla="*/ 31 w 301"/>
                <a:gd name="T39" fmla="*/ 324 h 331"/>
                <a:gd name="T40" fmla="*/ 31 w 301"/>
                <a:gd name="T41" fmla="*/ 306 h 331"/>
                <a:gd name="T42" fmla="*/ 35 w 301"/>
                <a:gd name="T43" fmla="*/ 285 h 331"/>
                <a:gd name="T44" fmla="*/ 43 w 301"/>
                <a:gd name="T45" fmla="*/ 266 h 331"/>
                <a:gd name="T46" fmla="*/ 55 w 301"/>
                <a:gd name="T47" fmla="*/ 249 h 331"/>
                <a:gd name="T48" fmla="*/ 69 w 301"/>
                <a:gd name="T49" fmla="*/ 235 h 331"/>
                <a:gd name="T50" fmla="*/ 86 w 301"/>
                <a:gd name="T51" fmla="*/ 223 h 331"/>
                <a:gd name="T52" fmla="*/ 104 w 301"/>
                <a:gd name="T53" fmla="*/ 215 h 331"/>
                <a:gd name="T54" fmla="*/ 126 w 301"/>
                <a:gd name="T55" fmla="*/ 211 h 331"/>
                <a:gd name="T56" fmla="*/ 147 w 301"/>
                <a:gd name="T57" fmla="*/ 211 h 331"/>
                <a:gd name="T58" fmla="*/ 167 w 301"/>
                <a:gd name="T59" fmla="*/ 215 h 331"/>
                <a:gd name="T60" fmla="*/ 186 w 301"/>
                <a:gd name="T61" fmla="*/ 223 h 331"/>
                <a:gd name="T62" fmla="*/ 203 w 301"/>
                <a:gd name="T63" fmla="*/ 235 h 331"/>
                <a:gd name="T64" fmla="*/ 217 w 301"/>
                <a:gd name="T65" fmla="*/ 249 h 331"/>
                <a:gd name="T66" fmla="*/ 229 w 301"/>
                <a:gd name="T67" fmla="*/ 266 h 331"/>
                <a:gd name="T68" fmla="*/ 236 w 301"/>
                <a:gd name="T69" fmla="*/ 285 h 331"/>
                <a:gd name="T70" fmla="*/ 240 w 301"/>
                <a:gd name="T71" fmla="*/ 306 h 331"/>
                <a:gd name="T72" fmla="*/ 241 w 301"/>
                <a:gd name="T73" fmla="*/ 324 h 331"/>
                <a:gd name="T74" fmla="*/ 286 w 301"/>
                <a:gd name="T75" fmla="*/ 331 h 331"/>
                <a:gd name="T76" fmla="*/ 292 w 301"/>
                <a:gd name="T77" fmla="*/ 330 h 331"/>
                <a:gd name="T78" fmla="*/ 297 w 301"/>
                <a:gd name="T79" fmla="*/ 327 h 331"/>
                <a:gd name="T80" fmla="*/ 300 w 301"/>
                <a:gd name="T81" fmla="*/ 322 h 331"/>
                <a:gd name="T82" fmla="*/ 301 w 301"/>
                <a:gd name="T83" fmla="*/ 316 h 331"/>
                <a:gd name="T84" fmla="*/ 301 w 301"/>
                <a:gd name="T85" fmla="*/ 16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" h="331">
                  <a:moveTo>
                    <a:pt x="30" y="150"/>
                  </a:moveTo>
                  <a:lnTo>
                    <a:pt x="30" y="30"/>
                  </a:lnTo>
                  <a:lnTo>
                    <a:pt x="130" y="30"/>
                  </a:lnTo>
                  <a:lnTo>
                    <a:pt x="250" y="150"/>
                  </a:lnTo>
                  <a:lnTo>
                    <a:pt x="30" y="150"/>
                  </a:lnTo>
                  <a:close/>
                  <a:moveTo>
                    <a:pt x="301" y="165"/>
                  </a:moveTo>
                  <a:lnTo>
                    <a:pt x="300" y="163"/>
                  </a:lnTo>
                  <a:lnTo>
                    <a:pt x="300" y="161"/>
                  </a:lnTo>
                  <a:lnTo>
                    <a:pt x="300" y="160"/>
                  </a:lnTo>
                  <a:lnTo>
                    <a:pt x="300" y="160"/>
                  </a:lnTo>
                  <a:lnTo>
                    <a:pt x="298" y="156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147" y="4"/>
                  </a:lnTo>
                  <a:lnTo>
                    <a:pt x="144" y="2"/>
                  </a:lnTo>
                  <a:lnTo>
                    <a:pt x="142" y="1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65"/>
                  </a:lnTo>
                  <a:lnTo>
                    <a:pt x="0" y="316"/>
                  </a:lnTo>
                  <a:lnTo>
                    <a:pt x="1" y="320"/>
                  </a:lnTo>
                  <a:lnTo>
                    <a:pt x="1" y="322"/>
                  </a:lnTo>
                  <a:lnTo>
                    <a:pt x="3" y="325"/>
                  </a:lnTo>
                  <a:lnTo>
                    <a:pt x="4" y="327"/>
                  </a:lnTo>
                  <a:lnTo>
                    <a:pt x="7" y="328"/>
                  </a:lnTo>
                  <a:lnTo>
                    <a:pt x="10" y="330"/>
                  </a:lnTo>
                  <a:lnTo>
                    <a:pt x="12" y="331"/>
                  </a:lnTo>
                  <a:lnTo>
                    <a:pt x="15" y="331"/>
                  </a:lnTo>
                  <a:lnTo>
                    <a:pt x="31" y="331"/>
                  </a:lnTo>
                  <a:lnTo>
                    <a:pt x="31" y="324"/>
                  </a:lnTo>
                  <a:lnTo>
                    <a:pt x="30" y="316"/>
                  </a:lnTo>
                  <a:lnTo>
                    <a:pt x="31" y="306"/>
                  </a:lnTo>
                  <a:lnTo>
                    <a:pt x="32" y="295"/>
                  </a:lnTo>
                  <a:lnTo>
                    <a:pt x="35" y="285"/>
                  </a:lnTo>
                  <a:lnTo>
                    <a:pt x="39" y="276"/>
                  </a:lnTo>
                  <a:lnTo>
                    <a:pt x="43" y="266"/>
                  </a:lnTo>
                  <a:lnTo>
                    <a:pt x="48" y="257"/>
                  </a:lnTo>
                  <a:lnTo>
                    <a:pt x="55" y="249"/>
                  </a:lnTo>
                  <a:lnTo>
                    <a:pt x="61" y="241"/>
                  </a:lnTo>
                  <a:lnTo>
                    <a:pt x="69" y="235"/>
                  </a:lnTo>
                  <a:lnTo>
                    <a:pt x="77" y="228"/>
                  </a:lnTo>
                  <a:lnTo>
                    <a:pt x="86" y="223"/>
                  </a:lnTo>
                  <a:lnTo>
                    <a:pt x="94" y="219"/>
                  </a:lnTo>
                  <a:lnTo>
                    <a:pt x="104" y="215"/>
                  </a:lnTo>
                  <a:lnTo>
                    <a:pt x="115" y="213"/>
                  </a:lnTo>
                  <a:lnTo>
                    <a:pt x="126" y="211"/>
                  </a:lnTo>
                  <a:lnTo>
                    <a:pt x="136" y="211"/>
                  </a:lnTo>
                  <a:lnTo>
                    <a:pt x="147" y="211"/>
                  </a:lnTo>
                  <a:lnTo>
                    <a:pt x="157" y="213"/>
                  </a:lnTo>
                  <a:lnTo>
                    <a:pt x="167" y="215"/>
                  </a:lnTo>
                  <a:lnTo>
                    <a:pt x="177" y="219"/>
                  </a:lnTo>
                  <a:lnTo>
                    <a:pt x="186" y="223"/>
                  </a:lnTo>
                  <a:lnTo>
                    <a:pt x="194" y="228"/>
                  </a:lnTo>
                  <a:lnTo>
                    <a:pt x="203" y="235"/>
                  </a:lnTo>
                  <a:lnTo>
                    <a:pt x="210" y="241"/>
                  </a:lnTo>
                  <a:lnTo>
                    <a:pt x="217" y="249"/>
                  </a:lnTo>
                  <a:lnTo>
                    <a:pt x="223" y="257"/>
                  </a:lnTo>
                  <a:lnTo>
                    <a:pt x="229" y="266"/>
                  </a:lnTo>
                  <a:lnTo>
                    <a:pt x="233" y="276"/>
                  </a:lnTo>
                  <a:lnTo>
                    <a:pt x="236" y="285"/>
                  </a:lnTo>
                  <a:lnTo>
                    <a:pt x="239" y="295"/>
                  </a:lnTo>
                  <a:lnTo>
                    <a:pt x="240" y="306"/>
                  </a:lnTo>
                  <a:lnTo>
                    <a:pt x="241" y="316"/>
                  </a:lnTo>
                  <a:lnTo>
                    <a:pt x="241" y="324"/>
                  </a:lnTo>
                  <a:lnTo>
                    <a:pt x="240" y="331"/>
                  </a:lnTo>
                  <a:lnTo>
                    <a:pt x="286" y="331"/>
                  </a:lnTo>
                  <a:lnTo>
                    <a:pt x="290" y="330"/>
                  </a:lnTo>
                  <a:lnTo>
                    <a:pt x="292" y="330"/>
                  </a:lnTo>
                  <a:lnTo>
                    <a:pt x="295" y="328"/>
                  </a:lnTo>
                  <a:lnTo>
                    <a:pt x="297" y="327"/>
                  </a:lnTo>
                  <a:lnTo>
                    <a:pt x="299" y="325"/>
                  </a:lnTo>
                  <a:lnTo>
                    <a:pt x="300" y="322"/>
                  </a:lnTo>
                  <a:lnTo>
                    <a:pt x="301" y="320"/>
                  </a:lnTo>
                  <a:lnTo>
                    <a:pt x="301" y="316"/>
                  </a:lnTo>
                  <a:lnTo>
                    <a:pt x="301" y="165"/>
                  </a:lnTo>
                  <a:lnTo>
                    <a:pt x="301" y="165"/>
                  </a:lnTo>
                  <a:lnTo>
                    <a:pt x="301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534">
              <a:extLst>
                <a:ext uri="{FF2B5EF4-FFF2-40B4-BE49-F238E27FC236}">
                  <a16:creationId xmlns:a16="http://schemas.microsoft.com/office/drawing/2014/main" id="{EA835F6B-D6FD-4AA9-A22D-E8677538FE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8288" y="2732088"/>
              <a:ext cx="49213" cy="47625"/>
            </a:xfrm>
            <a:custGeom>
              <a:avLst/>
              <a:gdLst>
                <a:gd name="T0" fmla="*/ 68 w 151"/>
                <a:gd name="T1" fmla="*/ 0 h 150"/>
                <a:gd name="T2" fmla="*/ 54 w 151"/>
                <a:gd name="T3" fmla="*/ 3 h 150"/>
                <a:gd name="T4" fmla="*/ 40 w 151"/>
                <a:gd name="T5" fmla="*/ 9 h 150"/>
                <a:gd name="T6" fmla="*/ 28 w 151"/>
                <a:gd name="T7" fmla="*/ 17 h 150"/>
                <a:gd name="T8" fmla="*/ 17 w 151"/>
                <a:gd name="T9" fmla="*/ 27 h 150"/>
                <a:gd name="T10" fmla="*/ 10 w 151"/>
                <a:gd name="T11" fmla="*/ 39 h 150"/>
                <a:gd name="T12" fmla="*/ 4 w 151"/>
                <a:gd name="T13" fmla="*/ 53 h 150"/>
                <a:gd name="T14" fmla="*/ 1 w 151"/>
                <a:gd name="T15" fmla="*/ 68 h 150"/>
                <a:gd name="T16" fmla="*/ 1 w 151"/>
                <a:gd name="T17" fmla="*/ 83 h 150"/>
                <a:gd name="T18" fmla="*/ 4 w 151"/>
                <a:gd name="T19" fmla="*/ 98 h 150"/>
                <a:gd name="T20" fmla="*/ 10 w 151"/>
                <a:gd name="T21" fmla="*/ 111 h 150"/>
                <a:gd name="T22" fmla="*/ 17 w 151"/>
                <a:gd name="T23" fmla="*/ 123 h 150"/>
                <a:gd name="T24" fmla="*/ 28 w 151"/>
                <a:gd name="T25" fmla="*/ 133 h 150"/>
                <a:gd name="T26" fmla="*/ 40 w 151"/>
                <a:gd name="T27" fmla="*/ 141 h 150"/>
                <a:gd name="T28" fmla="*/ 54 w 151"/>
                <a:gd name="T29" fmla="*/ 147 h 150"/>
                <a:gd name="T30" fmla="*/ 68 w 151"/>
                <a:gd name="T31" fmla="*/ 150 h 150"/>
                <a:gd name="T32" fmla="*/ 84 w 151"/>
                <a:gd name="T33" fmla="*/ 150 h 150"/>
                <a:gd name="T34" fmla="*/ 98 w 151"/>
                <a:gd name="T35" fmla="*/ 147 h 150"/>
                <a:gd name="T36" fmla="*/ 112 w 151"/>
                <a:gd name="T37" fmla="*/ 141 h 150"/>
                <a:gd name="T38" fmla="*/ 124 w 151"/>
                <a:gd name="T39" fmla="*/ 133 h 150"/>
                <a:gd name="T40" fmla="*/ 134 w 151"/>
                <a:gd name="T41" fmla="*/ 123 h 150"/>
                <a:gd name="T42" fmla="*/ 142 w 151"/>
                <a:gd name="T43" fmla="*/ 111 h 150"/>
                <a:gd name="T44" fmla="*/ 148 w 151"/>
                <a:gd name="T45" fmla="*/ 98 h 150"/>
                <a:gd name="T46" fmla="*/ 150 w 151"/>
                <a:gd name="T47" fmla="*/ 83 h 150"/>
                <a:gd name="T48" fmla="*/ 150 w 151"/>
                <a:gd name="T49" fmla="*/ 68 h 150"/>
                <a:gd name="T50" fmla="*/ 148 w 151"/>
                <a:gd name="T51" fmla="*/ 53 h 150"/>
                <a:gd name="T52" fmla="*/ 142 w 151"/>
                <a:gd name="T53" fmla="*/ 39 h 150"/>
                <a:gd name="T54" fmla="*/ 134 w 151"/>
                <a:gd name="T55" fmla="*/ 27 h 150"/>
                <a:gd name="T56" fmla="*/ 124 w 151"/>
                <a:gd name="T57" fmla="*/ 17 h 150"/>
                <a:gd name="T58" fmla="*/ 112 w 151"/>
                <a:gd name="T59" fmla="*/ 9 h 150"/>
                <a:gd name="T60" fmla="*/ 98 w 151"/>
                <a:gd name="T61" fmla="*/ 3 h 150"/>
                <a:gd name="T62" fmla="*/ 84 w 151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150">
                  <a:moveTo>
                    <a:pt x="76" y="0"/>
                  </a:moveTo>
                  <a:lnTo>
                    <a:pt x="68" y="0"/>
                  </a:lnTo>
                  <a:lnTo>
                    <a:pt x="60" y="1"/>
                  </a:lnTo>
                  <a:lnTo>
                    <a:pt x="54" y="3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5"/>
                  </a:lnTo>
                  <a:lnTo>
                    <a:pt x="4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0"/>
                  </a:lnTo>
                  <a:lnTo>
                    <a:pt x="4" y="98"/>
                  </a:lnTo>
                  <a:lnTo>
                    <a:pt x="7" y="104"/>
                  </a:lnTo>
                  <a:lnTo>
                    <a:pt x="10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3"/>
                  </a:lnTo>
                  <a:lnTo>
                    <a:pt x="33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0"/>
                  </a:lnTo>
                  <a:lnTo>
                    <a:pt x="84" y="150"/>
                  </a:lnTo>
                  <a:lnTo>
                    <a:pt x="91" y="149"/>
                  </a:lnTo>
                  <a:lnTo>
                    <a:pt x="98" y="147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3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7"/>
                  </a:lnTo>
                  <a:lnTo>
                    <a:pt x="142" y="111"/>
                  </a:lnTo>
                  <a:lnTo>
                    <a:pt x="145" y="104"/>
                  </a:lnTo>
                  <a:lnTo>
                    <a:pt x="148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5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3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3"/>
                  </a:lnTo>
                  <a:lnTo>
                    <a:pt x="91" y="1"/>
                  </a:lnTo>
                  <a:lnTo>
                    <a:pt x="84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665832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431800" y="191214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TAB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A22ABB57-F0EC-4286-B1AC-36841ACD99BD}" type="datetime1">
              <a:rPr lang="en-US" smtClean="0"/>
              <a:t>4/7/2024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794E2DD-4F38-4D2A-97E5-5D7467AA1DEC}" type="slidenum">
              <a:rPr lang="en-US" smtClean="0"/>
              <a:t>17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F0159EC-568C-4AD7-A597-0D979D18DC65}"/>
              </a:ext>
            </a:extLst>
          </p:cNvPr>
          <p:cNvSpPr/>
          <p:nvPr/>
        </p:nvSpPr>
        <p:spPr>
          <a:xfrm>
            <a:off x="527957" y="1132114"/>
            <a:ext cx="5387174" cy="41810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5286300-D8BA-4746-996C-30C7830EF2D8}"/>
              </a:ext>
            </a:extLst>
          </p:cNvPr>
          <p:cNvSpPr/>
          <p:nvPr/>
        </p:nvSpPr>
        <p:spPr>
          <a:xfrm>
            <a:off x="6276869" y="1132114"/>
            <a:ext cx="5387174" cy="4181078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07077D4-7920-4B35-8621-B91923F6F532}"/>
              </a:ext>
            </a:extLst>
          </p:cNvPr>
          <p:cNvSpPr/>
          <p:nvPr/>
        </p:nvSpPr>
        <p:spPr>
          <a:xfrm>
            <a:off x="527957" y="5434375"/>
            <a:ext cx="5387174" cy="7197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LOREM IPSUM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FF47C15-A73A-401F-9D33-5D19FCE6C1A8}"/>
              </a:ext>
            </a:extLst>
          </p:cNvPr>
          <p:cNvSpPr/>
          <p:nvPr/>
        </p:nvSpPr>
        <p:spPr>
          <a:xfrm>
            <a:off x="6276869" y="5434375"/>
            <a:ext cx="5387174" cy="7197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LOREM IPSUM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D2E6475-D59C-4D51-928E-51EDE69A13CD}"/>
              </a:ext>
            </a:extLst>
          </p:cNvPr>
          <p:cNvSpPr/>
          <p:nvPr/>
        </p:nvSpPr>
        <p:spPr>
          <a:xfrm>
            <a:off x="1013838" y="1329364"/>
            <a:ext cx="4415412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2800" dirty="0">
                <a:solidFill>
                  <a:schemeClr val="accent1"/>
                </a:solidFill>
              </a:rPr>
              <a:t>LOREM IPSUM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325BDBE-90ED-413C-8530-A148FEF61233}"/>
              </a:ext>
            </a:extLst>
          </p:cNvPr>
          <p:cNvSpPr/>
          <p:nvPr/>
        </p:nvSpPr>
        <p:spPr>
          <a:xfrm>
            <a:off x="6762750" y="1329364"/>
            <a:ext cx="4415412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2800" dirty="0">
                <a:solidFill>
                  <a:schemeClr val="accent2"/>
                </a:solidFill>
              </a:rPr>
              <a:t>LOREM IPSUM</a:t>
            </a:r>
          </a:p>
        </p:txBody>
      </p:sp>
      <p:sp>
        <p:nvSpPr>
          <p:cNvPr id="73" name="Freeform 3447">
            <a:extLst>
              <a:ext uri="{FF2B5EF4-FFF2-40B4-BE49-F238E27FC236}">
                <a16:creationId xmlns:a16="http://schemas.microsoft.com/office/drawing/2014/main" id="{EE9652C4-E327-435F-B39B-DA0C94A613C2}"/>
              </a:ext>
            </a:extLst>
          </p:cNvPr>
          <p:cNvSpPr>
            <a:spLocks noEditPoints="1"/>
          </p:cNvSpPr>
          <p:nvPr/>
        </p:nvSpPr>
        <p:spPr bwMode="auto">
          <a:xfrm>
            <a:off x="2768929" y="1935763"/>
            <a:ext cx="905231" cy="905231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3447">
            <a:extLst>
              <a:ext uri="{FF2B5EF4-FFF2-40B4-BE49-F238E27FC236}">
                <a16:creationId xmlns:a16="http://schemas.microsoft.com/office/drawing/2014/main" id="{4C7EAC3D-3355-45E8-BC7B-5B32C96B1A1C}"/>
              </a:ext>
            </a:extLst>
          </p:cNvPr>
          <p:cNvSpPr>
            <a:spLocks noEditPoints="1"/>
          </p:cNvSpPr>
          <p:nvPr/>
        </p:nvSpPr>
        <p:spPr bwMode="auto">
          <a:xfrm>
            <a:off x="8517840" y="1935763"/>
            <a:ext cx="905231" cy="905231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5A8C891-6D57-481C-87A5-D1FFCF80CF47}"/>
              </a:ext>
            </a:extLst>
          </p:cNvPr>
          <p:cNvSpPr/>
          <p:nvPr/>
        </p:nvSpPr>
        <p:spPr>
          <a:xfrm>
            <a:off x="761064" y="3016506"/>
            <a:ext cx="4920960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1400" dirty="0"/>
              <a:t>“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Duis </a:t>
            </a:r>
            <a:r>
              <a:rPr lang="en-US" sz="1400" dirty="0" err="1"/>
              <a:t>suscipit</a:t>
            </a:r>
            <a:r>
              <a:rPr lang="en-US" sz="1400" dirty="0"/>
              <a:t> in </a:t>
            </a:r>
            <a:r>
              <a:rPr lang="en-US" sz="1400" dirty="0" err="1"/>
              <a:t>tellus</a:t>
            </a:r>
            <a:r>
              <a:rPr lang="en-US" sz="1400" dirty="0"/>
              <a:t> ac </a:t>
            </a:r>
            <a:r>
              <a:rPr lang="en-US" sz="1400" dirty="0" err="1"/>
              <a:t>bibendum</a:t>
            </a:r>
            <a:r>
              <a:rPr lang="en-US" sz="1400" dirty="0"/>
              <a:t>. Sed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lacus</a:t>
            </a:r>
            <a:r>
              <a:rPr lang="en-US" sz="1400" dirty="0"/>
              <a:t> vitae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finibus</a:t>
            </a:r>
            <a:r>
              <a:rPr lang="en-US" sz="1400" dirty="0"/>
              <a:t>,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nisi </a:t>
            </a:r>
            <a:r>
              <a:rPr lang="en-US" sz="1400" dirty="0" err="1"/>
              <a:t>ullamcorper</a:t>
            </a:r>
            <a:r>
              <a:rPr lang="en-US" sz="1400" dirty="0"/>
              <a:t>. </a:t>
            </a:r>
            <a:r>
              <a:rPr lang="en-US" sz="1400" dirty="0" err="1"/>
              <a:t>Quisque</a:t>
            </a:r>
            <a:r>
              <a:rPr lang="en-US" sz="1400" dirty="0"/>
              <a:t> </a:t>
            </a:r>
            <a:r>
              <a:rPr lang="en-US" sz="1400" dirty="0" err="1"/>
              <a:t>volutpat</a:t>
            </a:r>
            <a:r>
              <a:rPr lang="en-US" sz="1400" dirty="0"/>
              <a:t> </a:t>
            </a:r>
            <a:r>
              <a:rPr lang="en-US" sz="1400" dirty="0" err="1"/>
              <a:t>leo</a:t>
            </a:r>
            <a:r>
              <a:rPr lang="en-US" sz="1400" dirty="0"/>
              <a:t> at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placerat</a:t>
            </a:r>
            <a:r>
              <a:rPr lang="en-US" sz="1400" dirty="0"/>
              <a:t>,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”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4A29DD3-039C-4BE4-AAD0-5F407F0AFC6C}"/>
              </a:ext>
            </a:extLst>
          </p:cNvPr>
          <p:cNvSpPr/>
          <p:nvPr/>
        </p:nvSpPr>
        <p:spPr>
          <a:xfrm>
            <a:off x="6509975" y="3016506"/>
            <a:ext cx="4920960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1400" dirty="0"/>
              <a:t>“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Duis </a:t>
            </a:r>
            <a:r>
              <a:rPr lang="en-US" sz="1400" dirty="0" err="1"/>
              <a:t>suscipit</a:t>
            </a:r>
            <a:r>
              <a:rPr lang="en-US" sz="1400" dirty="0"/>
              <a:t> in </a:t>
            </a:r>
            <a:r>
              <a:rPr lang="en-US" sz="1400" dirty="0" err="1"/>
              <a:t>tellus</a:t>
            </a:r>
            <a:r>
              <a:rPr lang="en-US" sz="1400" dirty="0"/>
              <a:t> ac </a:t>
            </a:r>
            <a:r>
              <a:rPr lang="en-US" sz="1400" dirty="0" err="1"/>
              <a:t>bibendum</a:t>
            </a:r>
            <a:r>
              <a:rPr lang="en-US" sz="1400" dirty="0"/>
              <a:t>. Sed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lacus</a:t>
            </a:r>
            <a:r>
              <a:rPr lang="en-US" sz="1400" dirty="0"/>
              <a:t> vitae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finibus</a:t>
            </a:r>
            <a:r>
              <a:rPr lang="en-US" sz="1400" dirty="0"/>
              <a:t>,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nisi </a:t>
            </a:r>
            <a:r>
              <a:rPr lang="en-US" sz="1400" dirty="0" err="1"/>
              <a:t>ullamcorper</a:t>
            </a:r>
            <a:r>
              <a:rPr lang="en-US" sz="1400" dirty="0"/>
              <a:t>. </a:t>
            </a:r>
            <a:r>
              <a:rPr lang="en-US" sz="1400" dirty="0" err="1"/>
              <a:t>Quisque</a:t>
            </a:r>
            <a:r>
              <a:rPr lang="en-US" sz="1400" dirty="0"/>
              <a:t> </a:t>
            </a:r>
            <a:r>
              <a:rPr lang="en-US" sz="1400" dirty="0" err="1"/>
              <a:t>volutpat</a:t>
            </a:r>
            <a:r>
              <a:rPr lang="en-US" sz="1400" dirty="0"/>
              <a:t> </a:t>
            </a:r>
            <a:r>
              <a:rPr lang="en-US" sz="1400" dirty="0" err="1"/>
              <a:t>leo</a:t>
            </a:r>
            <a:r>
              <a:rPr lang="en-US" sz="1400" dirty="0"/>
              <a:t> at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placerat</a:t>
            </a:r>
            <a:r>
              <a:rPr lang="en-US" sz="1400" dirty="0"/>
              <a:t>,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”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6C34C8B-E8FC-43D6-BC84-94E6ED512605}"/>
              </a:ext>
            </a:extLst>
          </p:cNvPr>
          <p:cNvSpPr/>
          <p:nvPr/>
        </p:nvSpPr>
        <p:spPr>
          <a:xfrm>
            <a:off x="761064" y="4164190"/>
            <a:ext cx="4920960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1400" dirty="0"/>
              <a:t>“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Duis </a:t>
            </a:r>
            <a:r>
              <a:rPr lang="en-US" sz="1400" dirty="0" err="1"/>
              <a:t>suscipit</a:t>
            </a:r>
            <a:r>
              <a:rPr lang="en-US" sz="1400" dirty="0"/>
              <a:t> in </a:t>
            </a:r>
            <a:r>
              <a:rPr lang="en-US" sz="1400" dirty="0" err="1"/>
              <a:t>tellus</a:t>
            </a:r>
            <a:r>
              <a:rPr lang="en-US" sz="1400" dirty="0"/>
              <a:t> ac </a:t>
            </a:r>
            <a:r>
              <a:rPr lang="en-US" sz="1400" dirty="0" err="1"/>
              <a:t>bibendum</a:t>
            </a:r>
            <a:r>
              <a:rPr lang="en-US" sz="1400" dirty="0"/>
              <a:t>. Sed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lacus</a:t>
            </a:r>
            <a:r>
              <a:rPr lang="en-US" sz="1400" dirty="0"/>
              <a:t> vitae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finibus</a:t>
            </a:r>
            <a:r>
              <a:rPr lang="en-US" sz="1400" dirty="0"/>
              <a:t>,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nisi </a:t>
            </a:r>
            <a:r>
              <a:rPr lang="en-US" sz="1400" dirty="0" err="1"/>
              <a:t>ullamcorper</a:t>
            </a:r>
            <a:r>
              <a:rPr lang="en-US" sz="1400" dirty="0"/>
              <a:t>. </a:t>
            </a:r>
            <a:r>
              <a:rPr lang="en-US" sz="1400" dirty="0" err="1"/>
              <a:t>Quisque</a:t>
            </a:r>
            <a:r>
              <a:rPr lang="en-US" sz="1400" dirty="0"/>
              <a:t> </a:t>
            </a:r>
            <a:r>
              <a:rPr lang="en-US" sz="1400" dirty="0" err="1"/>
              <a:t>volutpat</a:t>
            </a:r>
            <a:r>
              <a:rPr lang="en-US" sz="1400" dirty="0"/>
              <a:t> </a:t>
            </a:r>
            <a:r>
              <a:rPr lang="en-US" sz="1400" dirty="0" err="1"/>
              <a:t>leo</a:t>
            </a:r>
            <a:r>
              <a:rPr lang="en-US" sz="1400" dirty="0"/>
              <a:t> at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placerat</a:t>
            </a:r>
            <a:r>
              <a:rPr lang="en-US" sz="1400" dirty="0"/>
              <a:t>,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”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11FD564-B6DC-4508-82F9-52548EFFFADE}"/>
              </a:ext>
            </a:extLst>
          </p:cNvPr>
          <p:cNvSpPr/>
          <p:nvPr/>
        </p:nvSpPr>
        <p:spPr>
          <a:xfrm>
            <a:off x="6509975" y="4164190"/>
            <a:ext cx="4920960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US" sz="1400" dirty="0"/>
              <a:t>“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Duis </a:t>
            </a:r>
            <a:r>
              <a:rPr lang="en-US" sz="1400" dirty="0" err="1"/>
              <a:t>suscipit</a:t>
            </a:r>
            <a:r>
              <a:rPr lang="en-US" sz="1400" dirty="0"/>
              <a:t> in </a:t>
            </a:r>
            <a:r>
              <a:rPr lang="en-US" sz="1400" dirty="0" err="1"/>
              <a:t>tellus</a:t>
            </a:r>
            <a:r>
              <a:rPr lang="en-US" sz="1400" dirty="0"/>
              <a:t> ac </a:t>
            </a:r>
            <a:r>
              <a:rPr lang="en-US" sz="1400" dirty="0" err="1"/>
              <a:t>bibendum</a:t>
            </a:r>
            <a:r>
              <a:rPr lang="en-US" sz="1400" dirty="0"/>
              <a:t>. Sed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lacus</a:t>
            </a:r>
            <a:r>
              <a:rPr lang="en-US" sz="1400" dirty="0"/>
              <a:t> vitae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finibus</a:t>
            </a:r>
            <a:r>
              <a:rPr lang="en-US" sz="1400" dirty="0"/>
              <a:t>,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nisi </a:t>
            </a:r>
            <a:r>
              <a:rPr lang="en-US" sz="1400" dirty="0" err="1"/>
              <a:t>ullamcorper</a:t>
            </a:r>
            <a:r>
              <a:rPr lang="en-US" sz="1400" dirty="0"/>
              <a:t>. </a:t>
            </a:r>
            <a:r>
              <a:rPr lang="en-US" sz="1400" dirty="0" err="1"/>
              <a:t>Quisque</a:t>
            </a:r>
            <a:r>
              <a:rPr lang="en-US" sz="1400" dirty="0"/>
              <a:t> </a:t>
            </a:r>
            <a:r>
              <a:rPr lang="en-US" sz="1400" dirty="0" err="1"/>
              <a:t>volutpat</a:t>
            </a:r>
            <a:r>
              <a:rPr lang="en-US" sz="1400" dirty="0"/>
              <a:t> </a:t>
            </a:r>
            <a:r>
              <a:rPr lang="en-US" sz="1400" dirty="0" err="1"/>
              <a:t>leo</a:t>
            </a:r>
            <a:r>
              <a:rPr lang="en-US" sz="1400" dirty="0"/>
              <a:t> at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placerat</a:t>
            </a:r>
            <a:r>
              <a:rPr lang="en-US" sz="1400" dirty="0"/>
              <a:t>,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19841965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AADD15-EF19-4140-88C7-FA18D3670B4A}"/>
              </a:ext>
            </a:extLst>
          </p:cNvPr>
          <p:cNvSpPr txBox="1"/>
          <p:nvPr/>
        </p:nvSpPr>
        <p:spPr>
          <a:xfrm>
            <a:off x="431800" y="191214"/>
            <a:ext cx="113284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tx2"/>
                </a:solidFill>
                <a:latin typeface="+mj-lt"/>
              </a:rPr>
              <a:t>TAB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903D880-2121-4AF1-AB91-4DE7F5B28CF3}"/>
              </a:ext>
            </a:extLst>
          </p:cNvPr>
          <p:cNvGrpSpPr/>
          <p:nvPr/>
        </p:nvGrpSpPr>
        <p:grpSpPr>
          <a:xfrm>
            <a:off x="5319855" y="6478321"/>
            <a:ext cx="1552291" cy="121183"/>
            <a:chOff x="4665436" y="4689691"/>
            <a:chExt cx="2415114" cy="1211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C7BF908-FDDB-4BF7-BD98-0F1BBFA71B88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1F27A12-06B2-470B-96A1-37F027DD98F8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17E5F7-A895-4DA2-9E2E-33870877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A22ABB57-F0EC-4286-B1AC-36841ACD99BD}" type="datetime1">
              <a:rPr lang="en-US" smtClean="0"/>
              <a:t>4/7/2024</a:t>
            </a:fld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389C8-B2EE-4FCB-A752-D81FA604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794E2DD-4F38-4D2A-97E5-5D7467AA1DEC}" type="slidenum">
              <a:rPr lang="en-US" smtClean="0"/>
              <a:t>18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5F943F5-B9EA-45E3-B9F7-739692EFC431}"/>
              </a:ext>
            </a:extLst>
          </p:cNvPr>
          <p:cNvGraphicFramePr>
            <a:graphicFrameLocks noGrp="1"/>
          </p:cNvGraphicFramePr>
          <p:nvPr/>
        </p:nvGraphicFramePr>
        <p:xfrm>
          <a:off x="431800" y="2133600"/>
          <a:ext cx="11328400" cy="40004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2840">
                  <a:extLst>
                    <a:ext uri="{9D8B030D-6E8A-4147-A177-3AD203B41FA5}">
                      <a16:colId xmlns:a16="http://schemas.microsoft.com/office/drawing/2014/main" val="1064767228"/>
                    </a:ext>
                  </a:extLst>
                </a:gridCol>
                <a:gridCol w="1132840">
                  <a:extLst>
                    <a:ext uri="{9D8B030D-6E8A-4147-A177-3AD203B41FA5}">
                      <a16:colId xmlns:a16="http://schemas.microsoft.com/office/drawing/2014/main" val="2110247153"/>
                    </a:ext>
                  </a:extLst>
                </a:gridCol>
                <a:gridCol w="1132840">
                  <a:extLst>
                    <a:ext uri="{9D8B030D-6E8A-4147-A177-3AD203B41FA5}">
                      <a16:colId xmlns:a16="http://schemas.microsoft.com/office/drawing/2014/main" val="1671774837"/>
                    </a:ext>
                  </a:extLst>
                </a:gridCol>
                <a:gridCol w="1132840">
                  <a:extLst>
                    <a:ext uri="{9D8B030D-6E8A-4147-A177-3AD203B41FA5}">
                      <a16:colId xmlns:a16="http://schemas.microsoft.com/office/drawing/2014/main" val="1042921663"/>
                    </a:ext>
                  </a:extLst>
                </a:gridCol>
                <a:gridCol w="1132840">
                  <a:extLst>
                    <a:ext uri="{9D8B030D-6E8A-4147-A177-3AD203B41FA5}">
                      <a16:colId xmlns:a16="http://schemas.microsoft.com/office/drawing/2014/main" val="1140046485"/>
                    </a:ext>
                  </a:extLst>
                </a:gridCol>
                <a:gridCol w="1132840">
                  <a:extLst>
                    <a:ext uri="{9D8B030D-6E8A-4147-A177-3AD203B41FA5}">
                      <a16:colId xmlns:a16="http://schemas.microsoft.com/office/drawing/2014/main" val="1773304150"/>
                    </a:ext>
                  </a:extLst>
                </a:gridCol>
                <a:gridCol w="1132840">
                  <a:extLst>
                    <a:ext uri="{9D8B030D-6E8A-4147-A177-3AD203B41FA5}">
                      <a16:colId xmlns:a16="http://schemas.microsoft.com/office/drawing/2014/main" val="1528819555"/>
                    </a:ext>
                  </a:extLst>
                </a:gridCol>
                <a:gridCol w="1132840">
                  <a:extLst>
                    <a:ext uri="{9D8B030D-6E8A-4147-A177-3AD203B41FA5}">
                      <a16:colId xmlns:a16="http://schemas.microsoft.com/office/drawing/2014/main" val="3985123976"/>
                    </a:ext>
                  </a:extLst>
                </a:gridCol>
                <a:gridCol w="1132840">
                  <a:extLst>
                    <a:ext uri="{9D8B030D-6E8A-4147-A177-3AD203B41FA5}">
                      <a16:colId xmlns:a16="http://schemas.microsoft.com/office/drawing/2014/main" val="1999644776"/>
                    </a:ext>
                  </a:extLst>
                </a:gridCol>
                <a:gridCol w="1132840">
                  <a:extLst>
                    <a:ext uri="{9D8B030D-6E8A-4147-A177-3AD203B41FA5}">
                      <a16:colId xmlns:a16="http://schemas.microsoft.com/office/drawing/2014/main" val="1607982248"/>
                    </a:ext>
                  </a:extLst>
                </a:gridCol>
              </a:tblGrid>
              <a:tr h="50006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6711411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672463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2303603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257650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3268816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237457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0174924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256183"/>
                  </a:ext>
                </a:extLst>
              </a:tr>
            </a:tbl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48CDDA7A-1EA4-4FF9-B8E2-D6F99A41E2A9}"/>
              </a:ext>
            </a:extLst>
          </p:cNvPr>
          <p:cNvSpPr/>
          <p:nvPr/>
        </p:nvSpPr>
        <p:spPr>
          <a:xfrm>
            <a:off x="839788" y="1208573"/>
            <a:ext cx="10512425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400" dirty="0"/>
              <a:t>“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Duis </a:t>
            </a:r>
            <a:r>
              <a:rPr lang="en-US" sz="1400" dirty="0" err="1"/>
              <a:t>suscipit</a:t>
            </a:r>
            <a:r>
              <a:rPr lang="en-US" sz="1400" dirty="0"/>
              <a:t> in </a:t>
            </a:r>
            <a:r>
              <a:rPr lang="en-US" sz="1400" dirty="0" err="1"/>
              <a:t>tellus</a:t>
            </a:r>
            <a:r>
              <a:rPr lang="en-US" sz="1400" dirty="0"/>
              <a:t> ac </a:t>
            </a:r>
            <a:r>
              <a:rPr lang="en-US" sz="1400" dirty="0" err="1"/>
              <a:t>bibendum</a:t>
            </a:r>
            <a:r>
              <a:rPr lang="en-US" sz="1400" dirty="0"/>
              <a:t>. Sed </a:t>
            </a:r>
            <a:r>
              <a:rPr lang="en-US" sz="1400" dirty="0" err="1"/>
              <a:t>congue</a:t>
            </a:r>
            <a:r>
              <a:rPr lang="en-US" sz="1400" dirty="0"/>
              <a:t> </a:t>
            </a:r>
            <a:r>
              <a:rPr lang="en-US" sz="1400" dirty="0" err="1"/>
              <a:t>lacus</a:t>
            </a:r>
            <a:r>
              <a:rPr lang="en-US" sz="1400" dirty="0"/>
              <a:t> vitae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finibus</a:t>
            </a:r>
            <a:r>
              <a:rPr lang="en-US" sz="1400" dirty="0"/>
              <a:t>,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faucibus</a:t>
            </a:r>
            <a:r>
              <a:rPr lang="en-US" sz="1400" dirty="0"/>
              <a:t> nisi </a:t>
            </a:r>
            <a:r>
              <a:rPr lang="en-US" sz="1400" dirty="0" err="1"/>
              <a:t>ullamcorper</a:t>
            </a:r>
            <a:r>
              <a:rPr lang="en-US" sz="1400" dirty="0"/>
              <a:t>. </a:t>
            </a:r>
            <a:r>
              <a:rPr lang="en-US" sz="1400" dirty="0" err="1"/>
              <a:t>Quisque</a:t>
            </a:r>
            <a:r>
              <a:rPr lang="en-US" sz="1400" dirty="0"/>
              <a:t> </a:t>
            </a:r>
            <a:r>
              <a:rPr lang="en-US" sz="1400" dirty="0" err="1"/>
              <a:t>volutpat</a:t>
            </a:r>
            <a:r>
              <a:rPr lang="en-US" sz="1400" dirty="0"/>
              <a:t> </a:t>
            </a:r>
            <a:r>
              <a:rPr lang="en-US" sz="1400" dirty="0" err="1"/>
              <a:t>leo</a:t>
            </a:r>
            <a:r>
              <a:rPr lang="en-US" sz="1400" dirty="0"/>
              <a:t> at </a:t>
            </a:r>
            <a:r>
              <a:rPr lang="en-US" sz="1400" dirty="0" err="1"/>
              <a:t>arcu</a:t>
            </a:r>
            <a:r>
              <a:rPr lang="en-US" sz="1400" dirty="0"/>
              <a:t> </a:t>
            </a:r>
            <a:r>
              <a:rPr lang="en-US" sz="1400" dirty="0" err="1"/>
              <a:t>placerat</a:t>
            </a:r>
            <a:r>
              <a:rPr lang="en-US" sz="1400" dirty="0"/>
              <a:t>,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tellus</a:t>
            </a:r>
            <a:r>
              <a:rPr lang="en-US" sz="1400" dirty="0"/>
              <a:t> </a:t>
            </a:r>
            <a:r>
              <a:rPr lang="en-US" sz="1400" dirty="0" err="1"/>
              <a:t>bibendum</a:t>
            </a:r>
            <a:r>
              <a:rPr lang="en-US" sz="1400" dirty="0"/>
              <a:t>. </a:t>
            </a:r>
            <a:r>
              <a:rPr lang="en-US" sz="1400" dirty="0" err="1"/>
              <a:t>Proin</a:t>
            </a:r>
            <a:r>
              <a:rPr lang="en-US" sz="1400" dirty="0"/>
              <a:t> et </a:t>
            </a:r>
            <a:r>
              <a:rPr lang="en-US" sz="1400" dirty="0" err="1"/>
              <a:t>luctus</a:t>
            </a:r>
            <a:r>
              <a:rPr lang="en-US" sz="1400" dirty="0"/>
              <a:t> </a:t>
            </a:r>
            <a:r>
              <a:rPr lang="en-US" sz="1400" dirty="0" err="1"/>
              <a:t>nisl</a:t>
            </a:r>
            <a:r>
              <a:rPr lang="en-US" sz="1400" dirty="0"/>
              <a:t>,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viverra</a:t>
            </a:r>
            <a:r>
              <a:rPr lang="en-US" sz="1400" dirty="0"/>
              <a:t> </a:t>
            </a:r>
            <a:r>
              <a:rPr lang="en-US" sz="1400" dirty="0" err="1"/>
              <a:t>eros</a:t>
            </a:r>
            <a:r>
              <a:rPr lang="en-US" sz="1400" dirty="0"/>
              <a:t>. </a:t>
            </a:r>
            <a:r>
              <a:rPr lang="en-US" sz="1400" dirty="0" err="1"/>
              <a:t>Suspendisse</a:t>
            </a:r>
            <a:r>
              <a:rPr lang="en-US" sz="1400" dirty="0"/>
              <a:t> pharetra </a:t>
            </a:r>
            <a:r>
              <a:rPr lang="en-US" sz="1400" dirty="0" err="1"/>
              <a:t>mattis</a:t>
            </a:r>
            <a:r>
              <a:rPr lang="en-US" sz="1400" dirty="0"/>
              <a:t> </a:t>
            </a:r>
            <a:r>
              <a:rPr lang="en-US" sz="1400" dirty="0" err="1"/>
              <a:t>purus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semper. </a:t>
            </a:r>
            <a:r>
              <a:rPr lang="en-US" sz="1400" dirty="0" err="1"/>
              <a:t>Donec</a:t>
            </a:r>
            <a:r>
              <a:rPr lang="en-US" sz="1400" dirty="0"/>
              <a:t> </a:t>
            </a:r>
            <a:r>
              <a:rPr lang="en-US" sz="1400" dirty="0" err="1"/>
              <a:t>pellentesque</a:t>
            </a:r>
            <a:r>
              <a:rPr lang="en-US" sz="1400" dirty="0"/>
              <a:t> </a:t>
            </a:r>
            <a:r>
              <a:rPr lang="en-US" sz="1400" dirty="0" err="1"/>
              <a:t>condimentum</a:t>
            </a:r>
            <a:r>
              <a:rPr lang="en-US" sz="1400" dirty="0"/>
              <a:t> </a:t>
            </a:r>
            <a:r>
              <a:rPr lang="en-US" sz="1400" dirty="0" err="1"/>
              <a:t>sapien</a:t>
            </a:r>
            <a:r>
              <a:rPr lang="en-US" sz="1400" dirty="0"/>
              <a:t> </a:t>
            </a:r>
            <a:r>
              <a:rPr lang="en-US" sz="1400" dirty="0" err="1"/>
              <a:t>quis</a:t>
            </a:r>
            <a:r>
              <a:rPr lang="en-US" sz="1400" dirty="0"/>
              <a:t> </a:t>
            </a:r>
            <a:r>
              <a:rPr lang="en-US" sz="1400" dirty="0" err="1"/>
              <a:t>posuere</a:t>
            </a:r>
            <a:r>
              <a:rPr lang="en-US" sz="1400" dirty="0"/>
              <a:t>.”</a:t>
            </a:r>
          </a:p>
        </p:txBody>
      </p:sp>
      <p:sp>
        <p:nvSpPr>
          <p:cNvPr id="22" name="Freeform 3886">
            <a:extLst>
              <a:ext uri="{FF2B5EF4-FFF2-40B4-BE49-F238E27FC236}">
                <a16:creationId xmlns:a16="http://schemas.microsoft.com/office/drawing/2014/main" id="{A4B5D34E-1ACF-4953-83BC-C2614A6C2F06}"/>
              </a:ext>
            </a:extLst>
          </p:cNvPr>
          <p:cNvSpPr>
            <a:spLocks noEditPoints="1"/>
          </p:cNvSpPr>
          <p:nvPr/>
        </p:nvSpPr>
        <p:spPr bwMode="auto">
          <a:xfrm>
            <a:off x="845745" y="2238682"/>
            <a:ext cx="287338" cy="285750"/>
          </a:xfrm>
          <a:custGeom>
            <a:avLst/>
            <a:gdLst>
              <a:gd name="T0" fmla="*/ 268 w 902"/>
              <a:gd name="T1" fmla="*/ 575 h 901"/>
              <a:gd name="T2" fmla="*/ 207 w 902"/>
              <a:gd name="T3" fmla="*/ 555 h 901"/>
              <a:gd name="T4" fmla="*/ 155 w 902"/>
              <a:gd name="T5" fmla="*/ 520 h 901"/>
              <a:gd name="T6" fmla="*/ 112 w 902"/>
              <a:gd name="T7" fmla="*/ 475 h 901"/>
              <a:gd name="T8" fmla="*/ 81 w 902"/>
              <a:gd name="T9" fmla="*/ 422 h 901"/>
              <a:gd name="T10" fmla="*/ 64 w 902"/>
              <a:gd name="T11" fmla="*/ 360 h 901"/>
              <a:gd name="T12" fmla="*/ 61 w 902"/>
              <a:gd name="T13" fmla="*/ 294 h 901"/>
              <a:gd name="T14" fmla="*/ 76 w 902"/>
              <a:gd name="T15" fmla="*/ 231 h 901"/>
              <a:gd name="T16" fmla="*/ 104 w 902"/>
              <a:gd name="T17" fmla="*/ 175 h 901"/>
              <a:gd name="T18" fmla="*/ 145 w 902"/>
              <a:gd name="T19" fmla="*/ 128 h 901"/>
              <a:gd name="T20" fmla="*/ 197 w 902"/>
              <a:gd name="T21" fmla="*/ 92 h 901"/>
              <a:gd name="T22" fmla="*/ 256 w 902"/>
              <a:gd name="T23" fmla="*/ 69 h 901"/>
              <a:gd name="T24" fmla="*/ 320 w 902"/>
              <a:gd name="T25" fmla="*/ 60 h 901"/>
              <a:gd name="T26" fmla="*/ 385 w 902"/>
              <a:gd name="T27" fmla="*/ 69 h 901"/>
              <a:gd name="T28" fmla="*/ 444 w 902"/>
              <a:gd name="T29" fmla="*/ 92 h 901"/>
              <a:gd name="T30" fmla="*/ 495 w 902"/>
              <a:gd name="T31" fmla="*/ 128 h 901"/>
              <a:gd name="T32" fmla="*/ 537 w 902"/>
              <a:gd name="T33" fmla="*/ 175 h 901"/>
              <a:gd name="T34" fmla="*/ 564 w 902"/>
              <a:gd name="T35" fmla="*/ 231 h 901"/>
              <a:gd name="T36" fmla="*/ 579 w 902"/>
              <a:gd name="T37" fmla="*/ 294 h 901"/>
              <a:gd name="T38" fmla="*/ 577 w 902"/>
              <a:gd name="T39" fmla="*/ 360 h 901"/>
              <a:gd name="T40" fmla="*/ 560 w 902"/>
              <a:gd name="T41" fmla="*/ 422 h 901"/>
              <a:gd name="T42" fmla="*/ 529 w 902"/>
              <a:gd name="T43" fmla="*/ 475 h 901"/>
              <a:gd name="T44" fmla="*/ 486 w 902"/>
              <a:gd name="T45" fmla="*/ 520 h 901"/>
              <a:gd name="T46" fmla="*/ 432 w 902"/>
              <a:gd name="T47" fmla="*/ 555 h 901"/>
              <a:gd name="T48" fmla="*/ 372 w 902"/>
              <a:gd name="T49" fmla="*/ 575 h 901"/>
              <a:gd name="T50" fmla="*/ 320 w 902"/>
              <a:gd name="T51" fmla="*/ 580 h 901"/>
              <a:gd name="T52" fmla="*/ 591 w 902"/>
              <a:gd name="T53" fmla="*/ 491 h 901"/>
              <a:gd name="T54" fmla="*/ 621 w 902"/>
              <a:gd name="T55" fmla="*/ 430 h 901"/>
              <a:gd name="T56" fmla="*/ 637 w 902"/>
              <a:gd name="T57" fmla="*/ 363 h 901"/>
              <a:gd name="T58" fmla="*/ 638 w 902"/>
              <a:gd name="T59" fmla="*/ 288 h 901"/>
              <a:gd name="T60" fmla="*/ 621 w 902"/>
              <a:gd name="T61" fmla="*/ 211 h 901"/>
              <a:gd name="T62" fmla="*/ 586 w 902"/>
              <a:gd name="T63" fmla="*/ 142 h 901"/>
              <a:gd name="T64" fmla="*/ 535 w 902"/>
              <a:gd name="T65" fmla="*/ 83 h 901"/>
              <a:gd name="T66" fmla="*/ 473 w 902"/>
              <a:gd name="T67" fmla="*/ 39 h 901"/>
              <a:gd name="T68" fmla="*/ 400 w 902"/>
              <a:gd name="T69" fmla="*/ 10 h 901"/>
              <a:gd name="T70" fmla="*/ 320 w 902"/>
              <a:gd name="T71" fmla="*/ 0 h 901"/>
              <a:gd name="T72" fmla="*/ 241 w 902"/>
              <a:gd name="T73" fmla="*/ 10 h 901"/>
              <a:gd name="T74" fmla="*/ 168 w 902"/>
              <a:gd name="T75" fmla="*/ 39 h 901"/>
              <a:gd name="T76" fmla="*/ 105 w 902"/>
              <a:gd name="T77" fmla="*/ 83 h 901"/>
              <a:gd name="T78" fmla="*/ 55 w 902"/>
              <a:gd name="T79" fmla="*/ 142 h 901"/>
              <a:gd name="T80" fmla="*/ 20 w 902"/>
              <a:gd name="T81" fmla="*/ 211 h 901"/>
              <a:gd name="T82" fmla="*/ 1 w 902"/>
              <a:gd name="T83" fmla="*/ 288 h 901"/>
              <a:gd name="T84" fmla="*/ 3 w 902"/>
              <a:gd name="T85" fmla="*/ 369 h 901"/>
              <a:gd name="T86" fmla="*/ 25 w 902"/>
              <a:gd name="T87" fmla="*/ 445 h 901"/>
              <a:gd name="T88" fmla="*/ 64 w 902"/>
              <a:gd name="T89" fmla="*/ 512 h 901"/>
              <a:gd name="T90" fmla="*/ 117 w 902"/>
              <a:gd name="T91" fmla="*/ 568 h 901"/>
              <a:gd name="T92" fmla="*/ 182 w 902"/>
              <a:gd name="T93" fmla="*/ 608 h 901"/>
              <a:gd name="T94" fmla="*/ 256 w 902"/>
              <a:gd name="T95" fmla="*/ 634 h 901"/>
              <a:gd name="T96" fmla="*/ 335 w 902"/>
              <a:gd name="T97" fmla="*/ 641 h 901"/>
              <a:gd name="T98" fmla="*/ 405 w 902"/>
              <a:gd name="T99" fmla="*/ 630 h 901"/>
              <a:gd name="T100" fmla="*/ 468 w 902"/>
              <a:gd name="T101" fmla="*/ 604 h 901"/>
              <a:gd name="T102" fmla="*/ 525 w 902"/>
              <a:gd name="T103" fmla="*/ 567 h 901"/>
              <a:gd name="T104" fmla="*/ 871 w 902"/>
              <a:gd name="T105" fmla="*/ 901 h 901"/>
              <a:gd name="T106" fmla="*/ 897 w 902"/>
              <a:gd name="T107" fmla="*/ 888 h 901"/>
              <a:gd name="T108" fmla="*/ 899 w 902"/>
              <a:gd name="T109" fmla="*/ 86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2" h="901">
                <a:moveTo>
                  <a:pt x="320" y="580"/>
                </a:moveTo>
                <a:lnTo>
                  <a:pt x="307" y="580"/>
                </a:lnTo>
                <a:lnTo>
                  <a:pt x="294" y="579"/>
                </a:lnTo>
                <a:lnTo>
                  <a:pt x="281" y="577"/>
                </a:lnTo>
                <a:lnTo>
                  <a:pt x="268" y="575"/>
                </a:lnTo>
                <a:lnTo>
                  <a:pt x="256" y="572"/>
                </a:lnTo>
                <a:lnTo>
                  <a:pt x="243" y="569"/>
                </a:lnTo>
                <a:lnTo>
                  <a:pt x="231" y="564"/>
                </a:lnTo>
                <a:lnTo>
                  <a:pt x="219" y="560"/>
                </a:lnTo>
                <a:lnTo>
                  <a:pt x="207" y="555"/>
                </a:lnTo>
                <a:lnTo>
                  <a:pt x="197" y="549"/>
                </a:lnTo>
                <a:lnTo>
                  <a:pt x="186" y="543"/>
                </a:lnTo>
                <a:lnTo>
                  <a:pt x="175" y="535"/>
                </a:lnTo>
                <a:lnTo>
                  <a:pt x="164" y="529"/>
                </a:lnTo>
                <a:lnTo>
                  <a:pt x="155" y="520"/>
                </a:lnTo>
                <a:lnTo>
                  <a:pt x="145" y="513"/>
                </a:lnTo>
                <a:lnTo>
                  <a:pt x="136" y="504"/>
                </a:lnTo>
                <a:lnTo>
                  <a:pt x="128" y="495"/>
                </a:lnTo>
                <a:lnTo>
                  <a:pt x="119" y="486"/>
                </a:lnTo>
                <a:lnTo>
                  <a:pt x="112" y="475"/>
                </a:lnTo>
                <a:lnTo>
                  <a:pt x="104" y="466"/>
                </a:lnTo>
                <a:lnTo>
                  <a:pt x="98" y="455"/>
                </a:lnTo>
                <a:lnTo>
                  <a:pt x="91" y="444"/>
                </a:lnTo>
                <a:lnTo>
                  <a:pt x="86" y="432"/>
                </a:lnTo>
                <a:lnTo>
                  <a:pt x="81" y="422"/>
                </a:lnTo>
                <a:lnTo>
                  <a:pt x="76" y="410"/>
                </a:lnTo>
                <a:lnTo>
                  <a:pt x="72" y="397"/>
                </a:lnTo>
                <a:lnTo>
                  <a:pt x="69" y="385"/>
                </a:lnTo>
                <a:lnTo>
                  <a:pt x="66" y="372"/>
                </a:lnTo>
                <a:lnTo>
                  <a:pt x="64" y="360"/>
                </a:lnTo>
                <a:lnTo>
                  <a:pt x="61" y="347"/>
                </a:lnTo>
                <a:lnTo>
                  <a:pt x="60" y="334"/>
                </a:lnTo>
                <a:lnTo>
                  <a:pt x="60" y="320"/>
                </a:lnTo>
                <a:lnTo>
                  <a:pt x="60" y="307"/>
                </a:lnTo>
                <a:lnTo>
                  <a:pt x="61" y="294"/>
                </a:lnTo>
                <a:lnTo>
                  <a:pt x="64" y="281"/>
                </a:lnTo>
                <a:lnTo>
                  <a:pt x="66" y="268"/>
                </a:lnTo>
                <a:lnTo>
                  <a:pt x="69" y="256"/>
                </a:lnTo>
                <a:lnTo>
                  <a:pt x="72" y="243"/>
                </a:lnTo>
                <a:lnTo>
                  <a:pt x="76" y="231"/>
                </a:lnTo>
                <a:lnTo>
                  <a:pt x="81" y="219"/>
                </a:lnTo>
                <a:lnTo>
                  <a:pt x="86" y="207"/>
                </a:lnTo>
                <a:lnTo>
                  <a:pt x="91" y="197"/>
                </a:lnTo>
                <a:lnTo>
                  <a:pt x="98" y="186"/>
                </a:lnTo>
                <a:lnTo>
                  <a:pt x="104" y="175"/>
                </a:lnTo>
                <a:lnTo>
                  <a:pt x="112" y="164"/>
                </a:lnTo>
                <a:lnTo>
                  <a:pt x="119" y="155"/>
                </a:lnTo>
                <a:lnTo>
                  <a:pt x="128" y="145"/>
                </a:lnTo>
                <a:lnTo>
                  <a:pt x="136" y="137"/>
                </a:lnTo>
                <a:lnTo>
                  <a:pt x="145" y="128"/>
                </a:lnTo>
                <a:lnTo>
                  <a:pt x="155" y="119"/>
                </a:lnTo>
                <a:lnTo>
                  <a:pt x="164" y="112"/>
                </a:lnTo>
                <a:lnTo>
                  <a:pt x="175" y="104"/>
                </a:lnTo>
                <a:lnTo>
                  <a:pt x="186" y="98"/>
                </a:lnTo>
                <a:lnTo>
                  <a:pt x="197" y="92"/>
                </a:lnTo>
                <a:lnTo>
                  <a:pt x="207" y="86"/>
                </a:lnTo>
                <a:lnTo>
                  <a:pt x="219" y="81"/>
                </a:lnTo>
                <a:lnTo>
                  <a:pt x="231" y="77"/>
                </a:lnTo>
                <a:lnTo>
                  <a:pt x="243" y="72"/>
                </a:lnTo>
                <a:lnTo>
                  <a:pt x="256" y="69"/>
                </a:lnTo>
                <a:lnTo>
                  <a:pt x="268" y="66"/>
                </a:lnTo>
                <a:lnTo>
                  <a:pt x="281" y="64"/>
                </a:lnTo>
                <a:lnTo>
                  <a:pt x="294" y="61"/>
                </a:lnTo>
                <a:lnTo>
                  <a:pt x="307" y="60"/>
                </a:lnTo>
                <a:lnTo>
                  <a:pt x="320" y="60"/>
                </a:lnTo>
                <a:lnTo>
                  <a:pt x="334" y="60"/>
                </a:lnTo>
                <a:lnTo>
                  <a:pt x="347" y="61"/>
                </a:lnTo>
                <a:lnTo>
                  <a:pt x="360" y="64"/>
                </a:lnTo>
                <a:lnTo>
                  <a:pt x="372" y="66"/>
                </a:lnTo>
                <a:lnTo>
                  <a:pt x="385" y="69"/>
                </a:lnTo>
                <a:lnTo>
                  <a:pt x="397" y="72"/>
                </a:lnTo>
                <a:lnTo>
                  <a:pt x="410" y="77"/>
                </a:lnTo>
                <a:lnTo>
                  <a:pt x="422" y="81"/>
                </a:lnTo>
                <a:lnTo>
                  <a:pt x="432" y="86"/>
                </a:lnTo>
                <a:lnTo>
                  <a:pt x="444" y="92"/>
                </a:lnTo>
                <a:lnTo>
                  <a:pt x="455" y="98"/>
                </a:lnTo>
                <a:lnTo>
                  <a:pt x="466" y="104"/>
                </a:lnTo>
                <a:lnTo>
                  <a:pt x="475" y="112"/>
                </a:lnTo>
                <a:lnTo>
                  <a:pt x="486" y="119"/>
                </a:lnTo>
                <a:lnTo>
                  <a:pt x="495" y="128"/>
                </a:lnTo>
                <a:lnTo>
                  <a:pt x="504" y="137"/>
                </a:lnTo>
                <a:lnTo>
                  <a:pt x="513" y="145"/>
                </a:lnTo>
                <a:lnTo>
                  <a:pt x="522" y="155"/>
                </a:lnTo>
                <a:lnTo>
                  <a:pt x="529" y="164"/>
                </a:lnTo>
                <a:lnTo>
                  <a:pt x="537" y="175"/>
                </a:lnTo>
                <a:lnTo>
                  <a:pt x="543" y="186"/>
                </a:lnTo>
                <a:lnTo>
                  <a:pt x="549" y="197"/>
                </a:lnTo>
                <a:lnTo>
                  <a:pt x="555" y="207"/>
                </a:lnTo>
                <a:lnTo>
                  <a:pt x="560" y="219"/>
                </a:lnTo>
                <a:lnTo>
                  <a:pt x="564" y="231"/>
                </a:lnTo>
                <a:lnTo>
                  <a:pt x="569" y="243"/>
                </a:lnTo>
                <a:lnTo>
                  <a:pt x="572" y="256"/>
                </a:lnTo>
                <a:lnTo>
                  <a:pt x="575" y="268"/>
                </a:lnTo>
                <a:lnTo>
                  <a:pt x="577" y="281"/>
                </a:lnTo>
                <a:lnTo>
                  <a:pt x="579" y="294"/>
                </a:lnTo>
                <a:lnTo>
                  <a:pt x="580" y="307"/>
                </a:lnTo>
                <a:lnTo>
                  <a:pt x="580" y="320"/>
                </a:lnTo>
                <a:lnTo>
                  <a:pt x="580" y="334"/>
                </a:lnTo>
                <a:lnTo>
                  <a:pt x="579" y="347"/>
                </a:lnTo>
                <a:lnTo>
                  <a:pt x="577" y="360"/>
                </a:lnTo>
                <a:lnTo>
                  <a:pt x="575" y="372"/>
                </a:lnTo>
                <a:lnTo>
                  <a:pt x="572" y="385"/>
                </a:lnTo>
                <a:lnTo>
                  <a:pt x="569" y="397"/>
                </a:lnTo>
                <a:lnTo>
                  <a:pt x="564" y="410"/>
                </a:lnTo>
                <a:lnTo>
                  <a:pt x="560" y="422"/>
                </a:lnTo>
                <a:lnTo>
                  <a:pt x="555" y="432"/>
                </a:lnTo>
                <a:lnTo>
                  <a:pt x="549" y="444"/>
                </a:lnTo>
                <a:lnTo>
                  <a:pt x="543" y="455"/>
                </a:lnTo>
                <a:lnTo>
                  <a:pt x="537" y="466"/>
                </a:lnTo>
                <a:lnTo>
                  <a:pt x="529" y="475"/>
                </a:lnTo>
                <a:lnTo>
                  <a:pt x="522" y="486"/>
                </a:lnTo>
                <a:lnTo>
                  <a:pt x="513" y="495"/>
                </a:lnTo>
                <a:lnTo>
                  <a:pt x="504" y="504"/>
                </a:lnTo>
                <a:lnTo>
                  <a:pt x="495" y="513"/>
                </a:lnTo>
                <a:lnTo>
                  <a:pt x="486" y="520"/>
                </a:lnTo>
                <a:lnTo>
                  <a:pt x="475" y="529"/>
                </a:lnTo>
                <a:lnTo>
                  <a:pt x="466" y="535"/>
                </a:lnTo>
                <a:lnTo>
                  <a:pt x="455" y="543"/>
                </a:lnTo>
                <a:lnTo>
                  <a:pt x="444" y="549"/>
                </a:lnTo>
                <a:lnTo>
                  <a:pt x="432" y="555"/>
                </a:lnTo>
                <a:lnTo>
                  <a:pt x="422" y="560"/>
                </a:lnTo>
                <a:lnTo>
                  <a:pt x="410" y="564"/>
                </a:lnTo>
                <a:lnTo>
                  <a:pt x="397" y="569"/>
                </a:lnTo>
                <a:lnTo>
                  <a:pt x="385" y="572"/>
                </a:lnTo>
                <a:lnTo>
                  <a:pt x="372" y="575"/>
                </a:lnTo>
                <a:lnTo>
                  <a:pt x="360" y="577"/>
                </a:lnTo>
                <a:lnTo>
                  <a:pt x="347" y="579"/>
                </a:lnTo>
                <a:lnTo>
                  <a:pt x="334" y="580"/>
                </a:lnTo>
                <a:lnTo>
                  <a:pt x="320" y="580"/>
                </a:lnTo>
                <a:lnTo>
                  <a:pt x="320" y="580"/>
                </a:lnTo>
                <a:close/>
                <a:moveTo>
                  <a:pt x="893" y="851"/>
                </a:moveTo>
                <a:lnTo>
                  <a:pt x="567" y="525"/>
                </a:lnTo>
                <a:lnTo>
                  <a:pt x="575" y="514"/>
                </a:lnTo>
                <a:lnTo>
                  <a:pt x="584" y="503"/>
                </a:lnTo>
                <a:lnTo>
                  <a:pt x="591" y="491"/>
                </a:lnTo>
                <a:lnTo>
                  <a:pt x="598" y="480"/>
                </a:lnTo>
                <a:lnTo>
                  <a:pt x="604" y="468"/>
                </a:lnTo>
                <a:lnTo>
                  <a:pt x="611" y="456"/>
                </a:lnTo>
                <a:lnTo>
                  <a:pt x="616" y="443"/>
                </a:lnTo>
                <a:lnTo>
                  <a:pt x="621" y="430"/>
                </a:lnTo>
                <a:lnTo>
                  <a:pt x="626" y="417"/>
                </a:lnTo>
                <a:lnTo>
                  <a:pt x="630" y="405"/>
                </a:lnTo>
                <a:lnTo>
                  <a:pt x="633" y="391"/>
                </a:lnTo>
                <a:lnTo>
                  <a:pt x="635" y="377"/>
                </a:lnTo>
                <a:lnTo>
                  <a:pt x="637" y="363"/>
                </a:lnTo>
                <a:lnTo>
                  <a:pt x="639" y="349"/>
                </a:lnTo>
                <a:lnTo>
                  <a:pt x="641" y="335"/>
                </a:lnTo>
                <a:lnTo>
                  <a:pt x="641" y="320"/>
                </a:lnTo>
                <a:lnTo>
                  <a:pt x="641" y="304"/>
                </a:lnTo>
                <a:lnTo>
                  <a:pt x="638" y="288"/>
                </a:lnTo>
                <a:lnTo>
                  <a:pt x="637" y="272"/>
                </a:lnTo>
                <a:lnTo>
                  <a:pt x="634" y="256"/>
                </a:lnTo>
                <a:lnTo>
                  <a:pt x="631" y="241"/>
                </a:lnTo>
                <a:lnTo>
                  <a:pt x="627" y="226"/>
                </a:lnTo>
                <a:lnTo>
                  <a:pt x="621" y="211"/>
                </a:lnTo>
                <a:lnTo>
                  <a:pt x="616" y="196"/>
                </a:lnTo>
                <a:lnTo>
                  <a:pt x="609" y="182"/>
                </a:lnTo>
                <a:lnTo>
                  <a:pt x="602" y="168"/>
                </a:lnTo>
                <a:lnTo>
                  <a:pt x="594" y="155"/>
                </a:lnTo>
                <a:lnTo>
                  <a:pt x="586" y="142"/>
                </a:lnTo>
                <a:lnTo>
                  <a:pt x="577" y="129"/>
                </a:lnTo>
                <a:lnTo>
                  <a:pt x="568" y="117"/>
                </a:lnTo>
                <a:lnTo>
                  <a:pt x="557" y="105"/>
                </a:lnTo>
                <a:lnTo>
                  <a:pt x="546" y="94"/>
                </a:lnTo>
                <a:lnTo>
                  <a:pt x="535" y="83"/>
                </a:lnTo>
                <a:lnTo>
                  <a:pt x="524" y="73"/>
                </a:lnTo>
                <a:lnTo>
                  <a:pt x="512" y="64"/>
                </a:lnTo>
                <a:lnTo>
                  <a:pt x="499" y="55"/>
                </a:lnTo>
                <a:lnTo>
                  <a:pt x="486" y="46"/>
                </a:lnTo>
                <a:lnTo>
                  <a:pt x="473" y="39"/>
                </a:lnTo>
                <a:lnTo>
                  <a:pt x="459" y="31"/>
                </a:lnTo>
                <a:lnTo>
                  <a:pt x="445" y="25"/>
                </a:lnTo>
                <a:lnTo>
                  <a:pt x="430" y="20"/>
                </a:lnTo>
                <a:lnTo>
                  <a:pt x="415" y="14"/>
                </a:lnTo>
                <a:lnTo>
                  <a:pt x="400" y="10"/>
                </a:lnTo>
                <a:lnTo>
                  <a:pt x="385" y="7"/>
                </a:lnTo>
                <a:lnTo>
                  <a:pt x="369" y="4"/>
                </a:lnTo>
                <a:lnTo>
                  <a:pt x="353" y="1"/>
                </a:lnTo>
                <a:lnTo>
                  <a:pt x="337" y="0"/>
                </a:lnTo>
                <a:lnTo>
                  <a:pt x="320" y="0"/>
                </a:lnTo>
                <a:lnTo>
                  <a:pt x="304" y="0"/>
                </a:lnTo>
                <a:lnTo>
                  <a:pt x="288" y="1"/>
                </a:lnTo>
                <a:lnTo>
                  <a:pt x="272" y="4"/>
                </a:lnTo>
                <a:lnTo>
                  <a:pt x="256" y="7"/>
                </a:lnTo>
                <a:lnTo>
                  <a:pt x="241" y="10"/>
                </a:lnTo>
                <a:lnTo>
                  <a:pt x="225" y="14"/>
                </a:lnTo>
                <a:lnTo>
                  <a:pt x="210" y="20"/>
                </a:lnTo>
                <a:lnTo>
                  <a:pt x="195" y="25"/>
                </a:lnTo>
                <a:lnTo>
                  <a:pt x="182" y="31"/>
                </a:lnTo>
                <a:lnTo>
                  <a:pt x="168" y="39"/>
                </a:lnTo>
                <a:lnTo>
                  <a:pt x="155" y="46"/>
                </a:lnTo>
                <a:lnTo>
                  <a:pt x="142" y="55"/>
                </a:lnTo>
                <a:lnTo>
                  <a:pt x="129" y="64"/>
                </a:lnTo>
                <a:lnTo>
                  <a:pt x="117" y="73"/>
                </a:lnTo>
                <a:lnTo>
                  <a:pt x="105" y="83"/>
                </a:lnTo>
                <a:lnTo>
                  <a:pt x="94" y="94"/>
                </a:lnTo>
                <a:lnTo>
                  <a:pt x="84" y="105"/>
                </a:lnTo>
                <a:lnTo>
                  <a:pt x="73" y="117"/>
                </a:lnTo>
                <a:lnTo>
                  <a:pt x="64" y="129"/>
                </a:lnTo>
                <a:lnTo>
                  <a:pt x="55" y="142"/>
                </a:lnTo>
                <a:lnTo>
                  <a:pt x="46" y="155"/>
                </a:lnTo>
                <a:lnTo>
                  <a:pt x="39" y="168"/>
                </a:lnTo>
                <a:lnTo>
                  <a:pt x="31" y="182"/>
                </a:lnTo>
                <a:lnTo>
                  <a:pt x="25" y="196"/>
                </a:lnTo>
                <a:lnTo>
                  <a:pt x="20" y="211"/>
                </a:lnTo>
                <a:lnTo>
                  <a:pt x="14" y="226"/>
                </a:lnTo>
                <a:lnTo>
                  <a:pt x="10" y="241"/>
                </a:lnTo>
                <a:lnTo>
                  <a:pt x="7" y="256"/>
                </a:lnTo>
                <a:lnTo>
                  <a:pt x="3" y="272"/>
                </a:lnTo>
                <a:lnTo>
                  <a:pt x="1" y="288"/>
                </a:lnTo>
                <a:lnTo>
                  <a:pt x="0" y="304"/>
                </a:lnTo>
                <a:lnTo>
                  <a:pt x="0" y="320"/>
                </a:lnTo>
                <a:lnTo>
                  <a:pt x="0" y="337"/>
                </a:lnTo>
                <a:lnTo>
                  <a:pt x="1" y="353"/>
                </a:lnTo>
                <a:lnTo>
                  <a:pt x="3" y="369"/>
                </a:lnTo>
                <a:lnTo>
                  <a:pt x="7" y="385"/>
                </a:lnTo>
                <a:lnTo>
                  <a:pt x="10" y="400"/>
                </a:lnTo>
                <a:lnTo>
                  <a:pt x="14" y="415"/>
                </a:lnTo>
                <a:lnTo>
                  <a:pt x="20" y="430"/>
                </a:lnTo>
                <a:lnTo>
                  <a:pt x="25" y="445"/>
                </a:lnTo>
                <a:lnTo>
                  <a:pt x="31" y="459"/>
                </a:lnTo>
                <a:lnTo>
                  <a:pt x="39" y="473"/>
                </a:lnTo>
                <a:lnTo>
                  <a:pt x="46" y="486"/>
                </a:lnTo>
                <a:lnTo>
                  <a:pt x="55" y="499"/>
                </a:lnTo>
                <a:lnTo>
                  <a:pt x="64" y="512"/>
                </a:lnTo>
                <a:lnTo>
                  <a:pt x="73" y="524"/>
                </a:lnTo>
                <a:lnTo>
                  <a:pt x="84" y="535"/>
                </a:lnTo>
                <a:lnTo>
                  <a:pt x="94" y="546"/>
                </a:lnTo>
                <a:lnTo>
                  <a:pt x="105" y="557"/>
                </a:lnTo>
                <a:lnTo>
                  <a:pt x="117" y="568"/>
                </a:lnTo>
                <a:lnTo>
                  <a:pt x="129" y="577"/>
                </a:lnTo>
                <a:lnTo>
                  <a:pt x="142" y="586"/>
                </a:lnTo>
                <a:lnTo>
                  <a:pt x="155" y="594"/>
                </a:lnTo>
                <a:lnTo>
                  <a:pt x="168" y="602"/>
                </a:lnTo>
                <a:lnTo>
                  <a:pt x="182" y="608"/>
                </a:lnTo>
                <a:lnTo>
                  <a:pt x="195" y="615"/>
                </a:lnTo>
                <a:lnTo>
                  <a:pt x="210" y="621"/>
                </a:lnTo>
                <a:lnTo>
                  <a:pt x="225" y="627"/>
                </a:lnTo>
                <a:lnTo>
                  <a:pt x="241" y="631"/>
                </a:lnTo>
                <a:lnTo>
                  <a:pt x="256" y="634"/>
                </a:lnTo>
                <a:lnTo>
                  <a:pt x="272" y="637"/>
                </a:lnTo>
                <a:lnTo>
                  <a:pt x="288" y="638"/>
                </a:lnTo>
                <a:lnTo>
                  <a:pt x="304" y="641"/>
                </a:lnTo>
                <a:lnTo>
                  <a:pt x="320" y="641"/>
                </a:lnTo>
                <a:lnTo>
                  <a:pt x="335" y="641"/>
                </a:lnTo>
                <a:lnTo>
                  <a:pt x="349" y="639"/>
                </a:lnTo>
                <a:lnTo>
                  <a:pt x="363" y="637"/>
                </a:lnTo>
                <a:lnTo>
                  <a:pt x="377" y="635"/>
                </a:lnTo>
                <a:lnTo>
                  <a:pt x="391" y="633"/>
                </a:lnTo>
                <a:lnTo>
                  <a:pt x="405" y="630"/>
                </a:lnTo>
                <a:lnTo>
                  <a:pt x="417" y="625"/>
                </a:lnTo>
                <a:lnTo>
                  <a:pt x="430" y="621"/>
                </a:lnTo>
                <a:lnTo>
                  <a:pt x="443" y="616"/>
                </a:lnTo>
                <a:lnTo>
                  <a:pt x="456" y="610"/>
                </a:lnTo>
                <a:lnTo>
                  <a:pt x="468" y="604"/>
                </a:lnTo>
                <a:lnTo>
                  <a:pt x="480" y="598"/>
                </a:lnTo>
                <a:lnTo>
                  <a:pt x="491" y="591"/>
                </a:lnTo>
                <a:lnTo>
                  <a:pt x="503" y="584"/>
                </a:lnTo>
                <a:lnTo>
                  <a:pt x="514" y="575"/>
                </a:lnTo>
                <a:lnTo>
                  <a:pt x="525" y="567"/>
                </a:lnTo>
                <a:lnTo>
                  <a:pt x="851" y="892"/>
                </a:lnTo>
                <a:lnTo>
                  <a:pt x="855" y="897"/>
                </a:lnTo>
                <a:lnTo>
                  <a:pt x="860" y="899"/>
                </a:lnTo>
                <a:lnTo>
                  <a:pt x="866" y="901"/>
                </a:lnTo>
                <a:lnTo>
                  <a:pt x="871" y="901"/>
                </a:lnTo>
                <a:lnTo>
                  <a:pt x="878" y="901"/>
                </a:lnTo>
                <a:lnTo>
                  <a:pt x="883" y="899"/>
                </a:lnTo>
                <a:lnTo>
                  <a:pt x="888" y="897"/>
                </a:lnTo>
                <a:lnTo>
                  <a:pt x="893" y="892"/>
                </a:lnTo>
                <a:lnTo>
                  <a:pt x="897" y="888"/>
                </a:lnTo>
                <a:lnTo>
                  <a:pt x="899" y="883"/>
                </a:lnTo>
                <a:lnTo>
                  <a:pt x="901" y="877"/>
                </a:lnTo>
                <a:lnTo>
                  <a:pt x="902" y="871"/>
                </a:lnTo>
                <a:lnTo>
                  <a:pt x="901" y="866"/>
                </a:lnTo>
                <a:lnTo>
                  <a:pt x="899" y="860"/>
                </a:lnTo>
                <a:lnTo>
                  <a:pt x="897" y="855"/>
                </a:lnTo>
                <a:lnTo>
                  <a:pt x="893" y="8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B161EE9-510B-4E8F-B410-3EBEAED7AC62}"/>
              </a:ext>
            </a:extLst>
          </p:cNvPr>
          <p:cNvGrpSpPr/>
          <p:nvPr/>
        </p:nvGrpSpPr>
        <p:grpSpPr>
          <a:xfrm>
            <a:off x="1989538" y="2238682"/>
            <a:ext cx="287337" cy="285750"/>
            <a:chOff x="7018338" y="4656138"/>
            <a:chExt cx="287337" cy="285750"/>
          </a:xfrm>
          <a:solidFill>
            <a:schemeClr val="bg1"/>
          </a:solidFill>
        </p:grpSpPr>
        <p:sp>
          <p:nvSpPr>
            <p:cNvPr id="24" name="Freeform 4604">
              <a:extLst>
                <a:ext uri="{FF2B5EF4-FFF2-40B4-BE49-F238E27FC236}">
                  <a16:creationId xmlns:a16="http://schemas.microsoft.com/office/drawing/2014/main" id="{766D1147-720F-4ED3-9C3F-2642BC164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8338" y="4656138"/>
              <a:ext cx="230188" cy="285750"/>
            </a:xfrm>
            <a:custGeom>
              <a:avLst/>
              <a:gdLst>
                <a:gd name="T0" fmla="*/ 351 w 723"/>
                <a:gd name="T1" fmla="*/ 416 h 903"/>
                <a:gd name="T2" fmla="*/ 348 w 723"/>
                <a:gd name="T3" fmla="*/ 400 h 903"/>
                <a:gd name="T4" fmla="*/ 362 w 723"/>
                <a:gd name="T5" fmla="*/ 391 h 903"/>
                <a:gd name="T6" fmla="*/ 525 w 723"/>
                <a:gd name="T7" fmla="*/ 398 h 903"/>
                <a:gd name="T8" fmla="*/ 525 w 723"/>
                <a:gd name="T9" fmla="*/ 414 h 903"/>
                <a:gd name="T10" fmla="*/ 513 w 723"/>
                <a:gd name="T11" fmla="*/ 572 h 903"/>
                <a:gd name="T12" fmla="*/ 349 w 723"/>
                <a:gd name="T13" fmla="*/ 565 h 903"/>
                <a:gd name="T14" fmla="*/ 349 w 723"/>
                <a:gd name="T15" fmla="*/ 548 h 903"/>
                <a:gd name="T16" fmla="*/ 513 w 723"/>
                <a:gd name="T17" fmla="*/ 542 h 903"/>
                <a:gd name="T18" fmla="*/ 526 w 723"/>
                <a:gd name="T19" fmla="*/ 551 h 903"/>
                <a:gd name="T20" fmla="*/ 523 w 723"/>
                <a:gd name="T21" fmla="*/ 568 h 903"/>
                <a:gd name="T22" fmla="*/ 362 w 723"/>
                <a:gd name="T23" fmla="*/ 722 h 903"/>
                <a:gd name="T24" fmla="*/ 348 w 723"/>
                <a:gd name="T25" fmla="*/ 713 h 903"/>
                <a:gd name="T26" fmla="*/ 351 w 723"/>
                <a:gd name="T27" fmla="*/ 696 h 903"/>
                <a:gd name="T28" fmla="*/ 515 w 723"/>
                <a:gd name="T29" fmla="*/ 693 h 903"/>
                <a:gd name="T30" fmla="*/ 528 w 723"/>
                <a:gd name="T31" fmla="*/ 704 h 903"/>
                <a:gd name="T32" fmla="*/ 521 w 723"/>
                <a:gd name="T33" fmla="*/ 720 h 903"/>
                <a:gd name="T34" fmla="*/ 232 w 723"/>
                <a:gd name="T35" fmla="*/ 405 h 903"/>
                <a:gd name="T36" fmla="*/ 198 w 723"/>
                <a:gd name="T37" fmla="*/ 381 h 903"/>
                <a:gd name="T38" fmla="*/ 200 w 723"/>
                <a:gd name="T39" fmla="*/ 365 h 903"/>
                <a:gd name="T40" fmla="*/ 217 w 723"/>
                <a:gd name="T41" fmla="*/ 362 h 903"/>
                <a:gd name="T42" fmla="*/ 296 w 723"/>
                <a:gd name="T43" fmla="*/ 302 h 903"/>
                <a:gd name="T44" fmla="*/ 312 w 723"/>
                <a:gd name="T45" fmla="*/ 306 h 903"/>
                <a:gd name="T46" fmla="*/ 315 w 723"/>
                <a:gd name="T47" fmla="*/ 321 h 903"/>
                <a:gd name="T48" fmla="*/ 226 w 723"/>
                <a:gd name="T49" fmla="*/ 556 h 903"/>
                <a:gd name="T50" fmla="*/ 197 w 723"/>
                <a:gd name="T51" fmla="*/ 529 h 903"/>
                <a:gd name="T52" fmla="*/ 203 w 723"/>
                <a:gd name="T53" fmla="*/ 514 h 903"/>
                <a:gd name="T54" fmla="*/ 219 w 723"/>
                <a:gd name="T55" fmla="*/ 514 h 903"/>
                <a:gd name="T56" fmla="*/ 298 w 723"/>
                <a:gd name="T57" fmla="*/ 451 h 903"/>
                <a:gd name="T58" fmla="*/ 314 w 723"/>
                <a:gd name="T59" fmla="*/ 458 h 903"/>
                <a:gd name="T60" fmla="*/ 314 w 723"/>
                <a:gd name="T61" fmla="*/ 475 h 903"/>
                <a:gd name="T62" fmla="*/ 155 w 723"/>
                <a:gd name="T63" fmla="*/ 238 h 903"/>
                <a:gd name="T64" fmla="*/ 208 w 723"/>
                <a:gd name="T65" fmla="*/ 197 h 903"/>
                <a:gd name="T66" fmla="*/ 164 w 723"/>
                <a:gd name="T67" fmla="*/ 236 h 903"/>
                <a:gd name="T68" fmla="*/ 31 w 723"/>
                <a:gd name="T69" fmla="*/ 125 h 903"/>
                <a:gd name="T70" fmla="*/ 53 w 723"/>
                <a:gd name="T71" fmla="*/ 68 h 903"/>
                <a:gd name="T72" fmla="*/ 101 w 723"/>
                <a:gd name="T73" fmla="*/ 35 h 903"/>
                <a:gd name="T74" fmla="*/ 150 w 723"/>
                <a:gd name="T75" fmla="*/ 36 h 903"/>
                <a:gd name="T76" fmla="*/ 210 w 723"/>
                <a:gd name="T77" fmla="*/ 80 h 903"/>
                <a:gd name="T78" fmla="*/ 226 w 723"/>
                <a:gd name="T79" fmla="*/ 143 h 903"/>
                <a:gd name="T80" fmla="*/ 125 w 723"/>
                <a:gd name="T81" fmla="*/ 154 h 903"/>
                <a:gd name="T82" fmla="*/ 136 w 723"/>
                <a:gd name="T83" fmla="*/ 0 h 903"/>
                <a:gd name="T84" fmla="*/ 104 w 723"/>
                <a:gd name="T85" fmla="*/ 2 h 903"/>
                <a:gd name="T86" fmla="*/ 39 w 723"/>
                <a:gd name="T87" fmla="*/ 40 h 903"/>
                <a:gd name="T88" fmla="*/ 4 w 723"/>
                <a:gd name="T89" fmla="*/ 108 h 903"/>
                <a:gd name="T90" fmla="*/ 4 w 723"/>
                <a:gd name="T91" fmla="*/ 625 h 903"/>
                <a:gd name="T92" fmla="*/ 121 w 723"/>
                <a:gd name="T93" fmla="*/ 632 h 903"/>
                <a:gd name="T94" fmla="*/ 128 w 723"/>
                <a:gd name="T95" fmla="*/ 901 h 903"/>
                <a:gd name="T96" fmla="*/ 593 w 723"/>
                <a:gd name="T97" fmla="*/ 902 h 903"/>
                <a:gd name="T98" fmla="*/ 603 w 723"/>
                <a:gd name="T99" fmla="*/ 888 h 903"/>
                <a:gd name="T100" fmla="*/ 660 w 723"/>
                <a:gd name="T101" fmla="*/ 248 h 903"/>
                <a:gd name="T102" fmla="*/ 708 w 723"/>
                <a:gd name="T103" fmla="*/ 194 h 903"/>
                <a:gd name="T104" fmla="*/ 723 w 723"/>
                <a:gd name="T105" fmla="*/ 121 h 903"/>
                <a:gd name="T106" fmla="*/ 691 w 723"/>
                <a:gd name="T107" fmla="*/ 50 h 903"/>
                <a:gd name="T108" fmla="*/ 627 w 723"/>
                <a:gd name="T109" fmla="*/ 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3" h="903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4605">
              <a:extLst>
                <a:ext uri="{FF2B5EF4-FFF2-40B4-BE49-F238E27FC236}">
                  <a16:creationId xmlns:a16="http://schemas.microsoft.com/office/drawing/2014/main" id="{A9FA9132-25D9-4E62-9FFE-1EA891FDF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000" y="4722813"/>
              <a:ext cx="66675" cy="128588"/>
            </a:xfrm>
            <a:custGeom>
              <a:avLst/>
              <a:gdLst>
                <a:gd name="T0" fmla="*/ 123 w 210"/>
                <a:gd name="T1" fmla="*/ 1 h 407"/>
                <a:gd name="T2" fmla="*/ 101 w 210"/>
                <a:gd name="T3" fmla="*/ 8 h 407"/>
                <a:gd name="T4" fmla="*/ 82 w 210"/>
                <a:gd name="T5" fmla="*/ 21 h 407"/>
                <a:gd name="T6" fmla="*/ 67 w 210"/>
                <a:gd name="T7" fmla="*/ 37 h 407"/>
                <a:gd name="T8" fmla="*/ 50 w 210"/>
                <a:gd name="T9" fmla="*/ 47 h 407"/>
                <a:gd name="T10" fmla="*/ 33 w 210"/>
                <a:gd name="T11" fmla="*/ 54 h 407"/>
                <a:gd name="T12" fmla="*/ 23 w 210"/>
                <a:gd name="T13" fmla="*/ 61 h 407"/>
                <a:gd name="T14" fmla="*/ 14 w 210"/>
                <a:gd name="T15" fmla="*/ 70 h 407"/>
                <a:gd name="T16" fmla="*/ 7 w 210"/>
                <a:gd name="T17" fmla="*/ 81 h 407"/>
                <a:gd name="T18" fmla="*/ 2 w 210"/>
                <a:gd name="T19" fmla="*/ 95 h 407"/>
                <a:gd name="T20" fmla="*/ 0 w 210"/>
                <a:gd name="T21" fmla="*/ 110 h 407"/>
                <a:gd name="T22" fmla="*/ 0 w 210"/>
                <a:gd name="T23" fmla="*/ 393 h 407"/>
                <a:gd name="T24" fmla="*/ 1 w 210"/>
                <a:gd name="T25" fmla="*/ 398 h 407"/>
                <a:gd name="T26" fmla="*/ 3 w 210"/>
                <a:gd name="T27" fmla="*/ 403 h 407"/>
                <a:gd name="T28" fmla="*/ 9 w 210"/>
                <a:gd name="T29" fmla="*/ 406 h 407"/>
                <a:gd name="T30" fmla="*/ 14 w 210"/>
                <a:gd name="T31" fmla="*/ 407 h 407"/>
                <a:gd name="T32" fmla="*/ 20 w 210"/>
                <a:gd name="T33" fmla="*/ 406 h 407"/>
                <a:gd name="T34" fmla="*/ 24 w 210"/>
                <a:gd name="T35" fmla="*/ 403 h 407"/>
                <a:gd name="T36" fmla="*/ 28 w 210"/>
                <a:gd name="T37" fmla="*/ 398 h 407"/>
                <a:gd name="T38" fmla="*/ 29 w 210"/>
                <a:gd name="T39" fmla="*/ 393 h 407"/>
                <a:gd name="T40" fmla="*/ 30 w 210"/>
                <a:gd name="T41" fmla="*/ 110 h 407"/>
                <a:gd name="T42" fmla="*/ 35 w 210"/>
                <a:gd name="T43" fmla="*/ 95 h 407"/>
                <a:gd name="T44" fmla="*/ 42 w 210"/>
                <a:gd name="T45" fmla="*/ 84 h 407"/>
                <a:gd name="T46" fmla="*/ 54 w 210"/>
                <a:gd name="T47" fmla="*/ 78 h 407"/>
                <a:gd name="T48" fmla="*/ 59 w 210"/>
                <a:gd name="T49" fmla="*/ 331 h 407"/>
                <a:gd name="T50" fmla="*/ 210 w 210"/>
                <a:gd name="T51" fmla="*/ 60 h 407"/>
                <a:gd name="T52" fmla="*/ 209 w 210"/>
                <a:gd name="T53" fmla="*/ 49 h 407"/>
                <a:gd name="T54" fmla="*/ 203 w 210"/>
                <a:gd name="T55" fmla="*/ 39 h 407"/>
                <a:gd name="T56" fmla="*/ 186 w 210"/>
                <a:gd name="T57" fmla="*/ 20 h 407"/>
                <a:gd name="T58" fmla="*/ 162 w 210"/>
                <a:gd name="T59" fmla="*/ 5 h 407"/>
                <a:gd name="T60" fmla="*/ 149 w 210"/>
                <a:gd name="T61" fmla="*/ 1 h 407"/>
                <a:gd name="T62" fmla="*/ 135 w 210"/>
                <a:gd name="T6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0" h="407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4606">
              <a:extLst>
                <a:ext uri="{FF2B5EF4-FFF2-40B4-BE49-F238E27FC236}">
                  <a16:creationId xmlns:a16="http://schemas.microsoft.com/office/drawing/2014/main" id="{DEBA5E52-2A18-464D-B6B9-BBB986C6B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8050" y="4913313"/>
              <a:ext cx="47625" cy="28575"/>
            </a:xfrm>
            <a:custGeom>
              <a:avLst/>
              <a:gdLst>
                <a:gd name="T0" fmla="*/ 0 w 151"/>
                <a:gd name="T1" fmla="*/ 14 h 90"/>
                <a:gd name="T2" fmla="*/ 0 w 151"/>
                <a:gd name="T3" fmla="*/ 22 h 90"/>
                <a:gd name="T4" fmla="*/ 2 w 151"/>
                <a:gd name="T5" fmla="*/ 29 h 90"/>
                <a:gd name="T6" fmla="*/ 4 w 151"/>
                <a:gd name="T7" fmla="*/ 37 h 90"/>
                <a:gd name="T8" fmla="*/ 6 w 151"/>
                <a:gd name="T9" fmla="*/ 44 h 90"/>
                <a:gd name="T10" fmla="*/ 9 w 151"/>
                <a:gd name="T11" fmla="*/ 50 h 90"/>
                <a:gd name="T12" fmla="*/ 14 w 151"/>
                <a:gd name="T13" fmla="*/ 56 h 90"/>
                <a:gd name="T14" fmla="*/ 18 w 151"/>
                <a:gd name="T15" fmla="*/ 62 h 90"/>
                <a:gd name="T16" fmla="*/ 23 w 151"/>
                <a:gd name="T17" fmla="*/ 67 h 90"/>
                <a:gd name="T18" fmla="*/ 29 w 151"/>
                <a:gd name="T19" fmla="*/ 72 h 90"/>
                <a:gd name="T20" fmla="*/ 34 w 151"/>
                <a:gd name="T21" fmla="*/ 76 h 90"/>
                <a:gd name="T22" fmla="*/ 40 w 151"/>
                <a:gd name="T23" fmla="*/ 81 h 90"/>
                <a:gd name="T24" fmla="*/ 47 w 151"/>
                <a:gd name="T25" fmla="*/ 84 h 90"/>
                <a:gd name="T26" fmla="*/ 54 w 151"/>
                <a:gd name="T27" fmla="*/ 87 h 90"/>
                <a:gd name="T28" fmla="*/ 61 w 151"/>
                <a:gd name="T29" fmla="*/ 89 h 90"/>
                <a:gd name="T30" fmla="*/ 68 w 151"/>
                <a:gd name="T31" fmla="*/ 90 h 90"/>
                <a:gd name="T32" fmla="*/ 76 w 151"/>
                <a:gd name="T33" fmla="*/ 90 h 90"/>
                <a:gd name="T34" fmla="*/ 83 w 151"/>
                <a:gd name="T35" fmla="*/ 90 h 90"/>
                <a:gd name="T36" fmla="*/ 90 w 151"/>
                <a:gd name="T37" fmla="*/ 89 h 90"/>
                <a:gd name="T38" fmla="*/ 96 w 151"/>
                <a:gd name="T39" fmla="*/ 87 h 90"/>
                <a:gd name="T40" fmla="*/ 103 w 151"/>
                <a:gd name="T41" fmla="*/ 83 h 90"/>
                <a:gd name="T42" fmla="*/ 109 w 151"/>
                <a:gd name="T43" fmla="*/ 80 h 90"/>
                <a:gd name="T44" fmla="*/ 116 w 151"/>
                <a:gd name="T45" fmla="*/ 76 h 90"/>
                <a:gd name="T46" fmla="*/ 121 w 151"/>
                <a:gd name="T47" fmla="*/ 71 h 90"/>
                <a:gd name="T48" fmla="*/ 127 w 151"/>
                <a:gd name="T49" fmla="*/ 65 h 90"/>
                <a:gd name="T50" fmla="*/ 131 w 151"/>
                <a:gd name="T51" fmla="*/ 60 h 90"/>
                <a:gd name="T52" fmla="*/ 137 w 151"/>
                <a:gd name="T53" fmla="*/ 53 h 90"/>
                <a:gd name="T54" fmla="*/ 140 w 151"/>
                <a:gd name="T55" fmla="*/ 45 h 90"/>
                <a:gd name="T56" fmla="*/ 144 w 151"/>
                <a:gd name="T57" fmla="*/ 37 h 90"/>
                <a:gd name="T58" fmla="*/ 147 w 151"/>
                <a:gd name="T59" fmla="*/ 29 h 90"/>
                <a:gd name="T60" fmla="*/ 150 w 151"/>
                <a:gd name="T61" fmla="*/ 20 h 90"/>
                <a:gd name="T62" fmla="*/ 151 w 151"/>
                <a:gd name="T63" fmla="*/ 10 h 90"/>
                <a:gd name="T64" fmla="*/ 151 w 151"/>
                <a:gd name="T65" fmla="*/ 0 h 90"/>
                <a:gd name="T66" fmla="*/ 0 w 151"/>
                <a:gd name="T67" fmla="*/ 0 h 90"/>
                <a:gd name="T68" fmla="*/ 0 w 151"/>
                <a:gd name="T6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9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4607">
              <a:extLst>
                <a:ext uri="{FF2B5EF4-FFF2-40B4-BE49-F238E27FC236}">
                  <a16:creationId xmlns:a16="http://schemas.microsoft.com/office/drawing/2014/main" id="{75D3A6BD-90D7-48AA-8358-26E0BF6D2A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8050" y="4837113"/>
              <a:ext cx="47625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BF1247B-C7B2-4A29-A928-742AD580F4D0}"/>
              </a:ext>
            </a:extLst>
          </p:cNvPr>
          <p:cNvGrpSpPr/>
          <p:nvPr/>
        </p:nvGrpSpPr>
        <p:grpSpPr>
          <a:xfrm>
            <a:off x="3133330" y="2252176"/>
            <a:ext cx="287338" cy="258762"/>
            <a:chOff x="879475" y="817563"/>
            <a:chExt cx="287338" cy="258762"/>
          </a:xfrm>
          <a:solidFill>
            <a:schemeClr val="bg1"/>
          </a:solidFill>
        </p:grpSpPr>
        <p:sp>
          <p:nvSpPr>
            <p:cNvPr id="29" name="Freeform 1593">
              <a:extLst>
                <a:ext uri="{FF2B5EF4-FFF2-40B4-BE49-F238E27FC236}">
                  <a16:creationId xmlns:a16="http://schemas.microsoft.com/office/drawing/2014/main" id="{728EACAF-D70A-4CF8-8443-3836DF8B4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475" y="817563"/>
              <a:ext cx="287338" cy="171450"/>
            </a:xfrm>
            <a:custGeom>
              <a:avLst/>
              <a:gdLst>
                <a:gd name="T0" fmla="*/ 829 w 904"/>
                <a:gd name="T1" fmla="*/ 0 h 544"/>
                <a:gd name="T2" fmla="*/ 75 w 904"/>
                <a:gd name="T3" fmla="*/ 0 h 544"/>
                <a:gd name="T4" fmla="*/ 67 w 904"/>
                <a:gd name="T5" fmla="*/ 2 h 544"/>
                <a:gd name="T6" fmla="*/ 59 w 904"/>
                <a:gd name="T7" fmla="*/ 3 h 544"/>
                <a:gd name="T8" fmla="*/ 53 w 904"/>
                <a:gd name="T9" fmla="*/ 4 h 544"/>
                <a:gd name="T10" fmla="*/ 46 w 904"/>
                <a:gd name="T11" fmla="*/ 7 h 544"/>
                <a:gd name="T12" fmla="*/ 40 w 904"/>
                <a:gd name="T13" fmla="*/ 10 h 544"/>
                <a:gd name="T14" fmla="*/ 33 w 904"/>
                <a:gd name="T15" fmla="*/ 14 h 544"/>
                <a:gd name="T16" fmla="*/ 27 w 904"/>
                <a:gd name="T17" fmla="*/ 18 h 544"/>
                <a:gd name="T18" fmla="*/ 22 w 904"/>
                <a:gd name="T19" fmla="*/ 23 h 544"/>
                <a:gd name="T20" fmla="*/ 16 w 904"/>
                <a:gd name="T21" fmla="*/ 28 h 544"/>
                <a:gd name="T22" fmla="*/ 12 w 904"/>
                <a:gd name="T23" fmla="*/ 34 h 544"/>
                <a:gd name="T24" fmla="*/ 9 w 904"/>
                <a:gd name="T25" fmla="*/ 40 h 544"/>
                <a:gd name="T26" fmla="*/ 5 w 904"/>
                <a:gd name="T27" fmla="*/ 47 h 544"/>
                <a:gd name="T28" fmla="*/ 3 w 904"/>
                <a:gd name="T29" fmla="*/ 54 h 544"/>
                <a:gd name="T30" fmla="*/ 1 w 904"/>
                <a:gd name="T31" fmla="*/ 61 h 544"/>
                <a:gd name="T32" fmla="*/ 0 w 904"/>
                <a:gd name="T33" fmla="*/ 69 h 544"/>
                <a:gd name="T34" fmla="*/ 0 w 904"/>
                <a:gd name="T35" fmla="*/ 77 h 544"/>
                <a:gd name="T36" fmla="*/ 0 w 904"/>
                <a:gd name="T37" fmla="*/ 544 h 544"/>
                <a:gd name="T38" fmla="*/ 904 w 904"/>
                <a:gd name="T39" fmla="*/ 544 h 544"/>
                <a:gd name="T40" fmla="*/ 904 w 904"/>
                <a:gd name="T41" fmla="*/ 77 h 544"/>
                <a:gd name="T42" fmla="*/ 904 w 904"/>
                <a:gd name="T43" fmla="*/ 69 h 544"/>
                <a:gd name="T44" fmla="*/ 903 w 904"/>
                <a:gd name="T45" fmla="*/ 61 h 544"/>
                <a:gd name="T46" fmla="*/ 901 w 904"/>
                <a:gd name="T47" fmla="*/ 54 h 544"/>
                <a:gd name="T48" fmla="*/ 899 w 904"/>
                <a:gd name="T49" fmla="*/ 47 h 544"/>
                <a:gd name="T50" fmla="*/ 896 w 904"/>
                <a:gd name="T51" fmla="*/ 40 h 544"/>
                <a:gd name="T52" fmla="*/ 892 w 904"/>
                <a:gd name="T53" fmla="*/ 34 h 544"/>
                <a:gd name="T54" fmla="*/ 888 w 904"/>
                <a:gd name="T55" fmla="*/ 28 h 544"/>
                <a:gd name="T56" fmla="*/ 882 w 904"/>
                <a:gd name="T57" fmla="*/ 23 h 544"/>
                <a:gd name="T58" fmla="*/ 877 w 904"/>
                <a:gd name="T59" fmla="*/ 18 h 544"/>
                <a:gd name="T60" fmla="*/ 871 w 904"/>
                <a:gd name="T61" fmla="*/ 14 h 544"/>
                <a:gd name="T62" fmla="*/ 866 w 904"/>
                <a:gd name="T63" fmla="*/ 10 h 544"/>
                <a:gd name="T64" fmla="*/ 859 w 904"/>
                <a:gd name="T65" fmla="*/ 7 h 544"/>
                <a:gd name="T66" fmla="*/ 851 w 904"/>
                <a:gd name="T67" fmla="*/ 4 h 544"/>
                <a:gd name="T68" fmla="*/ 845 w 904"/>
                <a:gd name="T69" fmla="*/ 3 h 544"/>
                <a:gd name="T70" fmla="*/ 837 w 904"/>
                <a:gd name="T71" fmla="*/ 2 h 544"/>
                <a:gd name="T72" fmla="*/ 829 w 904"/>
                <a:gd name="T73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4" h="544">
                  <a:moveTo>
                    <a:pt x="829" y="0"/>
                  </a:moveTo>
                  <a:lnTo>
                    <a:pt x="75" y="0"/>
                  </a:lnTo>
                  <a:lnTo>
                    <a:pt x="67" y="2"/>
                  </a:lnTo>
                  <a:lnTo>
                    <a:pt x="59" y="3"/>
                  </a:lnTo>
                  <a:lnTo>
                    <a:pt x="53" y="4"/>
                  </a:lnTo>
                  <a:lnTo>
                    <a:pt x="46" y="7"/>
                  </a:lnTo>
                  <a:lnTo>
                    <a:pt x="40" y="10"/>
                  </a:lnTo>
                  <a:lnTo>
                    <a:pt x="33" y="14"/>
                  </a:lnTo>
                  <a:lnTo>
                    <a:pt x="27" y="18"/>
                  </a:lnTo>
                  <a:lnTo>
                    <a:pt x="22" y="23"/>
                  </a:lnTo>
                  <a:lnTo>
                    <a:pt x="16" y="28"/>
                  </a:lnTo>
                  <a:lnTo>
                    <a:pt x="12" y="34"/>
                  </a:lnTo>
                  <a:lnTo>
                    <a:pt x="9" y="40"/>
                  </a:lnTo>
                  <a:lnTo>
                    <a:pt x="5" y="47"/>
                  </a:lnTo>
                  <a:lnTo>
                    <a:pt x="3" y="54"/>
                  </a:lnTo>
                  <a:lnTo>
                    <a:pt x="1" y="61"/>
                  </a:lnTo>
                  <a:lnTo>
                    <a:pt x="0" y="69"/>
                  </a:lnTo>
                  <a:lnTo>
                    <a:pt x="0" y="77"/>
                  </a:lnTo>
                  <a:lnTo>
                    <a:pt x="0" y="544"/>
                  </a:lnTo>
                  <a:lnTo>
                    <a:pt x="904" y="544"/>
                  </a:lnTo>
                  <a:lnTo>
                    <a:pt x="904" y="77"/>
                  </a:lnTo>
                  <a:lnTo>
                    <a:pt x="904" y="69"/>
                  </a:lnTo>
                  <a:lnTo>
                    <a:pt x="903" y="61"/>
                  </a:lnTo>
                  <a:lnTo>
                    <a:pt x="901" y="54"/>
                  </a:lnTo>
                  <a:lnTo>
                    <a:pt x="899" y="47"/>
                  </a:lnTo>
                  <a:lnTo>
                    <a:pt x="896" y="40"/>
                  </a:lnTo>
                  <a:lnTo>
                    <a:pt x="892" y="34"/>
                  </a:lnTo>
                  <a:lnTo>
                    <a:pt x="888" y="28"/>
                  </a:lnTo>
                  <a:lnTo>
                    <a:pt x="882" y="23"/>
                  </a:lnTo>
                  <a:lnTo>
                    <a:pt x="877" y="18"/>
                  </a:lnTo>
                  <a:lnTo>
                    <a:pt x="871" y="14"/>
                  </a:lnTo>
                  <a:lnTo>
                    <a:pt x="866" y="10"/>
                  </a:lnTo>
                  <a:lnTo>
                    <a:pt x="859" y="7"/>
                  </a:lnTo>
                  <a:lnTo>
                    <a:pt x="851" y="4"/>
                  </a:lnTo>
                  <a:lnTo>
                    <a:pt x="845" y="3"/>
                  </a:lnTo>
                  <a:lnTo>
                    <a:pt x="837" y="2"/>
                  </a:lnTo>
                  <a:lnTo>
                    <a:pt x="8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594">
              <a:extLst>
                <a:ext uri="{FF2B5EF4-FFF2-40B4-BE49-F238E27FC236}">
                  <a16:creationId xmlns:a16="http://schemas.microsoft.com/office/drawing/2014/main" id="{9D467738-C936-45B3-861A-27E90DD89F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475" y="1000125"/>
              <a:ext cx="287338" cy="76200"/>
            </a:xfrm>
            <a:custGeom>
              <a:avLst/>
              <a:gdLst>
                <a:gd name="T0" fmla="*/ 459 w 904"/>
                <a:gd name="T1" fmla="*/ 29 h 241"/>
                <a:gd name="T2" fmla="*/ 469 w 904"/>
                <a:gd name="T3" fmla="*/ 35 h 241"/>
                <a:gd name="T4" fmla="*/ 478 w 904"/>
                <a:gd name="T5" fmla="*/ 43 h 241"/>
                <a:gd name="T6" fmla="*/ 482 w 904"/>
                <a:gd name="T7" fmla="*/ 54 h 241"/>
                <a:gd name="T8" fmla="*/ 482 w 904"/>
                <a:gd name="T9" fmla="*/ 66 h 241"/>
                <a:gd name="T10" fmla="*/ 478 w 904"/>
                <a:gd name="T11" fmla="*/ 77 h 241"/>
                <a:gd name="T12" fmla="*/ 469 w 904"/>
                <a:gd name="T13" fmla="*/ 85 h 241"/>
                <a:gd name="T14" fmla="*/ 459 w 904"/>
                <a:gd name="T15" fmla="*/ 89 h 241"/>
                <a:gd name="T16" fmla="*/ 447 w 904"/>
                <a:gd name="T17" fmla="*/ 89 h 241"/>
                <a:gd name="T18" fmla="*/ 436 w 904"/>
                <a:gd name="T19" fmla="*/ 85 h 241"/>
                <a:gd name="T20" fmla="*/ 427 w 904"/>
                <a:gd name="T21" fmla="*/ 77 h 241"/>
                <a:gd name="T22" fmla="*/ 422 w 904"/>
                <a:gd name="T23" fmla="*/ 66 h 241"/>
                <a:gd name="T24" fmla="*/ 422 w 904"/>
                <a:gd name="T25" fmla="*/ 54 h 241"/>
                <a:gd name="T26" fmla="*/ 427 w 904"/>
                <a:gd name="T27" fmla="*/ 43 h 241"/>
                <a:gd name="T28" fmla="*/ 436 w 904"/>
                <a:gd name="T29" fmla="*/ 35 h 241"/>
                <a:gd name="T30" fmla="*/ 447 w 904"/>
                <a:gd name="T31" fmla="*/ 31 h 241"/>
                <a:gd name="T32" fmla="*/ 452 w 904"/>
                <a:gd name="T33" fmla="*/ 29 h 241"/>
                <a:gd name="T34" fmla="*/ 0 w 904"/>
                <a:gd name="T35" fmla="*/ 83 h 241"/>
                <a:gd name="T36" fmla="*/ 3 w 904"/>
                <a:gd name="T37" fmla="*/ 97 h 241"/>
                <a:gd name="T38" fmla="*/ 9 w 904"/>
                <a:gd name="T39" fmla="*/ 110 h 241"/>
                <a:gd name="T40" fmla="*/ 16 w 904"/>
                <a:gd name="T41" fmla="*/ 122 h 241"/>
                <a:gd name="T42" fmla="*/ 27 w 904"/>
                <a:gd name="T43" fmla="*/ 132 h 241"/>
                <a:gd name="T44" fmla="*/ 40 w 904"/>
                <a:gd name="T45" fmla="*/ 141 h 241"/>
                <a:gd name="T46" fmla="*/ 53 w 904"/>
                <a:gd name="T47" fmla="*/ 147 h 241"/>
                <a:gd name="T48" fmla="*/ 67 w 904"/>
                <a:gd name="T49" fmla="*/ 150 h 241"/>
                <a:gd name="T50" fmla="*/ 437 w 904"/>
                <a:gd name="T51" fmla="*/ 150 h 241"/>
                <a:gd name="T52" fmla="*/ 195 w 904"/>
                <a:gd name="T53" fmla="*/ 211 h 241"/>
                <a:gd name="T54" fmla="*/ 190 w 904"/>
                <a:gd name="T55" fmla="*/ 212 h 241"/>
                <a:gd name="T56" fmla="*/ 186 w 904"/>
                <a:gd name="T57" fmla="*/ 215 h 241"/>
                <a:gd name="T58" fmla="*/ 182 w 904"/>
                <a:gd name="T59" fmla="*/ 220 h 241"/>
                <a:gd name="T60" fmla="*/ 181 w 904"/>
                <a:gd name="T61" fmla="*/ 225 h 241"/>
                <a:gd name="T62" fmla="*/ 182 w 904"/>
                <a:gd name="T63" fmla="*/ 232 h 241"/>
                <a:gd name="T64" fmla="*/ 186 w 904"/>
                <a:gd name="T65" fmla="*/ 236 h 241"/>
                <a:gd name="T66" fmla="*/ 190 w 904"/>
                <a:gd name="T67" fmla="*/ 240 h 241"/>
                <a:gd name="T68" fmla="*/ 195 w 904"/>
                <a:gd name="T69" fmla="*/ 241 h 241"/>
                <a:gd name="T70" fmla="*/ 742 w 904"/>
                <a:gd name="T71" fmla="*/ 241 h 241"/>
                <a:gd name="T72" fmla="*/ 747 w 904"/>
                <a:gd name="T73" fmla="*/ 239 h 241"/>
                <a:gd name="T74" fmla="*/ 752 w 904"/>
                <a:gd name="T75" fmla="*/ 234 h 241"/>
                <a:gd name="T76" fmla="*/ 754 w 904"/>
                <a:gd name="T77" fmla="*/ 229 h 241"/>
                <a:gd name="T78" fmla="*/ 754 w 904"/>
                <a:gd name="T79" fmla="*/ 223 h 241"/>
                <a:gd name="T80" fmla="*/ 752 w 904"/>
                <a:gd name="T81" fmla="*/ 218 h 241"/>
                <a:gd name="T82" fmla="*/ 747 w 904"/>
                <a:gd name="T83" fmla="*/ 213 h 241"/>
                <a:gd name="T84" fmla="*/ 742 w 904"/>
                <a:gd name="T85" fmla="*/ 211 h 241"/>
                <a:gd name="T86" fmla="*/ 468 w 904"/>
                <a:gd name="T87" fmla="*/ 211 h 241"/>
                <a:gd name="T88" fmla="*/ 829 w 904"/>
                <a:gd name="T89" fmla="*/ 150 h 241"/>
                <a:gd name="T90" fmla="*/ 845 w 904"/>
                <a:gd name="T91" fmla="*/ 149 h 241"/>
                <a:gd name="T92" fmla="*/ 859 w 904"/>
                <a:gd name="T93" fmla="*/ 145 h 241"/>
                <a:gd name="T94" fmla="*/ 871 w 904"/>
                <a:gd name="T95" fmla="*/ 137 h 241"/>
                <a:gd name="T96" fmla="*/ 882 w 904"/>
                <a:gd name="T97" fmla="*/ 128 h 241"/>
                <a:gd name="T98" fmla="*/ 892 w 904"/>
                <a:gd name="T99" fmla="*/ 117 h 241"/>
                <a:gd name="T100" fmla="*/ 899 w 904"/>
                <a:gd name="T101" fmla="*/ 104 h 241"/>
                <a:gd name="T102" fmla="*/ 903 w 904"/>
                <a:gd name="T103" fmla="*/ 90 h 241"/>
                <a:gd name="T104" fmla="*/ 904 w 904"/>
                <a:gd name="T105" fmla="*/ 75 h 241"/>
                <a:gd name="T106" fmla="*/ 0 w 904"/>
                <a:gd name="T10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4" h="241">
                  <a:moveTo>
                    <a:pt x="452" y="29"/>
                  </a:moveTo>
                  <a:lnTo>
                    <a:pt x="459" y="29"/>
                  </a:lnTo>
                  <a:lnTo>
                    <a:pt x="464" y="32"/>
                  </a:lnTo>
                  <a:lnTo>
                    <a:pt x="469" y="35"/>
                  </a:lnTo>
                  <a:lnTo>
                    <a:pt x="473" y="38"/>
                  </a:lnTo>
                  <a:lnTo>
                    <a:pt x="478" y="43"/>
                  </a:lnTo>
                  <a:lnTo>
                    <a:pt x="480" y="48"/>
                  </a:lnTo>
                  <a:lnTo>
                    <a:pt x="482" y="54"/>
                  </a:lnTo>
                  <a:lnTo>
                    <a:pt x="482" y="59"/>
                  </a:lnTo>
                  <a:lnTo>
                    <a:pt x="482" y="66"/>
                  </a:lnTo>
                  <a:lnTo>
                    <a:pt x="480" y="71"/>
                  </a:lnTo>
                  <a:lnTo>
                    <a:pt x="478" y="77"/>
                  </a:lnTo>
                  <a:lnTo>
                    <a:pt x="473" y="81"/>
                  </a:lnTo>
                  <a:lnTo>
                    <a:pt x="469" y="85"/>
                  </a:lnTo>
                  <a:lnTo>
                    <a:pt x="464" y="87"/>
                  </a:lnTo>
                  <a:lnTo>
                    <a:pt x="459" y="89"/>
                  </a:lnTo>
                  <a:lnTo>
                    <a:pt x="452" y="90"/>
                  </a:lnTo>
                  <a:lnTo>
                    <a:pt x="447" y="89"/>
                  </a:lnTo>
                  <a:lnTo>
                    <a:pt x="440" y="87"/>
                  </a:lnTo>
                  <a:lnTo>
                    <a:pt x="436" y="85"/>
                  </a:lnTo>
                  <a:lnTo>
                    <a:pt x="431" y="81"/>
                  </a:lnTo>
                  <a:lnTo>
                    <a:pt x="427" y="77"/>
                  </a:lnTo>
                  <a:lnTo>
                    <a:pt x="424" y="71"/>
                  </a:lnTo>
                  <a:lnTo>
                    <a:pt x="422" y="66"/>
                  </a:lnTo>
                  <a:lnTo>
                    <a:pt x="422" y="59"/>
                  </a:lnTo>
                  <a:lnTo>
                    <a:pt x="422" y="54"/>
                  </a:lnTo>
                  <a:lnTo>
                    <a:pt x="424" y="48"/>
                  </a:lnTo>
                  <a:lnTo>
                    <a:pt x="427" y="43"/>
                  </a:lnTo>
                  <a:lnTo>
                    <a:pt x="431" y="38"/>
                  </a:lnTo>
                  <a:lnTo>
                    <a:pt x="436" y="35"/>
                  </a:lnTo>
                  <a:lnTo>
                    <a:pt x="440" y="32"/>
                  </a:lnTo>
                  <a:lnTo>
                    <a:pt x="447" y="31"/>
                  </a:lnTo>
                  <a:lnTo>
                    <a:pt x="452" y="29"/>
                  </a:lnTo>
                  <a:lnTo>
                    <a:pt x="452" y="29"/>
                  </a:lnTo>
                  <a:close/>
                  <a:moveTo>
                    <a:pt x="0" y="75"/>
                  </a:moveTo>
                  <a:lnTo>
                    <a:pt x="0" y="83"/>
                  </a:lnTo>
                  <a:lnTo>
                    <a:pt x="1" y="90"/>
                  </a:lnTo>
                  <a:lnTo>
                    <a:pt x="3" y="97"/>
                  </a:lnTo>
                  <a:lnTo>
                    <a:pt x="5" y="104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6" y="122"/>
                  </a:lnTo>
                  <a:lnTo>
                    <a:pt x="22" y="128"/>
                  </a:lnTo>
                  <a:lnTo>
                    <a:pt x="27" y="132"/>
                  </a:lnTo>
                  <a:lnTo>
                    <a:pt x="33" y="137"/>
                  </a:lnTo>
                  <a:lnTo>
                    <a:pt x="40" y="141"/>
                  </a:lnTo>
                  <a:lnTo>
                    <a:pt x="46" y="145"/>
                  </a:lnTo>
                  <a:lnTo>
                    <a:pt x="53" y="147"/>
                  </a:lnTo>
                  <a:lnTo>
                    <a:pt x="59" y="149"/>
                  </a:lnTo>
                  <a:lnTo>
                    <a:pt x="67" y="150"/>
                  </a:lnTo>
                  <a:lnTo>
                    <a:pt x="75" y="150"/>
                  </a:lnTo>
                  <a:lnTo>
                    <a:pt x="437" y="150"/>
                  </a:lnTo>
                  <a:lnTo>
                    <a:pt x="437" y="211"/>
                  </a:lnTo>
                  <a:lnTo>
                    <a:pt x="195" y="211"/>
                  </a:lnTo>
                  <a:lnTo>
                    <a:pt x="192" y="211"/>
                  </a:lnTo>
                  <a:lnTo>
                    <a:pt x="190" y="212"/>
                  </a:lnTo>
                  <a:lnTo>
                    <a:pt x="188" y="213"/>
                  </a:lnTo>
                  <a:lnTo>
                    <a:pt x="186" y="215"/>
                  </a:lnTo>
                  <a:lnTo>
                    <a:pt x="183" y="218"/>
                  </a:lnTo>
                  <a:lnTo>
                    <a:pt x="182" y="220"/>
                  </a:lnTo>
                  <a:lnTo>
                    <a:pt x="181" y="223"/>
                  </a:lnTo>
                  <a:lnTo>
                    <a:pt x="181" y="225"/>
                  </a:lnTo>
                  <a:lnTo>
                    <a:pt x="181" y="229"/>
                  </a:lnTo>
                  <a:lnTo>
                    <a:pt x="182" y="232"/>
                  </a:lnTo>
                  <a:lnTo>
                    <a:pt x="183" y="234"/>
                  </a:lnTo>
                  <a:lnTo>
                    <a:pt x="186" y="236"/>
                  </a:lnTo>
                  <a:lnTo>
                    <a:pt x="188" y="239"/>
                  </a:lnTo>
                  <a:lnTo>
                    <a:pt x="190" y="240"/>
                  </a:lnTo>
                  <a:lnTo>
                    <a:pt x="192" y="241"/>
                  </a:lnTo>
                  <a:lnTo>
                    <a:pt x="195" y="241"/>
                  </a:lnTo>
                  <a:lnTo>
                    <a:pt x="739" y="241"/>
                  </a:lnTo>
                  <a:lnTo>
                    <a:pt x="742" y="241"/>
                  </a:lnTo>
                  <a:lnTo>
                    <a:pt x="745" y="240"/>
                  </a:lnTo>
                  <a:lnTo>
                    <a:pt x="747" y="239"/>
                  </a:lnTo>
                  <a:lnTo>
                    <a:pt x="750" y="236"/>
                  </a:lnTo>
                  <a:lnTo>
                    <a:pt x="752" y="234"/>
                  </a:lnTo>
                  <a:lnTo>
                    <a:pt x="753" y="232"/>
                  </a:lnTo>
                  <a:lnTo>
                    <a:pt x="754" y="229"/>
                  </a:lnTo>
                  <a:lnTo>
                    <a:pt x="754" y="225"/>
                  </a:lnTo>
                  <a:lnTo>
                    <a:pt x="754" y="223"/>
                  </a:lnTo>
                  <a:lnTo>
                    <a:pt x="753" y="220"/>
                  </a:lnTo>
                  <a:lnTo>
                    <a:pt x="752" y="218"/>
                  </a:lnTo>
                  <a:lnTo>
                    <a:pt x="750" y="215"/>
                  </a:lnTo>
                  <a:lnTo>
                    <a:pt x="747" y="213"/>
                  </a:lnTo>
                  <a:lnTo>
                    <a:pt x="745" y="212"/>
                  </a:lnTo>
                  <a:lnTo>
                    <a:pt x="742" y="211"/>
                  </a:lnTo>
                  <a:lnTo>
                    <a:pt x="739" y="211"/>
                  </a:lnTo>
                  <a:lnTo>
                    <a:pt x="468" y="211"/>
                  </a:lnTo>
                  <a:lnTo>
                    <a:pt x="468" y="150"/>
                  </a:lnTo>
                  <a:lnTo>
                    <a:pt x="829" y="150"/>
                  </a:lnTo>
                  <a:lnTo>
                    <a:pt x="837" y="150"/>
                  </a:lnTo>
                  <a:lnTo>
                    <a:pt x="845" y="149"/>
                  </a:lnTo>
                  <a:lnTo>
                    <a:pt x="851" y="147"/>
                  </a:lnTo>
                  <a:lnTo>
                    <a:pt x="859" y="145"/>
                  </a:lnTo>
                  <a:lnTo>
                    <a:pt x="866" y="141"/>
                  </a:lnTo>
                  <a:lnTo>
                    <a:pt x="871" y="137"/>
                  </a:lnTo>
                  <a:lnTo>
                    <a:pt x="877" y="132"/>
                  </a:lnTo>
                  <a:lnTo>
                    <a:pt x="882" y="128"/>
                  </a:lnTo>
                  <a:lnTo>
                    <a:pt x="888" y="122"/>
                  </a:lnTo>
                  <a:lnTo>
                    <a:pt x="892" y="117"/>
                  </a:lnTo>
                  <a:lnTo>
                    <a:pt x="896" y="110"/>
                  </a:lnTo>
                  <a:lnTo>
                    <a:pt x="899" y="104"/>
                  </a:lnTo>
                  <a:lnTo>
                    <a:pt x="901" y="97"/>
                  </a:lnTo>
                  <a:lnTo>
                    <a:pt x="903" y="90"/>
                  </a:lnTo>
                  <a:lnTo>
                    <a:pt x="904" y="83"/>
                  </a:lnTo>
                  <a:lnTo>
                    <a:pt x="904" y="75"/>
                  </a:lnTo>
                  <a:lnTo>
                    <a:pt x="904" y="0"/>
                  </a:lnTo>
                  <a:lnTo>
                    <a:pt x="0" y="0"/>
                  </a:lnTo>
                  <a:lnTo>
                    <a:pt x="0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FCDBB8C-DE5C-4C11-B5BB-5DCAFFCD4117}"/>
              </a:ext>
            </a:extLst>
          </p:cNvPr>
          <p:cNvGrpSpPr/>
          <p:nvPr/>
        </p:nvGrpSpPr>
        <p:grpSpPr>
          <a:xfrm>
            <a:off x="4277123" y="2252176"/>
            <a:ext cx="287338" cy="258762"/>
            <a:chOff x="304800" y="5129213"/>
            <a:chExt cx="287338" cy="258762"/>
          </a:xfrm>
          <a:solidFill>
            <a:schemeClr val="bg1"/>
          </a:solidFill>
        </p:grpSpPr>
        <p:sp>
          <p:nvSpPr>
            <p:cNvPr id="32" name="Freeform 1630">
              <a:extLst>
                <a:ext uri="{FF2B5EF4-FFF2-40B4-BE49-F238E27FC236}">
                  <a16:creationId xmlns:a16="http://schemas.microsoft.com/office/drawing/2014/main" id="{0602E7C7-332F-4E84-8518-7E4F8755F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00" y="5224463"/>
              <a:ext cx="134938" cy="38100"/>
            </a:xfrm>
            <a:custGeom>
              <a:avLst/>
              <a:gdLst>
                <a:gd name="T0" fmla="*/ 176 w 423"/>
                <a:gd name="T1" fmla="*/ 120 h 120"/>
                <a:gd name="T2" fmla="*/ 247 w 423"/>
                <a:gd name="T3" fmla="*/ 120 h 120"/>
                <a:gd name="T4" fmla="*/ 252 w 423"/>
                <a:gd name="T5" fmla="*/ 108 h 120"/>
                <a:gd name="T6" fmla="*/ 260 w 423"/>
                <a:gd name="T7" fmla="*/ 97 h 120"/>
                <a:gd name="T8" fmla="*/ 269 w 423"/>
                <a:gd name="T9" fmla="*/ 86 h 120"/>
                <a:gd name="T10" fmla="*/ 280 w 423"/>
                <a:gd name="T11" fmla="*/ 77 h 120"/>
                <a:gd name="T12" fmla="*/ 291 w 423"/>
                <a:gd name="T13" fmla="*/ 71 h 120"/>
                <a:gd name="T14" fmla="*/ 304 w 423"/>
                <a:gd name="T15" fmla="*/ 65 h 120"/>
                <a:gd name="T16" fmla="*/ 311 w 423"/>
                <a:gd name="T17" fmla="*/ 63 h 120"/>
                <a:gd name="T18" fmla="*/ 318 w 423"/>
                <a:gd name="T19" fmla="*/ 62 h 120"/>
                <a:gd name="T20" fmla="*/ 325 w 423"/>
                <a:gd name="T21" fmla="*/ 61 h 120"/>
                <a:gd name="T22" fmla="*/ 332 w 423"/>
                <a:gd name="T23" fmla="*/ 61 h 120"/>
                <a:gd name="T24" fmla="*/ 423 w 423"/>
                <a:gd name="T25" fmla="*/ 61 h 120"/>
                <a:gd name="T26" fmla="*/ 423 w 423"/>
                <a:gd name="T27" fmla="*/ 31 h 120"/>
                <a:gd name="T28" fmla="*/ 423 w 423"/>
                <a:gd name="T29" fmla="*/ 22 h 120"/>
                <a:gd name="T30" fmla="*/ 420 w 423"/>
                <a:gd name="T31" fmla="*/ 14 h 120"/>
                <a:gd name="T32" fmla="*/ 418 w 423"/>
                <a:gd name="T33" fmla="*/ 8 h 120"/>
                <a:gd name="T34" fmla="*/ 415 w 423"/>
                <a:gd name="T35" fmla="*/ 0 h 120"/>
                <a:gd name="T36" fmla="*/ 363 w 423"/>
                <a:gd name="T37" fmla="*/ 0 h 120"/>
                <a:gd name="T38" fmla="*/ 61 w 423"/>
                <a:gd name="T39" fmla="*/ 0 h 120"/>
                <a:gd name="T40" fmla="*/ 9 w 423"/>
                <a:gd name="T41" fmla="*/ 0 h 120"/>
                <a:gd name="T42" fmla="*/ 6 w 423"/>
                <a:gd name="T43" fmla="*/ 8 h 120"/>
                <a:gd name="T44" fmla="*/ 2 w 423"/>
                <a:gd name="T45" fmla="*/ 14 h 120"/>
                <a:gd name="T46" fmla="*/ 1 w 423"/>
                <a:gd name="T47" fmla="*/ 22 h 120"/>
                <a:gd name="T48" fmla="*/ 0 w 423"/>
                <a:gd name="T49" fmla="*/ 31 h 120"/>
                <a:gd name="T50" fmla="*/ 0 w 423"/>
                <a:gd name="T51" fmla="*/ 61 h 120"/>
                <a:gd name="T52" fmla="*/ 91 w 423"/>
                <a:gd name="T53" fmla="*/ 61 h 120"/>
                <a:gd name="T54" fmla="*/ 99 w 423"/>
                <a:gd name="T55" fmla="*/ 61 h 120"/>
                <a:gd name="T56" fmla="*/ 105 w 423"/>
                <a:gd name="T57" fmla="*/ 62 h 120"/>
                <a:gd name="T58" fmla="*/ 112 w 423"/>
                <a:gd name="T59" fmla="*/ 63 h 120"/>
                <a:gd name="T60" fmla="*/ 120 w 423"/>
                <a:gd name="T61" fmla="*/ 65 h 120"/>
                <a:gd name="T62" fmla="*/ 132 w 423"/>
                <a:gd name="T63" fmla="*/ 71 h 120"/>
                <a:gd name="T64" fmla="*/ 144 w 423"/>
                <a:gd name="T65" fmla="*/ 77 h 120"/>
                <a:gd name="T66" fmla="*/ 154 w 423"/>
                <a:gd name="T67" fmla="*/ 86 h 120"/>
                <a:gd name="T68" fmla="*/ 163 w 423"/>
                <a:gd name="T69" fmla="*/ 97 h 120"/>
                <a:gd name="T70" fmla="*/ 170 w 423"/>
                <a:gd name="T71" fmla="*/ 108 h 120"/>
                <a:gd name="T72" fmla="*/ 176 w 423"/>
                <a:gd name="T7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3" h="120">
                  <a:moveTo>
                    <a:pt x="176" y="120"/>
                  </a:moveTo>
                  <a:lnTo>
                    <a:pt x="247" y="120"/>
                  </a:lnTo>
                  <a:lnTo>
                    <a:pt x="252" y="108"/>
                  </a:lnTo>
                  <a:lnTo>
                    <a:pt x="260" y="97"/>
                  </a:lnTo>
                  <a:lnTo>
                    <a:pt x="269" y="86"/>
                  </a:lnTo>
                  <a:lnTo>
                    <a:pt x="280" y="77"/>
                  </a:lnTo>
                  <a:lnTo>
                    <a:pt x="291" y="71"/>
                  </a:lnTo>
                  <a:lnTo>
                    <a:pt x="304" y="65"/>
                  </a:lnTo>
                  <a:lnTo>
                    <a:pt x="311" y="63"/>
                  </a:lnTo>
                  <a:lnTo>
                    <a:pt x="318" y="62"/>
                  </a:lnTo>
                  <a:lnTo>
                    <a:pt x="325" y="61"/>
                  </a:lnTo>
                  <a:lnTo>
                    <a:pt x="332" y="61"/>
                  </a:lnTo>
                  <a:lnTo>
                    <a:pt x="423" y="61"/>
                  </a:lnTo>
                  <a:lnTo>
                    <a:pt x="423" y="31"/>
                  </a:lnTo>
                  <a:lnTo>
                    <a:pt x="423" y="22"/>
                  </a:lnTo>
                  <a:lnTo>
                    <a:pt x="420" y="14"/>
                  </a:lnTo>
                  <a:lnTo>
                    <a:pt x="418" y="8"/>
                  </a:lnTo>
                  <a:lnTo>
                    <a:pt x="415" y="0"/>
                  </a:lnTo>
                  <a:lnTo>
                    <a:pt x="363" y="0"/>
                  </a:lnTo>
                  <a:lnTo>
                    <a:pt x="61" y="0"/>
                  </a:lnTo>
                  <a:lnTo>
                    <a:pt x="9" y="0"/>
                  </a:lnTo>
                  <a:lnTo>
                    <a:pt x="6" y="8"/>
                  </a:lnTo>
                  <a:lnTo>
                    <a:pt x="2" y="14"/>
                  </a:lnTo>
                  <a:lnTo>
                    <a:pt x="1" y="22"/>
                  </a:lnTo>
                  <a:lnTo>
                    <a:pt x="0" y="31"/>
                  </a:lnTo>
                  <a:lnTo>
                    <a:pt x="0" y="61"/>
                  </a:lnTo>
                  <a:lnTo>
                    <a:pt x="91" y="61"/>
                  </a:lnTo>
                  <a:lnTo>
                    <a:pt x="99" y="61"/>
                  </a:lnTo>
                  <a:lnTo>
                    <a:pt x="105" y="62"/>
                  </a:lnTo>
                  <a:lnTo>
                    <a:pt x="112" y="63"/>
                  </a:lnTo>
                  <a:lnTo>
                    <a:pt x="120" y="65"/>
                  </a:lnTo>
                  <a:lnTo>
                    <a:pt x="132" y="71"/>
                  </a:lnTo>
                  <a:lnTo>
                    <a:pt x="144" y="77"/>
                  </a:lnTo>
                  <a:lnTo>
                    <a:pt x="154" y="86"/>
                  </a:lnTo>
                  <a:lnTo>
                    <a:pt x="163" y="97"/>
                  </a:lnTo>
                  <a:lnTo>
                    <a:pt x="170" y="108"/>
                  </a:lnTo>
                  <a:lnTo>
                    <a:pt x="17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631">
              <a:extLst>
                <a:ext uri="{FF2B5EF4-FFF2-40B4-BE49-F238E27FC236}">
                  <a16:creationId xmlns:a16="http://schemas.microsoft.com/office/drawing/2014/main" id="{9FC6FD2D-D875-44C9-A3A5-06D58C7B2E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525" y="5129213"/>
              <a:ext cx="115888" cy="85725"/>
            </a:xfrm>
            <a:custGeom>
              <a:avLst/>
              <a:gdLst>
                <a:gd name="T0" fmla="*/ 60 w 362"/>
                <a:gd name="T1" fmla="*/ 72 h 271"/>
                <a:gd name="T2" fmla="*/ 62 w 362"/>
                <a:gd name="T3" fmla="*/ 66 h 271"/>
                <a:gd name="T4" fmla="*/ 66 w 362"/>
                <a:gd name="T5" fmla="*/ 62 h 271"/>
                <a:gd name="T6" fmla="*/ 72 w 362"/>
                <a:gd name="T7" fmla="*/ 60 h 271"/>
                <a:gd name="T8" fmla="*/ 287 w 362"/>
                <a:gd name="T9" fmla="*/ 60 h 271"/>
                <a:gd name="T10" fmla="*/ 292 w 362"/>
                <a:gd name="T11" fmla="*/ 61 h 271"/>
                <a:gd name="T12" fmla="*/ 297 w 362"/>
                <a:gd name="T13" fmla="*/ 64 h 271"/>
                <a:gd name="T14" fmla="*/ 300 w 362"/>
                <a:gd name="T15" fmla="*/ 70 h 271"/>
                <a:gd name="T16" fmla="*/ 301 w 362"/>
                <a:gd name="T17" fmla="*/ 75 h 271"/>
                <a:gd name="T18" fmla="*/ 301 w 362"/>
                <a:gd name="T19" fmla="*/ 229 h 271"/>
                <a:gd name="T20" fmla="*/ 299 w 362"/>
                <a:gd name="T21" fmla="*/ 234 h 271"/>
                <a:gd name="T22" fmla="*/ 294 w 362"/>
                <a:gd name="T23" fmla="*/ 239 h 271"/>
                <a:gd name="T24" fmla="*/ 289 w 362"/>
                <a:gd name="T25" fmla="*/ 241 h 271"/>
                <a:gd name="T26" fmla="*/ 75 w 362"/>
                <a:gd name="T27" fmla="*/ 241 h 271"/>
                <a:gd name="T28" fmla="*/ 69 w 362"/>
                <a:gd name="T29" fmla="*/ 240 h 271"/>
                <a:gd name="T30" fmla="*/ 64 w 362"/>
                <a:gd name="T31" fmla="*/ 237 h 271"/>
                <a:gd name="T32" fmla="*/ 61 w 362"/>
                <a:gd name="T33" fmla="*/ 231 h 271"/>
                <a:gd name="T34" fmla="*/ 60 w 362"/>
                <a:gd name="T35" fmla="*/ 226 h 271"/>
                <a:gd name="T36" fmla="*/ 332 w 362"/>
                <a:gd name="T37" fmla="*/ 271 h 271"/>
                <a:gd name="T38" fmla="*/ 362 w 362"/>
                <a:gd name="T39" fmla="*/ 60 h 271"/>
                <a:gd name="T40" fmla="*/ 361 w 362"/>
                <a:gd name="T41" fmla="*/ 47 h 271"/>
                <a:gd name="T42" fmla="*/ 357 w 362"/>
                <a:gd name="T43" fmla="*/ 36 h 271"/>
                <a:gd name="T44" fmla="*/ 352 w 362"/>
                <a:gd name="T45" fmla="*/ 26 h 271"/>
                <a:gd name="T46" fmla="*/ 344 w 362"/>
                <a:gd name="T47" fmla="*/ 18 h 271"/>
                <a:gd name="T48" fmla="*/ 335 w 362"/>
                <a:gd name="T49" fmla="*/ 10 h 271"/>
                <a:gd name="T50" fmla="*/ 325 w 362"/>
                <a:gd name="T51" fmla="*/ 4 h 271"/>
                <a:gd name="T52" fmla="*/ 313 w 362"/>
                <a:gd name="T53" fmla="*/ 1 h 271"/>
                <a:gd name="T54" fmla="*/ 301 w 362"/>
                <a:gd name="T55" fmla="*/ 0 h 271"/>
                <a:gd name="T56" fmla="*/ 54 w 362"/>
                <a:gd name="T57" fmla="*/ 0 h 271"/>
                <a:gd name="T58" fmla="*/ 42 w 362"/>
                <a:gd name="T59" fmla="*/ 2 h 271"/>
                <a:gd name="T60" fmla="*/ 31 w 362"/>
                <a:gd name="T61" fmla="*/ 7 h 271"/>
                <a:gd name="T62" fmla="*/ 21 w 362"/>
                <a:gd name="T63" fmla="*/ 13 h 271"/>
                <a:gd name="T64" fmla="*/ 13 w 362"/>
                <a:gd name="T65" fmla="*/ 21 h 271"/>
                <a:gd name="T66" fmla="*/ 7 w 362"/>
                <a:gd name="T67" fmla="*/ 31 h 271"/>
                <a:gd name="T68" fmla="*/ 2 w 362"/>
                <a:gd name="T69" fmla="*/ 42 h 271"/>
                <a:gd name="T70" fmla="*/ 0 w 362"/>
                <a:gd name="T71" fmla="*/ 54 h 271"/>
                <a:gd name="T72" fmla="*/ 0 w 362"/>
                <a:gd name="T73" fmla="*/ 271 h 271"/>
                <a:gd name="T74" fmla="*/ 332 w 362"/>
                <a:gd name="T75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2" h="271">
                  <a:moveTo>
                    <a:pt x="60" y="75"/>
                  </a:moveTo>
                  <a:lnTo>
                    <a:pt x="60" y="72"/>
                  </a:lnTo>
                  <a:lnTo>
                    <a:pt x="61" y="68"/>
                  </a:lnTo>
                  <a:lnTo>
                    <a:pt x="62" y="66"/>
                  </a:lnTo>
                  <a:lnTo>
                    <a:pt x="64" y="64"/>
                  </a:lnTo>
                  <a:lnTo>
                    <a:pt x="66" y="62"/>
                  </a:lnTo>
                  <a:lnTo>
                    <a:pt x="69" y="61"/>
                  </a:lnTo>
                  <a:lnTo>
                    <a:pt x="72" y="60"/>
                  </a:lnTo>
                  <a:lnTo>
                    <a:pt x="75" y="60"/>
                  </a:lnTo>
                  <a:lnTo>
                    <a:pt x="287" y="60"/>
                  </a:lnTo>
                  <a:lnTo>
                    <a:pt x="289" y="60"/>
                  </a:lnTo>
                  <a:lnTo>
                    <a:pt x="292" y="61"/>
                  </a:lnTo>
                  <a:lnTo>
                    <a:pt x="294" y="62"/>
                  </a:lnTo>
                  <a:lnTo>
                    <a:pt x="297" y="64"/>
                  </a:lnTo>
                  <a:lnTo>
                    <a:pt x="299" y="66"/>
                  </a:lnTo>
                  <a:lnTo>
                    <a:pt x="300" y="70"/>
                  </a:lnTo>
                  <a:lnTo>
                    <a:pt x="301" y="72"/>
                  </a:lnTo>
                  <a:lnTo>
                    <a:pt x="301" y="75"/>
                  </a:lnTo>
                  <a:lnTo>
                    <a:pt x="301" y="226"/>
                  </a:lnTo>
                  <a:lnTo>
                    <a:pt x="301" y="229"/>
                  </a:lnTo>
                  <a:lnTo>
                    <a:pt x="300" y="231"/>
                  </a:lnTo>
                  <a:lnTo>
                    <a:pt x="299" y="234"/>
                  </a:lnTo>
                  <a:lnTo>
                    <a:pt x="297" y="237"/>
                  </a:lnTo>
                  <a:lnTo>
                    <a:pt x="294" y="239"/>
                  </a:lnTo>
                  <a:lnTo>
                    <a:pt x="292" y="240"/>
                  </a:lnTo>
                  <a:lnTo>
                    <a:pt x="289" y="241"/>
                  </a:lnTo>
                  <a:lnTo>
                    <a:pt x="287" y="241"/>
                  </a:lnTo>
                  <a:lnTo>
                    <a:pt x="75" y="241"/>
                  </a:lnTo>
                  <a:lnTo>
                    <a:pt x="72" y="241"/>
                  </a:lnTo>
                  <a:lnTo>
                    <a:pt x="69" y="240"/>
                  </a:lnTo>
                  <a:lnTo>
                    <a:pt x="66" y="239"/>
                  </a:lnTo>
                  <a:lnTo>
                    <a:pt x="64" y="237"/>
                  </a:lnTo>
                  <a:lnTo>
                    <a:pt x="62" y="234"/>
                  </a:lnTo>
                  <a:lnTo>
                    <a:pt x="61" y="231"/>
                  </a:lnTo>
                  <a:lnTo>
                    <a:pt x="60" y="229"/>
                  </a:lnTo>
                  <a:lnTo>
                    <a:pt x="60" y="226"/>
                  </a:lnTo>
                  <a:lnTo>
                    <a:pt x="60" y="75"/>
                  </a:lnTo>
                  <a:close/>
                  <a:moveTo>
                    <a:pt x="332" y="271"/>
                  </a:moveTo>
                  <a:lnTo>
                    <a:pt x="362" y="271"/>
                  </a:lnTo>
                  <a:lnTo>
                    <a:pt x="362" y="60"/>
                  </a:lnTo>
                  <a:lnTo>
                    <a:pt x="362" y="54"/>
                  </a:lnTo>
                  <a:lnTo>
                    <a:pt x="361" y="47"/>
                  </a:lnTo>
                  <a:lnTo>
                    <a:pt x="358" y="42"/>
                  </a:lnTo>
                  <a:lnTo>
                    <a:pt x="357" y="36"/>
                  </a:lnTo>
                  <a:lnTo>
                    <a:pt x="354" y="31"/>
                  </a:lnTo>
                  <a:lnTo>
                    <a:pt x="352" y="26"/>
                  </a:lnTo>
                  <a:lnTo>
                    <a:pt x="347" y="21"/>
                  </a:lnTo>
                  <a:lnTo>
                    <a:pt x="344" y="18"/>
                  </a:lnTo>
                  <a:lnTo>
                    <a:pt x="340" y="13"/>
                  </a:lnTo>
                  <a:lnTo>
                    <a:pt x="335" y="10"/>
                  </a:lnTo>
                  <a:lnTo>
                    <a:pt x="330" y="7"/>
                  </a:lnTo>
                  <a:lnTo>
                    <a:pt x="325" y="4"/>
                  </a:lnTo>
                  <a:lnTo>
                    <a:pt x="320" y="2"/>
                  </a:lnTo>
                  <a:lnTo>
                    <a:pt x="313" y="1"/>
                  </a:lnTo>
                  <a:lnTo>
                    <a:pt x="308" y="0"/>
                  </a:lnTo>
                  <a:lnTo>
                    <a:pt x="301" y="0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2"/>
                  </a:lnTo>
                  <a:lnTo>
                    <a:pt x="37" y="4"/>
                  </a:lnTo>
                  <a:lnTo>
                    <a:pt x="31" y="7"/>
                  </a:lnTo>
                  <a:lnTo>
                    <a:pt x="27" y="10"/>
                  </a:lnTo>
                  <a:lnTo>
                    <a:pt x="21" y="13"/>
                  </a:lnTo>
                  <a:lnTo>
                    <a:pt x="18" y="18"/>
                  </a:lnTo>
                  <a:lnTo>
                    <a:pt x="13" y="21"/>
                  </a:lnTo>
                  <a:lnTo>
                    <a:pt x="10" y="26"/>
                  </a:lnTo>
                  <a:lnTo>
                    <a:pt x="7" y="31"/>
                  </a:lnTo>
                  <a:lnTo>
                    <a:pt x="5" y="36"/>
                  </a:lnTo>
                  <a:lnTo>
                    <a:pt x="2" y="42"/>
                  </a:lnTo>
                  <a:lnTo>
                    <a:pt x="1" y="47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271"/>
                  </a:lnTo>
                  <a:lnTo>
                    <a:pt x="30" y="271"/>
                  </a:lnTo>
                  <a:lnTo>
                    <a:pt x="332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632">
              <a:extLst>
                <a:ext uri="{FF2B5EF4-FFF2-40B4-BE49-F238E27FC236}">
                  <a16:creationId xmlns:a16="http://schemas.microsoft.com/office/drawing/2014/main" id="{1D47AAEE-F35B-4EFE-9D14-D5D1A89EA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00" y="5349875"/>
              <a:ext cx="134938" cy="38100"/>
            </a:xfrm>
            <a:custGeom>
              <a:avLst/>
              <a:gdLst>
                <a:gd name="T0" fmla="*/ 422 w 423"/>
                <a:gd name="T1" fmla="*/ 18 h 121"/>
                <a:gd name="T2" fmla="*/ 422 w 423"/>
                <a:gd name="T3" fmla="*/ 17 h 121"/>
                <a:gd name="T4" fmla="*/ 422 w 423"/>
                <a:gd name="T5" fmla="*/ 17 h 121"/>
                <a:gd name="T6" fmla="*/ 419 w 423"/>
                <a:gd name="T7" fmla="*/ 10 h 121"/>
                <a:gd name="T8" fmla="*/ 417 w 423"/>
                <a:gd name="T9" fmla="*/ 5 h 121"/>
                <a:gd name="T10" fmla="*/ 417 w 423"/>
                <a:gd name="T11" fmla="*/ 4 h 121"/>
                <a:gd name="T12" fmla="*/ 416 w 423"/>
                <a:gd name="T13" fmla="*/ 4 h 121"/>
                <a:gd name="T14" fmla="*/ 415 w 423"/>
                <a:gd name="T15" fmla="*/ 2 h 121"/>
                <a:gd name="T16" fmla="*/ 415 w 423"/>
                <a:gd name="T17" fmla="*/ 0 h 121"/>
                <a:gd name="T18" fmla="*/ 9 w 423"/>
                <a:gd name="T19" fmla="*/ 0 h 121"/>
                <a:gd name="T20" fmla="*/ 8 w 423"/>
                <a:gd name="T21" fmla="*/ 2 h 121"/>
                <a:gd name="T22" fmla="*/ 7 w 423"/>
                <a:gd name="T23" fmla="*/ 4 h 121"/>
                <a:gd name="T24" fmla="*/ 7 w 423"/>
                <a:gd name="T25" fmla="*/ 4 h 121"/>
                <a:gd name="T26" fmla="*/ 7 w 423"/>
                <a:gd name="T27" fmla="*/ 5 h 121"/>
                <a:gd name="T28" fmla="*/ 5 w 423"/>
                <a:gd name="T29" fmla="*/ 10 h 121"/>
                <a:gd name="T30" fmla="*/ 2 w 423"/>
                <a:gd name="T31" fmla="*/ 17 h 121"/>
                <a:gd name="T32" fmla="*/ 2 w 423"/>
                <a:gd name="T33" fmla="*/ 17 h 121"/>
                <a:gd name="T34" fmla="*/ 2 w 423"/>
                <a:gd name="T35" fmla="*/ 18 h 121"/>
                <a:gd name="T36" fmla="*/ 1 w 423"/>
                <a:gd name="T37" fmla="*/ 24 h 121"/>
                <a:gd name="T38" fmla="*/ 0 w 423"/>
                <a:gd name="T39" fmla="*/ 30 h 121"/>
                <a:gd name="T40" fmla="*/ 0 w 423"/>
                <a:gd name="T41" fmla="*/ 107 h 121"/>
                <a:gd name="T42" fmla="*/ 1 w 423"/>
                <a:gd name="T43" fmla="*/ 109 h 121"/>
                <a:gd name="T44" fmla="*/ 2 w 423"/>
                <a:gd name="T45" fmla="*/ 112 h 121"/>
                <a:gd name="T46" fmla="*/ 4 w 423"/>
                <a:gd name="T47" fmla="*/ 114 h 121"/>
                <a:gd name="T48" fmla="*/ 6 w 423"/>
                <a:gd name="T49" fmla="*/ 117 h 121"/>
                <a:gd name="T50" fmla="*/ 8 w 423"/>
                <a:gd name="T51" fmla="*/ 119 h 121"/>
                <a:gd name="T52" fmla="*/ 10 w 423"/>
                <a:gd name="T53" fmla="*/ 120 h 121"/>
                <a:gd name="T54" fmla="*/ 12 w 423"/>
                <a:gd name="T55" fmla="*/ 121 h 121"/>
                <a:gd name="T56" fmla="*/ 16 w 423"/>
                <a:gd name="T57" fmla="*/ 121 h 121"/>
                <a:gd name="T58" fmla="*/ 408 w 423"/>
                <a:gd name="T59" fmla="*/ 121 h 121"/>
                <a:gd name="T60" fmla="*/ 412 w 423"/>
                <a:gd name="T61" fmla="*/ 121 h 121"/>
                <a:gd name="T62" fmla="*/ 414 w 423"/>
                <a:gd name="T63" fmla="*/ 120 h 121"/>
                <a:gd name="T64" fmla="*/ 416 w 423"/>
                <a:gd name="T65" fmla="*/ 119 h 121"/>
                <a:gd name="T66" fmla="*/ 418 w 423"/>
                <a:gd name="T67" fmla="*/ 117 h 121"/>
                <a:gd name="T68" fmla="*/ 421 w 423"/>
                <a:gd name="T69" fmla="*/ 114 h 121"/>
                <a:gd name="T70" fmla="*/ 422 w 423"/>
                <a:gd name="T71" fmla="*/ 112 h 121"/>
                <a:gd name="T72" fmla="*/ 423 w 423"/>
                <a:gd name="T73" fmla="*/ 109 h 121"/>
                <a:gd name="T74" fmla="*/ 423 w 423"/>
                <a:gd name="T75" fmla="*/ 107 h 121"/>
                <a:gd name="T76" fmla="*/ 423 w 423"/>
                <a:gd name="T77" fmla="*/ 30 h 121"/>
                <a:gd name="T78" fmla="*/ 423 w 423"/>
                <a:gd name="T79" fmla="*/ 24 h 121"/>
                <a:gd name="T80" fmla="*/ 422 w 423"/>
                <a:gd name="T81" fmla="*/ 1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3" h="121">
                  <a:moveTo>
                    <a:pt x="422" y="18"/>
                  </a:moveTo>
                  <a:lnTo>
                    <a:pt x="422" y="17"/>
                  </a:lnTo>
                  <a:lnTo>
                    <a:pt x="422" y="17"/>
                  </a:lnTo>
                  <a:lnTo>
                    <a:pt x="419" y="10"/>
                  </a:lnTo>
                  <a:lnTo>
                    <a:pt x="417" y="5"/>
                  </a:lnTo>
                  <a:lnTo>
                    <a:pt x="417" y="4"/>
                  </a:lnTo>
                  <a:lnTo>
                    <a:pt x="416" y="4"/>
                  </a:lnTo>
                  <a:lnTo>
                    <a:pt x="415" y="2"/>
                  </a:lnTo>
                  <a:lnTo>
                    <a:pt x="415" y="0"/>
                  </a:lnTo>
                  <a:lnTo>
                    <a:pt x="9" y="0"/>
                  </a:lnTo>
                  <a:lnTo>
                    <a:pt x="8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5" y="10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0" y="107"/>
                  </a:lnTo>
                  <a:lnTo>
                    <a:pt x="1" y="109"/>
                  </a:lnTo>
                  <a:lnTo>
                    <a:pt x="2" y="112"/>
                  </a:lnTo>
                  <a:lnTo>
                    <a:pt x="4" y="114"/>
                  </a:lnTo>
                  <a:lnTo>
                    <a:pt x="6" y="117"/>
                  </a:lnTo>
                  <a:lnTo>
                    <a:pt x="8" y="119"/>
                  </a:lnTo>
                  <a:lnTo>
                    <a:pt x="10" y="120"/>
                  </a:lnTo>
                  <a:lnTo>
                    <a:pt x="12" y="121"/>
                  </a:lnTo>
                  <a:lnTo>
                    <a:pt x="16" y="121"/>
                  </a:lnTo>
                  <a:lnTo>
                    <a:pt x="408" y="121"/>
                  </a:lnTo>
                  <a:lnTo>
                    <a:pt x="412" y="121"/>
                  </a:lnTo>
                  <a:lnTo>
                    <a:pt x="414" y="120"/>
                  </a:lnTo>
                  <a:lnTo>
                    <a:pt x="416" y="119"/>
                  </a:lnTo>
                  <a:lnTo>
                    <a:pt x="418" y="117"/>
                  </a:lnTo>
                  <a:lnTo>
                    <a:pt x="421" y="114"/>
                  </a:lnTo>
                  <a:lnTo>
                    <a:pt x="422" y="112"/>
                  </a:lnTo>
                  <a:lnTo>
                    <a:pt x="423" y="109"/>
                  </a:lnTo>
                  <a:lnTo>
                    <a:pt x="423" y="107"/>
                  </a:lnTo>
                  <a:lnTo>
                    <a:pt x="423" y="30"/>
                  </a:lnTo>
                  <a:lnTo>
                    <a:pt x="423" y="24"/>
                  </a:lnTo>
                  <a:lnTo>
                    <a:pt x="42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633">
              <a:extLst>
                <a:ext uri="{FF2B5EF4-FFF2-40B4-BE49-F238E27FC236}">
                  <a16:creationId xmlns:a16="http://schemas.microsoft.com/office/drawing/2014/main" id="{BCB7F00C-B871-4498-B593-68E74EE445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313" y="5253038"/>
              <a:ext cx="114300" cy="87313"/>
            </a:xfrm>
            <a:custGeom>
              <a:avLst/>
              <a:gdLst>
                <a:gd name="T0" fmla="*/ 302 w 362"/>
                <a:gd name="T1" fmla="*/ 227 h 273"/>
                <a:gd name="T2" fmla="*/ 301 w 362"/>
                <a:gd name="T3" fmla="*/ 233 h 273"/>
                <a:gd name="T4" fmla="*/ 298 w 362"/>
                <a:gd name="T5" fmla="*/ 237 h 273"/>
                <a:gd name="T6" fmla="*/ 292 w 362"/>
                <a:gd name="T7" fmla="*/ 241 h 273"/>
                <a:gd name="T8" fmla="*/ 287 w 362"/>
                <a:gd name="T9" fmla="*/ 242 h 273"/>
                <a:gd name="T10" fmla="*/ 72 w 362"/>
                <a:gd name="T11" fmla="*/ 242 h 273"/>
                <a:gd name="T12" fmla="*/ 67 w 362"/>
                <a:gd name="T13" fmla="*/ 239 h 273"/>
                <a:gd name="T14" fmla="*/ 63 w 362"/>
                <a:gd name="T15" fmla="*/ 235 h 273"/>
                <a:gd name="T16" fmla="*/ 61 w 362"/>
                <a:gd name="T17" fmla="*/ 231 h 273"/>
                <a:gd name="T18" fmla="*/ 60 w 362"/>
                <a:gd name="T19" fmla="*/ 76 h 273"/>
                <a:gd name="T20" fmla="*/ 61 w 362"/>
                <a:gd name="T21" fmla="*/ 70 h 273"/>
                <a:gd name="T22" fmla="*/ 64 w 362"/>
                <a:gd name="T23" fmla="*/ 66 h 273"/>
                <a:gd name="T24" fmla="*/ 70 w 362"/>
                <a:gd name="T25" fmla="*/ 62 h 273"/>
                <a:gd name="T26" fmla="*/ 75 w 362"/>
                <a:gd name="T27" fmla="*/ 61 h 273"/>
                <a:gd name="T28" fmla="*/ 290 w 362"/>
                <a:gd name="T29" fmla="*/ 61 h 273"/>
                <a:gd name="T30" fmla="*/ 296 w 362"/>
                <a:gd name="T31" fmla="*/ 64 h 273"/>
                <a:gd name="T32" fmla="*/ 299 w 362"/>
                <a:gd name="T33" fmla="*/ 68 h 273"/>
                <a:gd name="T34" fmla="*/ 301 w 362"/>
                <a:gd name="T35" fmla="*/ 73 h 273"/>
                <a:gd name="T36" fmla="*/ 60 w 362"/>
                <a:gd name="T37" fmla="*/ 0 h 273"/>
                <a:gd name="T38" fmla="*/ 42 w 362"/>
                <a:gd name="T39" fmla="*/ 4 h 273"/>
                <a:gd name="T40" fmla="*/ 27 w 362"/>
                <a:gd name="T41" fmla="*/ 12 h 273"/>
                <a:gd name="T42" fmla="*/ 18 w 362"/>
                <a:gd name="T43" fmla="*/ 18 h 273"/>
                <a:gd name="T44" fmla="*/ 5 w 362"/>
                <a:gd name="T45" fmla="*/ 38 h 273"/>
                <a:gd name="T46" fmla="*/ 1 w 362"/>
                <a:gd name="T47" fmla="*/ 49 h 273"/>
                <a:gd name="T48" fmla="*/ 0 w 362"/>
                <a:gd name="T49" fmla="*/ 61 h 273"/>
                <a:gd name="T50" fmla="*/ 362 w 362"/>
                <a:gd name="T51" fmla="*/ 273 h 273"/>
                <a:gd name="T52" fmla="*/ 362 w 362"/>
                <a:gd name="T53" fmla="*/ 55 h 273"/>
                <a:gd name="T54" fmla="*/ 360 w 362"/>
                <a:gd name="T55" fmla="*/ 44 h 273"/>
                <a:gd name="T56" fmla="*/ 352 w 362"/>
                <a:gd name="T57" fmla="*/ 27 h 273"/>
                <a:gd name="T58" fmla="*/ 340 w 362"/>
                <a:gd name="T59" fmla="*/ 15 h 273"/>
                <a:gd name="T60" fmla="*/ 328 w 362"/>
                <a:gd name="T61" fmla="*/ 7 h 273"/>
                <a:gd name="T62" fmla="*/ 311 w 362"/>
                <a:gd name="T63" fmla="*/ 2 h 273"/>
                <a:gd name="T64" fmla="*/ 121 w 362"/>
                <a:gd name="T6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2" h="273">
                  <a:moveTo>
                    <a:pt x="302" y="76"/>
                  </a:moveTo>
                  <a:lnTo>
                    <a:pt x="302" y="227"/>
                  </a:lnTo>
                  <a:lnTo>
                    <a:pt x="301" y="231"/>
                  </a:lnTo>
                  <a:lnTo>
                    <a:pt x="301" y="233"/>
                  </a:lnTo>
                  <a:lnTo>
                    <a:pt x="299" y="235"/>
                  </a:lnTo>
                  <a:lnTo>
                    <a:pt x="298" y="237"/>
                  </a:lnTo>
                  <a:lnTo>
                    <a:pt x="296" y="239"/>
                  </a:lnTo>
                  <a:lnTo>
                    <a:pt x="292" y="241"/>
                  </a:lnTo>
                  <a:lnTo>
                    <a:pt x="290" y="242"/>
                  </a:lnTo>
                  <a:lnTo>
                    <a:pt x="287" y="242"/>
                  </a:lnTo>
                  <a:lnTo>
                    <a:pt x="75" y="242"/>
                  </a:lnTo>
                  <a:lnTo>
                    <a:pt x="72" y="242"/>
                  </a:lnTo>
                  <a:lnTo>
                    <a:pt x="70" y="241"/>
                  </a:lnTo>
                  <a:lnTo>
                    <a:pt x="67" y="239"/>
                  </a:lnTo>
                  <a:lnTo>
                    <a:pt x="64" y="237"/>
                  </a:lnTo>
                  <a:lnTo>
                    <a:pt x="63" y="235"/>
                  </a:lnTo>
                  <a:lnTo>
                    <a:pt x="61" y="233"/>
                  </a:lnTo>
                  <a:lnTo>
                    <a:pt x="61" y="231"/>
                  </a:lnTo>
                  <a:lnTo>
                    <a:pt x="60" y="227"/>
                  </a:lnTo>
                  <a:lnTo>
                    <a:pt x="60" y="76"/>
                  </a:lnTo>
                  <a:lnTo>
                    <a:pt x="61" y="73"/>
                  </a:lnTo>
                  <a:lnTo>
                    <a:pt x="61" y="70"/>
                  </a:lnTo>
                  <a:lnTo>
                    <a:pt x="63" y="68"/>
                  </a:lnTo>
                  <a:lnTo>
                    <a:pt x="64" y="66"/>
                  </a:lnTo>
                  <a:lnTo>
                    <a:pt x="67" y="64"/>
                  </a:lnTo>
                  <a:lnTo>
                    <a:pt x="70" y="62"/>
                  </a:lnTo>
                  <a:lnTo>
                    <a:pt x="72" y="61"/>
                  </a:lnTo>
                  <a:lnTo>
                    <a:pt x="75" y="61"/>
                  </a:lnTo>
                  <a:lnTo>
                    <a:pt x="287" y="61"/>
                  </a:lnTo>
                  <a:lnTo>
                    <a:pt x="290" y="61"/>
                  </a:lnTo>
                  <a:lnTo>
                    <a:pt x="292" y="62"/>
                  </a:lnTo>
                  <a:lnTo>
                    <a:pt x="296" y="64"/>
                  </a:lnTo>
                  <a:lnTo>
                    <a:pt x="298" y="66"/>
                  </a:lnTo>
                  <a:lnTo>
                    <a:pt x="299" y="68"/>
                  </a:lnTo>
                  <a:lnTo>
                    <a:pt x="301" y="70"/>
                  </a:lnTo>
                  <a:lnTo>
                    <a:pt x="301" y="73"/>
                  </a:lnTo>
                  <a:lnTo>
                    <a:pt x="302" y="76"/>
                  </a:lnTo>
                  <a:close/>
                  <a:moveTo>
                    <a:pt x="60" y="0"/>
                  </a:moveTo>
                  <a:lnTo>
                    <a:pt x="51" y="2"/>
                  </a:lnTo>
                  <a:lnTo>
                    <a:pt x="42" y="4"/>
                  </a:lnTo>
                  <a:lnTo>
                    <a:pt x="35" y="7"/>
                  </a:lnTo>
                  <a:lnTo>
                    <a:pt x="27" y="12"/>
                  </a:lnTo>
                  <a:lnTo>
                    <a:pt x="22" y="15"/>
                  </a:lnTo>
                  <a:lnTo>
                    <a:pt x="18" y="18"/>
                  </a:lnTo>
                  <a:lnTo>
                    <a:pt x="10" y="27"/>
                  </a:lnTo>
                  <a:lnTo>
                    <a:pt x="5" y="38"/>
                  </a:lnTo>
                  <a:lnTo>
                    <a:pt x="2" y="44"/>
                  </a:lnTo>
                  <a:lnTo>
                    <a:pt x="1" y="49"/>
                  </a:lnTo>
                  <a:lnTo>
                    <a:pt x="0" y="55"/>
                  </a:lnTo>
                  <a:lnTo>
                    <a:pt x="0" y="61"/>
                  </a:lnTo>
                  <a:lnTo>
                    <a:pt x="0" y="273"/>
                  </a:lnTo>
                  <a:lnTo>
                    <a:pt x="362" y="273"/>
                  </a:lnTo>
                  <a:lnTo>
                    <a:pt x="362" y="61"/>
                  </a:lnTo>
                  <a:lnTo>
                    <a:pt x="362" y="55"/>
                  </a:lnTo>
                  <a:lnTo>
                    <a:pt x="361" y="49"/>
                  </a:lnTo>
                  <a:lnTo>
                    <a:pt x="360" y="44"/>
                  </a:lnTo>
                  <a:lnTo>
                    <a:pt x="358" y="38"/>
                  </a:lnTo>
                  <a:lnTo>
                    <a:pt x="352" y="27"/>
                  </a:lnTo>
                  <a:lnTo>
                    <a:pt x="344" y="18"/>
                  </a:lnTo>
                  <a:lnTo>
                    <a:pt x="340" y="15"/>
                  </a:lnTo>
                  <a:lnTo>
                    <a:pt x="335" y="12"/>
                  </a:lnTo>
                  <a:lnTo>
                    <a:pt x="328" y="7"/>
                  </a:lnTo>
                  <a:lnTo>
                    <a:pt x="320" y="4"/>
                  </a:lnTo>
                  <a:lnTo>
                    <a:pt x="311" y="2"/>
                  </a:lnTo>
                  <a:lnTo>
                    <a:pt x="302" y="0"/>
                  </a:lnTo>
                  <a:lnTo>
                    <a:pt x="121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634">
              <a:extLst>
                <a:ext uri="{FF2B5EF4-FFF2-40B4-BE49-F238E27FC236}">
                  <a16:creationId xmlns:a16="http://schemas.microsoft.com/office/drawing/2014/main" id="{14AE317A-D6FC-4AC3-9519-3BFCFE3E01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325" y="5253038"/>
              <a:ext cx="115888" cy="87313"/>
            </a:xfrm>
            <a:custGeom>
              <a:avLst/>
              <a:gdLst>
                <a:gd name="T0" fmla="*/ 302 w 363"/>
                <a:gd name="T1" fmla="*/ 231 h 273"/>
                <a:gd name="T2" fmla="*/ 300 w 363"/>
                <a:gd name="T3" fmla="*/ 235 h 273"/>
                <a:gd name="T4" fmla="*/ 295 w 363"/>
                <a:gd name="T5" fmla="*/ 239 h 273"/>
                <a:gd name="T6" fmla="*/ 290 w 363"/>
                <a:gd name="T7" fmla="*/ 242 h 273"/>
                <a:gd name="T8" fmla="*/ 75 w 363"/>
                <a:gd name="T9" fmla="*/ 242 h 273"/>
                <a:gd name="T10" fmla="*/ 70 w 363"/>
                <a:gd name="T11" fmla="*/ 241 h 273"/>
                <a:gd name="T12" fmla="*/ 65 w 363"/>
                <a:gd name="T13" fmla="*/ 237 h 273"/>
                <a:gd name="T14" fmla="*/ 62 w 363"/>
                <a:gd name="T15" fmla="*/ 233 h 273"/>
                <a:gd name="T16" fmla="*/ 61 w 363"/>
                <a:gd name="T17" fmla="*/ 227 h 273"/>
                <a:gd name="T18" fmla="*/ 61 w 363"/>
                <a:gd name="T19" fmla="*/ 73 h 273"/>
                <a:gd name="T20" fmla="*/ 63 w 363"/>
                <a:gd name="T21" fmla="*/ 68 h 273"/>
                <a:gd name="T22" fmla="*/ 67 w 363"/>
                <a:gd name="T23" fmla="*/ 64 h 273"/>
                <a:gd name="T24" fmla="*/ 73 w 363"/>
                <a:gd name="T25" fmla="*/ 61 h 273"/>
                <a:gd name="T26" fmla="*/ 286 w 363"/>
                <a:gd name="T27" fmla="*/ 61 h 273"/>
                <a:gd name="T28" fmla="*/ 293 w 363"/>
                <a:gd name="T29" fmla="*/ 62 h 273"/>
                <a:gd name="T30" fmla="*/ 297 w 363"/>
                <a:gd name="T31" fmla="*/ 66 h 273"/>
                <a:gd name="T32" fmla="*/ 301 w 363"/>
                <a:gd name="T33" fmla="*/ 70 h 273"/>
                <a:gd name="T34" fmla="*/ 302 w 363"/>
                <a:gd name="T35" fmla="*/ 76 h 273"/>
                <a:gd name="T36" fmla="*/ 363 w 363"/>
                <a:gd name="T37" fmla="*/ 61 h 273"/>
                <a:gd name="T38" fmla="*/ 362 w 363"/>
                <a:gd name="T39" fmla="*/ 49 h 273"/>
                <a:gd name="T40" fmla="*/ 357 w 363"/>
                <a:gd name="T41" fmla="*/ 38 h 273"/>
                <a:gd name="T42" fmla="*/ 345 w 363"/>
                <a:gd name="T43" fmla="*/ 18 h 273"/>
                <a:gd name="T44" fmla="*/ 336 w 363"/>
                <a:gd name="T45" fmla="*/ 12 h 273"/>
                <a:gd name="T46" fmla="*/ 320 w 363"/>
                <a:gd name="T47" fmla="*/ 4 h 273"/>
                <a:gd name="T48" fmla="*/ 302 w 363"/>
                <a:gd name="T49" fmla="*/ 0 h 273"/>
                <a:gd name="T50" fmla="*/ 61 w 363"/>
                <a:gd name="T51" fmla="*/ 0 h 273"/>
                <a:gd name="T52" fmla="*/ 43 w 363"/>
                <a:gd name="T53" fmla="*/ 4 h 273"/>
                <a:gd name="T54" fmla="*/ 26 w 363"/>
                <a:gd name="T55" fmla="*/ 12 h 273"/>
                <a:gd name="T56" fmla="*/ 18 w 363"/>
                <a:gd name="T57" fmla="*/ 18 h 273"/>
                <a:gd name="T58" fmla="*/ 5 w 363"/>
                <a:gd name="T59" fmla="*/ 38 h 273"/>
                <a:gd name="T60" fmla="*/ 1 w 363"/>
                <a:gd name="T61" fmla="*/ 49 h 273"/>
                <a:gd name="T62" fmla="*/ 0 w 363"/>
                <a:gd name="T63" fmla="*/ 61 h 273"/>
                <a:gd name="T64" fmla="*/ 363 w 363"/>
                <a:gd name="T65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273">
                  <a:moveTo>
                    <a:pt x="302" y="227"/>
                  </a:moveTo>
                  <a:lnTo>
                    <a:pt x="302" y="231"/>
                  </a:lnTo>
                  <a:lnTo>
                    <a:pt x="301" y="233"/>
                  </a:lnTo>
                  <a:lnTo>
                    <a:pt x="300" y="235"/>
                  </a:lnTo>
                  <a:lnTo>
                    <a:pt x="297" y="237"/>
                  </a:lnTo>
                  <a:lnTo>
                    <a:pt x="295" y="239"/>
                  </a:lnTo>
                  <a:lnTo>
                    <a:pt x="293" y="241"/>
                  </a:lnTo>
                  <a:lnTo>
                    <a:pt x="290" y="242"/>
                  </a:lnTo>
                  <a:lnTo>
                    <a:pt x="286" y="242"/>
                  </a:lnTo>
                  <a:lnTo>
                    <a:pt x="75" y="242"/>
                  </a:lnTo>
                  <a:lnTo>
                    <a:pt x="73" y="242"/>
                  </a:lnTo>
                  <a:lnTo>
                    <a:pt x="70" y="241"/>
                  </a:lnTo>
                  <a:lnTo>
                    <a:pt x="67" y="239"/>
                  </a:lnTo>
                  <a:lnTo>
                    <a:pt x="65" y="237"/>
                  </a:lnTo>
                  <a:lnTo>
                    <a:pt x="63" y="235"/>
                  </a:lnTo>
                  <a:lnTo>
                    <a:pt x="62" y="233"/>
                  </a:lnTo>
                  <a:lnTo>
                    <a:pt x="61" y="231"/>
                  </a:lnTo>
                  <a:lnTo>
                    <a:pt x="61" y="227"/>
                  </a:lnTo>
                  <a:lnTo>
                    <a:pt x="61" y="76"/>
                  </a:lnTo>
                  <a:lnTo>
                    <a:pt x="61" y="73"/>
                  </a:lnTo>
                  <a:lnTo>
                    <a:pt x="62" y="70"/>
                  </a:lnTo>
                  <a:lnTo>
                    <a:pt x="63" y="68"/>
                  </a:lnTo>
                  <a:lnTo>
                    <a:pt x="65" y="66"/>
                  </a:lnTo>
                  <a:lnTo>
                    <a:pt x="67" y="64"/>
                  </a:lnTo>
                  <a:lnTo>
                    <a:pt x="70" y="62"/>
                  </a:lnTo>
                  <a:lnTo>
                    <a:pt x="73" y="61"/>
                  </a:lnTo>
                  <a:lnTo>
                    <a:pt x="75" y="61"/>
                  </a:lnTo>
                  <a:lnTo>
                    <a:pt x="286" y="61"/>
                  </a:lnTo>
                  <a:lnTo>
                    <a:pt x="290" y="61"/>
                  </a:lnTo>
                  <a:lnTo>
                    <a:pt x="293" y="62"/>
                  </a:lnTo>
                  <a:lnTo>
                    <a:pt x="295" y="64"/>
                  </a:lnTo>
                  <a:lnTo>
                    <a:pt x="297" y="66"/>
                  </a:lnTo>
                  <a:lnTo>
                    <a:pt x="300" y="68"/>
                  </a:lnTo>
                  <a:lnTo>
                    <a:pt x="301" y="70"/>
                  </a:lnTo>
                  <a:lnTo>
                    <a:pt x="302" y="73"/>
                  </a:lnTo>
                  <a:lnTo>
                    <a:pt x="302" y="76"/>
                  </a:lnTo>
                  <a:lnTo>
                    <a:pt x="302" y="227"/>
                  </a:lnTo>
                  <a:close/>
                  <a:moveTo>
                    <a:pt x="363" y="61"/>
                  </a:moveTo>
                  <a:lnTo>
                    <a:pt x="362" y="55"/>
                  </a:lnTo>
                  <a:lnTo>
                    <a:pt x="362" y="49"/>
                  </a:lnTo>
                  <a:lnTo>
                    <a:pt x="359" y="44"/>
                  </a:lnTo>
                  <a:lnTo>
                    <a:pt x="357" y="38"/>
                  </a:lnTo>
                  <a:lnTo>
                    <a:pt x="352" y="27"/>
                  </a:lnTo>
                  <a:lnTo>
                    <a:pt x="345" y="18"/>
                  </a:lnTo>
                  <a:lnTo>
                    <a:pt x="341" y="15"/>
                  </a:lnTo>
                  <a:lnTo>
                    <a:pt x="336" y="12"/>
                  </a:lnTo>
                  <a:lnTo>
                    <a:pt x="328" y="7"/>
                  </a:lnTo>
                  <a:lnTo>
                    <a:pt x="320" y="4"/>
                  </a:lnTo>
                  <a:lnTo>
                    <a:pt x="311" y="2"/>
                  </a:lnTo>
                  <a:lnTo>
                    <a:pt x="302" y="0"/>
                  </a:lnTo>
                  <a:lnTo>
                    <a:pt x="242" y="0"/>
                  </a:lnTo>
                  <a:lnTo>
                    <a:pt x="61" y="0"/>
                  </a:lnTo>
                  <a:lnTo>
                    <a:pt x="52" y="2"/>
                  </a:lnTo>
                  <a:lnTo>
                    <a:pt x="43" y="4"/>
                  </a:lnTo>
                  <a:lnTo>
                    <a:pt x="34" y="7"/>
                  </a:lnTo>
                  <a:lnTo>
                    <a:pt x="26" y="12"/>
                  </a:lnTo>
                  <a:lnTo>
                    <a:pt x="22" y="15"/>
                  </a:lnTo>
                  <a:lnTo>
                    <a:pt x="18" y="18"/>
                  </a:lnTo>
                  <a:lnTo>
                    <a:pt x="11" y="27"/>
                  </a:lnTo>
                  <a:lnTo>
                    <a:pt x="5" y="38"/>
                  </a:lnTo>
                  <a:lnTo>
                    <a:pt x="3" y="44"/>
                  </a:lnTo>
                  <a:lnTo>
                    <a:pt x="1" y="49"/>
                  </a:lnTo>
                  <a:lnTo>
                    <a:pt x="1" y="55"/>
                  </a:lnTo>
                  <a:lnTo>
                    <a:pt x="0" y="61"/>
                  </a:lnTo>
                  <a:lnTo>
                    <a:pt x="0" y="273"/>
                  </a:lnTo>
                  <a:lnTo>
                    <a:pt x="363" y="273"/>
                  </a:lnTo>
                  <a:lnTo>
                    <a:pt x="363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35">
              <a:extLst>
                <a:ext uri="{FF2B5EF4-FFF2-40B4-BE49-F238E27FC236}">
                  <a16:creationId xmlns:a16="http://schemas.microsoft.com/office/drawing/2014/main" id="{106AB7E0-AD1B-4FE1-BB5A-E4FD6CB4D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00" y="5349875"/>
              <a:ext cx="134938" cy="38100"/>
            </a:xfrm>
            <a:custGeom>
              <a:avLst/>
              <a:gdLst>
                <a:gd name="T0" fmla="*/ 420 w 423"/>
                <a:gd name="T1" fmla="*/ 16 h 121"/>
                <a:gd name="T2" fmla="*/ 419 w 423"/>
                <a:gd name="T3" fmla="*/ 10 h 121"/>
                <a:gd name="T4" fmla="*/ 416 w 423"/>
                <a:gd name="T5" fmla="*/ 5 h 121"/>
                <a:gd name="T6" fmla="*/ 416 w 423"/>
                <a:gd name="T7" fmla="*/ 4 h 121"/>
                <a:gd name="T8" fmla="*/ 416 w 423"/>
                <a:gd name="T9" fmla="*/ 4 h 121"/>
                <a:gd name="T10" fmla="*/ 415 w 423"/>
                <a:gd name="T11" fmla="*/ 2 h 121"/>
                <a:gd name="T12" fmla="*/ 414 w 423"/>
                <a:gd name="T13" fmla="*/ 0 h 121"/>
                <a:gd name="T14" fmla="*/ 9 w 423"/>
                <a:gd name="T15" fmla="*/ 0 h 121"/>
                <a:gd name="T16" fmla="*/ 8 w 423"/>
                <a:gd name="T17" fmla="*/ 2 h 121"/>
                <a:gd name="T18" fmla="*/ 7 w 423"/>
                <a:gd name="T19" fmla="*/ 4 h 121"/>
                <a:gd name="T20" fmla="*/ 7 w 423"/>
                <a:gd name="T21" fmla="*/ 4 h 121"/>
                <a:gd name="T22" fmla="*/ 7 w 423"/>
                <a:gd name="T23" fmla="*/ 5 h 121"/>
                <a:gd name="T24" fmla="*/ 3 w 423"/>
                <a:gd name="T25" fmla="*/ 10 h 121"/>
                <a:gd name="T26" fmla="*/ 2 w 423"/>
                <a:gd name="T27" fmla="*/ 17 h 121"/>
                <a:gd name="T28" fmla="*/ 2 w 423"/>
                <a:gd name="T29" fmla="*/ 17 h 121"/>
                <a:gd name="T30" fmla="*/ 1 w 423"/>
                <a:gd name="T31" fmla="*/ 18 h 121"/>
                <a:gd name="T32" fmla="*/ 0 w 423"/>
                <a:gd name="T33" fmla="*/ 24 h 121"/>
                <a:gd name="T34" fmla="*/ 0 w 423"/>
                <a:gd name="T35" fmla="*/ 30 h 121"/>
                <a:gd name="T36" fmla="*/ 0 w 423"/>
                <a:gd name="T37" fmla="*/ 107 h 121"/>
                <a:gd name="T38" fmla="*/ 0 w 423"/>
                <a:gd name="T39" fmla="*/ 109 h 121"/>
                <a:gd name="T40" fmla="*/ 1 w 423"/>
                <a:gd name="T41" fmla="*/ 112 h 121"/>
                <a:gd name="T42" fmla="*/ 2 w 423"/>
                <a:gd name="T43" fmla="*/ 114 h 121"/>
                <a:gd name="T44" fmla="*/ 4 w 423"/>
                <a:gd name="T45" fmla="*/ 117 h 121"/>
                <a:gd name="T46" fmla="*/ 7 w 423"/>
                <a:gd name="T47" fmla="*/ 119 h 121"/>
                <a:gd name="T48" fmla="*/ 9 w 423"/>
                <a:gd name="T49" fmla="*/ 120 h 121"/>
                <a:gd name="T50" fmla="*/ 12 w 423"/>
                <a:gd name="T51" fmla="*/ 121 h 121"/>
                <a:gd name="T52" fmla="*/ 15 w 423"/>
                <a:gd name="T53" fmla="*/ 121 h 121"/>
                <a:gd name="T54" fmla="*/ 407 w 423"/>
                <a:gd name="T55" fmla="*/ 121 h 121"/>
                <a:gd name="T56" fmla="*/ 410 w 423"/>
                <a:gd name="T57" fmla="*/ 121 h 121"/>
                <a:gd name="T58" fmla="*/ 414 w 423"/>
                <a:gd name="T59" fmla="*/ 120 h 121"/>
                <a:gd name="T60" fmla="*/ 416 w 423"/>
                <a:gd name="T61" fmla="*/ 119 h 121"/>
                <a:gd name="T62" fmla="*/ 418 w 423"/>
                <a:gd name="T63" fmla="*/ 117 h 121"/>
                <a:gd name="T64" fmla="*/ 420 w 423"/>
                <a:gd name="T65" fmla="*/ 114 h 121"/>
                <a:gd name="T66" fmla="*/ 421 w 423"/>
                <a:gd name="T67" fmla="*/ 112 h 121"/>
                <a:gd name="T68" fmla="*/ 423 w 423"/>
                <a:gd name="T69" fmla="*/ 109 h 121"/>
                <a:gd name="T70" fmla="*/ 423 w 423"/>
                <a:gd name="T71" fmla="*/ 107 h 121"/>
                <a:gd name="T72" fmla="*/ 423 w 423"/>
                <a:gd name="T73" fmla="*/ 30 h 121"/>
                <a:gd name="T74" fmla="*/ 423 w 423"/>
                <a:gd name="T75" fmla="*/ 24 h 121"/>
                <a:gd name="T76" fmla="*/ 421 w 423"/>
                <a:gd name="T77" fmla="*/ 18 h 121"/>
                <a:gd name="T78" fmla="*/ 420 w 423"/>
                <a:gd name="T79" fmla="*/ 17 h 121"/>
                <a:gd name="T80" fmla="*/ 420 w 423"/>
                <a:gd name="T81" fmla="*/ 1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3" h="121">
                  <a:moveTo>
                    <a:pt x="420" y="16"/>
                  </a:moveTo>
                  <a:lnTo>
                    <a:pt x="419" y="10"/>
                  </a:lnTo>
                  <a:lnTo>
                    <a:pt x="416" y="5"/>
                  </a:lnTo>
                  <a:lnTo>
                    <a:pt x="416" y="4"/>
                  </a:lnTo>
                  <a:lnTo>
                    <a:pt x="416" y="4"/>
                  </a:lnTo>
                  <a:lnTo>
                    <a:pt x="415" y="2"/>
                  </a:lnTo>
                  <a:lnTo>
                    <a:pt x="414" y="0"/>
                  </a:lnTo>
                  <a:lnTo>
                    <a:pt x="9" y="0"/>
                  </a:lnTo>
                  <a:lnTo>
                    <a:pt x="8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3" y="10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1" y="112"/>
                  </a:lnTo>
                  <a:lnTo>
                    <a:pt x="2" y="114"/>
                  </a:lnTo>
                  <a:lnTo>
                    <a:pt x="4" y="117"/>
                  </a:lnTo>
                  <a:lnTo>
                    <a:pt x="7" y="119"/>
                  </a:lnTo>
                  <a:lnTo>
                    <a:pt x="9" y="120"/>
                  </a:lnTo>
                  <a:lnTo>
                    <a:pt x="12" y="121"/>
                  </a:lnTo>
                  <a:lnTo>
                    <a:pt x="15" y="121"/>
                  </a:lnTo>
                  <a:lnTo>
                    <a:pt x="407" y="121"/>
                  </a:lnTo>
                  <a:lnTo>
                    <a:pt x="410" y="121"/>
                  </a:lnTo>
                  <a:lnTo>
                    <a:pt x="414" y="120"/>
                  </a:lnTo>
                  <a:lnTo>
                    <a:pt x="416" y="119"/>
                  </a:lnTo>
                  <a:lnTo>
                    <a:pt x="418" y="117"/>
                  </a:lnTo>
                  <a:lnTo>
                    <a:pt x="420" y="114"/>
                  </a:lnTo>
                  <a:lnTo>
                    <a:pt x="421" y="112"/>
                  </a:lnTo>
                  <a:lnTo>
                    <a:pt x="423" y="109"/>
                  </a:lnTo>
                  <a:lnTo>
                    <a:pt x="423" y="107"/>
                  </a:lnTo>
                  <a:lnTo>
                    <a:pt x="423" y="30"/>
                  </a:lnTo>
                  <a:lnTo>
                    <a:pt x="423" y="24"/>
                  </a:lnTo>
                  <a:lnTo>
                    <a:pt x="421" y="18"/>
                  </a:lnTo>
                  <a:lnTo>
                    <a:pt x="420" y="17"/>
                  </a:lnTo>
                  <a:lnTo>
                    <a:pt x="42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A180C78-7A79-4204-A921-B99447336104}"/>
              </a:ext>
            </a:extLst>
          </p:cNvPr>
          <p:cNvGrpSpPr/>
          <p:nvPr/>
        </p:nvGrpSpPr>
        <p:grpSpPr>
          <a:xfrm>
            <a:off x="5420916" y="2238682"/>
            <a:ext cx="287338" cy="285750"/>
            <a:chOff x="4900613" y="3937000"/>
            <a:chExt cx="287338" cy="285750"/>
          </a:xfrm>
          <a:solidFill>
            <a:schemeClr val="bg1"/>
          </a:solidFill>
        </p:grpSpPr>
        <p:sp>
          <p:nvSpPr>
            <p:cNvPr id="39" name="Freeform 4743">
              <a:extLst>
                <a:ext uri="{FF2B5EF4-FFF2-40B4-BE49-F238E27FC236}">
                  <a16:creationId xmlns:a16="http://schemas.microsoft.com/office/drawing/2014/main" id="{24AC20B9-8A44-4AA2-A9C1-3FEA471F3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13" y="3937000"/>
              <a:ext cx="133350" cy="38100"/>
            </a:xfrm>
            <a:custGeom>
              <a:avLst/>
              <a:gdLst>
                <a:gd name="T0" fmla="*/ 346 w 421"/>
                <a:gd name="T1" fmla="*/ 0 h 120"/>
                <a:gd name="T2" fmla="*/ 76 w 421"/>
                <a:gd name="T3" fmla="*/ 0 h 120"/>
                <a:gd name="T4" fmla="*/ 68 w 421"/>
                <a:gd name="T5" fmla="*/ 1 h 120"/>
                <a:gd name="T6" fmla="*/ 61 w 421"/>
                <a:gd name="T7" fmla="*/ 2 h 120"/>
                <a:gd name="T8" fmla="*/ 53 w 421"/>
                <a:gd name="T9" fmla="*/ 3 h 120"/>
                <a:gd name="T10" fmla="*/ 46 w 421"/>
                <a:gd name="T11" fmla="*/ 5 h 120"/>
                <a:gd name="T12" fmla="*/ 40 w 421"/>
                <a:gd name="T13" fmla="*/ 9 h 120"/>
                <a:gd name="T14" fmla="*/ 33 w 421"/>
                <a:gd name="T15" fmla="*/ 12 h 120"/>
                <a:gd name="T16" fmla="*/ 27 w 421"/>
                <a:gd name="T17" fmla="*/ 17 h 120"/>
                <a:gd name="T18" fmla="*/ 22 w 421"/>
                <a:gd name="T19" fmla="*/ 22 h 120"/>
                <a:gd name="T20" fmla="*/ 18 w 421"/>
                <a:gd name="T21" fmla="*/ 27 h 120"/>
                <a:gd name="T22" fmla="*/ 13 w 421"/>
                <a:gd name="T23" fmla="*/ 33 h 120"/>
                <a:gd name="T24" fmla="*/ 10 w 421"/>
                <a:gd name="T25" fmla="*/ 39 h 120"/>
                <a:gd name="T26" fmla="*/ 6 w 421"/>
                <a:gd name="T27" fmla="*/ 46 h 120"/>
                <a:gd name="T28" fmla="*/ 4 w 421"/>
                <a:gd name="T29" fmla="*/ 53 h 120"/>
                <a:gd name="T30" fmla="*/ 2 w 421"/>
                <a:gd name="T31" fmla="*/ 60 h 120"/>
                <a:gd name="T32" fmla="*/ 0 w 421"/>
                <a:gd name="T33" fmla="*/ 67 h 120"/>
                <a:gd name="T34" fmla="*/ 0 w 421"/>
                <a:gd name="T35" fmla="*/ 75 h 120"/>
                <a:gd name="T36" fmla="*/ 0 w 421"/>
                <a:gd name="T37" fmla="*/ 120 h 120"/>
                <a:gd name="T38" fmla="*/ 421 w 421"/>
                <a:gd name="T39" fmla="*/ 120 h 120"/>
                <a:gd name="T40" fmla="*/ 421 w 421"/>
                <a:gd name="T41" fmla="*/ 75 h 120"/>
                <a:gd name="T42" fmla="*/ 421 w 421"/>
                <a:gd name="T43" fmla="*/ 67 h 120"/>
                <a:gd name="T44" fmla="*/ 420 w 421"/>
                <a:gd name="T45" fmla="*/ 60 h 120"/>
                <a:gd name="T46" fmla="*/ 417 w 421"/>
                <a:gd name="T47" fmla="*/ 53 h 120"/>
                <a:gd name="T48" fmla="*/ 415 w 421"/>
                <a:gd name="T49" fmla="*/ 46 h 120"/>
                <a:gd name="T50" fmla="*/ 412 w 421"/>
                <a:gd name="T51" fmla="*/ 39 h 120"/>
                <a:gd name="T52" fmla="*/ 408 w 421"/>
                <a:gd name="T53" fmla="*/ 33 h 120"/>
                <a:gd name="T54" fmla="*/ 403 w 421"/>
                <a:gd name="T55" fmla="*/ 27 h 120"/>
                <a:gd name="T56" fmla="*/ 399 w 421"/>
                <a:gd name="T57" fmla="*/ 22 h 120"/>
                <a:gd name="T58" fmla="*/ 393 w 421"/>
                <a:gd name="T59" fmla="*/ 17 h 120"/>
                <a:gd name="T60" fmla="*/ 387 w 421"/>
                <a:gd name="T61" fmla="*/ 12 h 120"/>
                <a:gd name="T62" fmla="*/ 381 w 421"/>
                <a:gd name="T63" fmla="*/ 9 h 120"/>
                <a:gd name="T64" fmla="*/ 375 w 421"/>
                <a:gd name="T65" fmla="*/ 5 h 120"/>
                <a:gd name="T66" fmla="*/ 368 w 421"/>
                <a:gd name="T67" fmla="*/ 3 h 120"/>
                <a:gd name="T68" fmla="*/ 361 w 421"/>
                <a:gd name="T69" fmla="*/ 2 h 120"/>
                <a:gd name="T70" fmla="*/ 354 w 421"/>
                <a:gd name="T71" fmla="*/ 1 h 120"/>
                <a:gd name="T72" fmla="*/ 346 w 421"/>
                <a:gd name="T73" fmla="*/ 0 h 120"/>
                <a:gd name="T74" fmla="*/ 346 w 421"/>
                <a:gd name="T7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1" h="120">
                  <a:moveTo>
                    <a:pt x="346" y="0"/>
                  </a:moveTo>
                  <a:lnTo>
                    <a:pt x="76" y="0"/>
                  </a:lnTo>
                  <a:lnTo>
                    <a:pt x="68" y="1"/>
                  </a:lnTo>
                  <a:lnTo>
                    <a:pt x="61" y="2"/>
                  </a:lnTo>
                  <a:lnTo>
                    <a:pt x="53" y="3"/>
                  </a:lnTo>
                  <a:lnTo>
                    <a:pt x="46" y="5"/>
                  </a:lnTo>
                  <a:lnTo>
                    <a:pt x="40" y="9"/>
                  </a:lnTo>
                  <a:lnTo>
                    <a:pt x="33" y="12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8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6" y="46"/>
                  </a:lnTo>
                  <a:lnTo>
                    <a:pt x="4" y="53"/>
                  </a:lnTo>
                  <a:lnTo>
                    <a:pt x="2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120"/>
                  </a:lnTo>
                  <a:lnTo>
                    <a:pt x="421" y="120"/>
                  </a:lnTo>
                  <a:lnTo>
                    <a:pt x="421" y="75"/>
                  </a:lnTo>
                  <a:lnTo>
                    <a:pt x="421" y="67"/>
                  </a:lnTo>
                  <a:lnTo>
                    <a:pt x="420" y="60"/>
                  </a:lnTo>
                  <a:lnTo>
                    <a:pt x="417" y="53"/>
                  </a:lnTo>
                  <a:lnTo>
                    <a:pt x="415" y="46"/>
                  </a:lnTo>
                  <a:lnTo>
                    <a:pt x="412" y="39"/>
                  </a:lnTo>
                  <a:lnTo>
                    <a:pt x="408" y="33"/>
                  </a:lnTo>
                  <a:lnTo>
                    <a:pt x="403" y="27"/>
                  </a:lnTo>
                  <a:lnTo>
                    <a:pt x="399" y="22"/>
                  </a:lnTo>
                  <a:lnTo>
                    <a:pt x="393" y="17"/>
                  </a:lnTo>
                  <a:lnTo>
                    <a:pt x="387" y="12"/>
                  </a:lnTo>
                  <a:lnTo>
                    <a:pt x="381" y="9"/>
                  </a:lnTo>
                  <a:lnTo>
                    <a:pt x="375" y="5"/>
                  </a:lnTo>
                  <a:lnTo>
                    <a:pt x="368" y="3"/>
                  </a:lnTo>
                  <a:lnTo>
                    <a:pt x="361" y="2"/>
                  </a:lnTo>
                  <a:lnTo>
                    <a:pt x="354" y="1"/>
                  </a:lnTo>
                  <a:lnTo>
                    <a:pt x="346" y="0"/>
                  </a:lnTo>
                  <a:lnTo>
                    <a:pt x="3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4744">
              <a:extLst>
                <a:ext uri="{FF2B5EF4-FFF2-40B4-BE49-F238E27FC236}">
                  <a16:creationId xmlns:a16="http://schemas.microsoft.com/office/drawing/2014/main" id="{1396F6DC-5DE5-46F9-B322-3EAEAD11C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13" y="3984625"/>
              <a:ext cx="133350" cy="85725"/>
            </a:xfrm>
            <a:custGeom>
              <a:avLst/>
              <a:gdLst>
                <a:gd name="T0" fmla="*/ 0 w 421"/>
                <a:gd name="T1" fmla="*/ 196 h 270"/>
                <a:gd name="T2" fmla="*/ 0 w 421"/>
                <a:gd name="T3" fmla="*/ 203 h 270"/>
                <a:gd name="T4" fmla="*/ 2 w 421"/>
                <a:gd name="T5" fmla="*/ 211 h 270"/>
                <a:gd name="T6" fmla="*/ 4 w 421"/>
                <a:gd name="T7" fmla="*/ 218 h 270"/>
                <a:gd name="T8" fmla="*/ 6 w 421"/>
                <a:gd name="T9" fmla="*/ 225 h 270"/>
                <a:gd name="T10" fmla="*/ 10 w 421"/>
                <a:gd name="T11" fmla="*/ 231 h 270"/>
                <a:gd name="T12" fmla="*/ 13 w 421"/>
                <a:gd name="T13" fmla="*/ 238 h 270"/>
                <a:gd name="T14" fmla="*/ 18 w 421"/>
                <a:gd name="T15" fmla="*/ 243 h 270"/>
                <a:gd name="T16" fmla="*/ 22 w 421"/>
                <a:gd name="T17" fmla="*/ 248 h 270"/>
                <a:gd name="T18" fmla="*/ 27 w 421"/>
                <a:gd name="T19" fmla="*/ 254 h 270"/>
                <a:gd name="T20" fmla="*/ 33 w 421"/>
                <a:gd name="T21" fmla="*/ 257 h 270"/>
                <a:gd name="T22" fmla="*/ 40 w 421"/>
                <a:gd name="T23" fmla="*/ 262 h 270"/>
                <a:gd name="T24" fmla="*/ 46 w 421"/>
                <a:gd name="T25" fmla="*/ 264 h 270"/>
                <a:gd name="T26" fmla="*/ 53 w 421"/>
                <a:gd name="T27" fmla="*/ 267 h 270"/>
                <a:gd name="T28" fmla="*/ 61 w 421"/>
                <a:gd name="T29" fmla="*/ 269 h 270"/>
                <a:gd name="T30" fmla="*/ 68 w 421"/>
                <a:gd name="T31" fmla="*/ 270 h 270"/>
                <a:gd name="T32" fmla="*/ 76 w 421"/>
                <a:gd name="T33" fmla="*/ 270 h 270"/>
                <a:gd name="T34" fmla="*/ 346 w 421"/>
                <a:gd name="T35" fmla="*/ 270 h 270"/>
                <a:gd name="T36" fmla="*/ 354 w 421"/>
                <a:gd name="T37" fmla="*/ 270 h 270"/>
                <a:gd name="T38" fmla="*/ 361 w 421"/>
                <a:gd name="T39" fmla="*/ 269 h 270"/>
                <a:gd name="T40" fmla="*/ 368 w 421"/>
                <a:gd name="T41" fmla="*/ 267 h 270"/>
                <a:gd name="T42" fmla="*/ 375 w 421"/>
                <a:gd name="T43" fmla="*/ 264 h 270"/>
                <a:gd name="T44" fmla="*/ 381 w 421"/>
                <a:gd name="T45" fmla="*/ 261 h 270"/>
                <a:gd name="T46" fmla="*/ 387 w 421"/>
                <a:gd name="T47" fmla="*/ 257 h 270"/>
                <a:gd name="T48" fmla="*/ 393 w 421"/>
                <a:gd name="T49" fmla="*/ 253 h 270"/>
                <a:gd name="T50" fmla="*/ 399 w 421"/>
                <a:gd name="T51" fmla="*/ 248 h 270"/>
                <a:gd name="T52" fmla="*/ 403 w 421"/>
                <a:gd name="T53" fmla="*/ 243 h 270"/>
                <a:gd name="T54" fmla="*/ 408 w 421"/>
                <a:gd name="T55" fmla="*/ 238 h 270"/>
                <a:gd name="T56" fmla="*/ 412 w 421"/>
                <a:gd name="T57" fmla="*/ 231 h 270"/>
                <a:gd name="T58" fmla="*/ 415 w 421"/>
                <a:gd name="T59" fmla="*/ 225 h 270"/>
                <a:gd name="T60" fmla="*/ 417 w 421"/>
                <a:gd name="T61" fmla="*/ 218 h 270"/>
                <a:gd name="T62" fmla="*/ 420 w 421"/>
                <a:gd name="T63" fmla="*/ 211 h 270"/>
                <a:gd name="T64" fmla="*/ 421 w 421"/>
                <a:gd name="T65" fmla="*/ 203 h 270"/>
                <a:gd name="T66" fmla="*/ 421 w 421"/>
                <a:gd name="T67" fmla="*/ 196 h 270"/>
                <a:gd name="T68" fmla="*/ 421 w 421"/>
                <a:gd name="T69" fmla="*/ 0 h 270"/>
                <a:gd name="T70" fmla="*/ 0 w 421"/>
                <a:gd name="T71" fmla="*/ 0 h 270"/>
                <a:gd name="T72" fmla="*/ 0 w 421"/>
                <a:gd name="T73" fmla="*/ 19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270">
                  <a:moveTo>
                    <a:pt x="0" y="196"/>
                  </a:moveTo>
                  <a:lnTo>
                    <a:pt x="0" y="203"/>
                  </a:lnTo>
                  <a:lnTo>
                    <a:pt x="2" y="211"/>
                  </a:lnTo>
                  <a:lnTo>
                    <a:pt x="4" y="218"/>
                  </a:lnTo>
                  <a:lnTo>
                    <a:pt x="6" y="225"/>
                  </a:lnTo>
                  <a:lnTo>
                    <a:pt x="10" y="231"/>
                  </a:lnTo>
                  <a:lnTo>
                    <a:pt x="13" y="238"/>
                  </a:lnTo>
                  <a:lnTo>
                    <a:pt x="18" y="243"/>
                  </a:lnTo>
                  <a:lnTo>
                    <a:pt x="22" y="248"/>
                  </a:lnTo>
                  <a:lnTo>
                    <a:pt x="27" y="254"/>
                  </a:lnTo>
                  <a:lnTo>
                    <a:pt x="33" y="257"/>
                  </a:lnTo>
                  <a:lnTo>
                    <a:pt x="40" y="262"/>
                  </a:lnTo>
                  <a:lnTo>
                    <a:pt x="46" y="264"/>
                  </a:lnTo>
                  <a:lnTo>
                    <a:pt x="53" y="267"/>
                  </a:lnTo>
                  <a:lnTo>
                    <a:pt x="61" y="269"/>
                  </a:lnTo>
                  <a:lnTo>
                    <a:pt x="68" y="270"/>
                  </a:lnTo>
                  <a:lnTo>
                    <a:pt x="76" y="270"/>
                  </a:lnTo>
                  <a:lnTo>
                    <a:pt x="346" y="270"/>
                  </a:lnTo>
                  <a:lnTo>
                    <a:pt x="354" y="270"/>
                  </a:lnTo>
                  <a:lnTo>
                    <a:pt x="361" y="269"/>
                  </a:lnTo>
                  <a:lnTo>
                    <a:pt x="368" y="267"/>
                  </a:lnTo>
                  <a:lnTo>
                    <a:pt x="375" y="264"/>
                  </a:lnTo>
                  <a:lnTo>
                    <a:pt x="381" y="261"/>
                  </a:lnTo>
                  <a:lnTo>
                    <a:pt x="387" y="257"/>
                  </a:lnTo>
                  <a:lnTo>
                    <a:pt x="393" y="253"/>
                  </a:lnTo>
                  <a:lnTo>
                    <a:pt x="399" y="248"/>
                  </a:lnTo>
                  <a:lnTo>
                    <a:pt x="403" y="243"/>
                  </a:lnTo>
                  <a:lnTo>
                    <a:pt x="408" y="238"/>
                  </a:lnTo>
                  <a:lnTo>
                    <a:pt x="412" y="231"/>
                  </a:lnTo>
                  <a:lnTo>
                    <a:pt x="415" y="225"/>
                  </a:lnTo>
                  <a:lnTo>
                    <a:pt x="417" y="218"/>
                  </a:lnTo>
                  <a:lnTo>
                    <a:pt x="420" y="211"/>
                  </a:lnTo>
                  <a:lnTo>
                    <a:pt x="421" y="203"/>
                  </a:lnTo>
                  <a:lnTo>
                    <a:pt x="421" y="196"/>
                  </a:lnTo>
                  <a:lnTo>
                    <a:pt x="421" y="0"/>
                  </a:lnTo>
                  <a:lnTo>
                    <a:pt x="0" y="0"/>
                  </a:lnTo>
                  <a:lnTo>
                    <a:pt x="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745">
              <a:extLst>
                <a:ext uri="{FF2B5EF4-FFF2-40B4-BE49-F238E27FC236}">
                  <a16:creationId xmlns:a16="http://schemas.microsoft.com/office/drawing/2014/main" id="{4485FFA3-4812-465E-9B63-EC03221BF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3937000"/>
              <a:ext cx="134938" cy="38100"/>
            </a:xfrm>
            <a:custGeom>
              <a:avLst/>
              <a:gdLst>
                <a:gd name="T0" fmla="*/ 345 w 421"/>
                <a:gd name="T1" fmla="*/ 0 h 120"/>
                <a:gd name="T2" fmla="*/ 75 w 421"/>
                <a:gd name="T3" fmla="*/ 0 h 120"/>
                <a:gd name="T4" fmla="*/ 67 w 421"/>
                <a:gd name="T5" fmla="*/ 1 h 120"/>
                <a:gd name="T6" fmla="*/ 60 w 421"/>
                <a:gd name="T7" fmla="*/ 2 h 120"/>
                <a:gd name="T8" fmla="*/ 52 w 421"/>
                <a:gd name="T9" fmla="*/ 3 h 120"/>
                <a:gd name="T10" fmla="*/ 45 w 421"/>
                <a:gd name="T11" fmla="*/ 5 h 120"/>
                <a:gd name="T12" fmla="*/ 39 w 421"/>
                <a:gd name="T13" fmla="*/ 9 h 120"/>
                <a:gd name="T14" fmla="*/ 33 w 421"/>
                <a:gd name="T15" fmla="*/ 12 h 120"/>
                <a:gd name="T16" fmla="*/ 27 w 421"/>
                <a:gd name="T17" fmla="*/ 17 h 120"/>
                <a:gd name="T18" fmla="*/ 22 w 421"/>
                <a:gd name="T19" fmla="*/ 22 h 120"/>
                <a:gd name="T20" fmla="*/ 17 w 421"/>
                <a:gd name="T21" fmla="*/ 27 h 120"/>
                <a:gd name="T22" fmla="*/ 13 w 421"/>
                <a:gd name="T23" fmla="*/ 33 h 120"/>
                <a:gd name="T24" fmla="*/ 9 w 421"/>
                <a:gd name="T25" fmla="*/ 39 h 120"/>
                <a:gd name="T26" fmla="*/ 6 w 421"/>
                <a:gd name="T27" fmla="*/ 46 h 120"/>
                <a:gd name="T28" fmla="*/ 4 w 421"/>
                <a:gd name="T29" fmla="*/ 53 h 120"/>
                <a:gd name="T30" fmla="*/ 1 w 421"/>
                <a:gd name="T31" fmla="*/ 60 h 120"/>
                <a:gd name="T32" fmla="*/ 0 w 421"/>
                <a:gd name="T33" fmla="*/ 67 h 120"/>
                <a:gd name="T34" fmla="*/ 0 w 421"/>
                <a:gd name="T35" fmla="*/ 75 h 120"/>
                <a:gd name="T36" fmla="*/ 0 w 421"/>
                <a:gd name="T37" fmla="*/ 120 h 120"/>
                <a:gd name="T38" fmla="*/ 421 w 421"/>
                <a:gd name="T39" fmla="*/ 120 h 120"/>
                <a:gd name="T40" fmla="*/ 421 w 421"/>
                <a:gd name="T41" fmla="*/ 75 h 120"/>
                <a:gd name="T42" fmla="*/ 421 w 421"/>
                <a:gd name="T43" fmla="*/ 67 h 120"/>
                <a:gd name="T44" fmla="*/ 419 w 421"/>
                <a:gd name="T45" fmla="*/ 60 h 120"/>
                <a:gd name="T46" fmla="*/ 417 w 421"/>
                <a:gd name="T47" fmla="*/ 53 h 120"/>
                <a:gd name="T48" fmla="*/ 415 w 421"/>
                <a:gd name="T49" fmla="*/ 46 h 120"/>
                <a:gd name="T50" fmla="*/ 411 w 421"/>
                <a:gd name="T51" fmla="*/ 39 h 120"/>
                <a:gd name="T52" fmla="*/ 408 w 421"/>
                <a:gd name="T53" fmla="*/ 33 h 120"/>
                <a:gd name="T54" fmla="*/ 403 w 421"/>
                <a:gd name="T55" fmla="*/ 27 h 120"/>
                <a:gd name="T56" fmla="*/ 399 w 421"/>
                <a:gd name="T57" fmla="*/ 22 h 120"/>
                <a:gd name="T58" fmla="*/ 393 w 421"/>
                <a:gd name="T59" fmla="*/ 17 h 120"/>
                <a:gd name="T60" fmla="*/ 387 w 421"/>
                <a:gd name="T61" fmla="*/ 12 h 120"/>
                <a:gd name="T62" fmla="*/ 381 w 421"/>
                <a:gd name="T63" fmla="*/ 9 h 120"/>
                <a:gd name="T64" fmla="*/ 374 w 421"/>
                <a:gd name="T65" fmla="*/ 5 h 120"/>
                <a:gd name="T66" fmla="*/ 367 w 421"/>
                <a:gd name="T67" fmla="*/ 3 h 120"/>
                <a:gd name="T68" fmla="*/ 360 w 421"/>
                <a:gd name="T69" fmla="*/ 2 h 120"/>
                <a:gd name="T70" fmla="*/ 353 w 421"/>
                <a:gd name="T71" fmla="*/ 1 h 120"/>
                <a:gd name="T72" fmla="*/ 345 w 421"/>
                <a:gd name="T73" fmla="*/ 0 h 120"/>
                <a:gd name="T74" fmla="*/ 345 w 421"/>
                <a:gd name="T7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1" h="120">
                  <a:moveTo>
                    <a:pt x="345" y="0"/>
                  </a:move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2" y="3"/>
                  </a:lnTo>
                  <a:lnTo>
                    <a:pt x="45" y="5"/>
                  </a:lnTo>
                  <a:lnTo>
                    <a:pt x="39" y="9"/>
                  </a:lnTo>
                  <a:lnTo>
                    <a:pt x="33" y="12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4" y="53"/>
                  </a:lnTo>
                  <a:lnTo>
                    <a:pt x="1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120"/>
                  </a:lnTo>
                  <a:lnTo>
                    <a:pt x="421" y="120"/>
                  </a:lnTo>
                  <a:lnTo>
                    <a:pt x="421" y="75"/>
                  </a:lnTo>
                  <a:lnTo>
                    <a:pt x="421" y="67"/>
                  </a:lnTo>
                  <a:lnTo>
                    <a:pt x="419" y="60"/>
                  </a:lnTo>
                  <a:lnTo>
                    <a:pt x="417" y="53"/>
                  </a:lnTo>
                  <a:lnTo>
                    <a:pt x="415" y="46"/>
                  </a:lnTo>
                  <a:lnTo>
                    <a:pt x="411" y="39"/>
                  </a:lnTo>
                  <a:lnTo>
                    <a:pt x="408" y="33"/>
                  </a:lnTo>
                  <a:lnTo>
                    <a:pt x="403" y="27"/>
                  </a:lnTo>
                  <a:lnTo>
                    <a:pt x="399" y="22"/>
                  </a:lnTo>
                  <a:lnTo>
                    <a:pt x="393" y="17"/>
                  </a:lnTo>
                  <a:lnTo>
                    <a:pt x="387" y="12"/>
                  </a:lnTo>
                  <a:lnTo>
                    <a:pt x="381" y="9"/>
                  </a:lnTo>
                  <a:lnTo>
                    <a:pt x="374" y="5"/>
                  </a:lnTo>
                  <a:lnTo>
                    <a:pt x="367" y="3"/>
                  </a:lnTo>
                  <a:lnTo>
                    <a:pt x="360" y="2"/>
                  </a:lnTo>
                  <a:lnTo>
                    <a:pt x="353" y="1"/>
                  </a:lnTo>
                  <a:lnTo>
                    <a:pt x="345" y="0"/>
                  </a:lnTo>
                  <a:lnTo>
                    <a:pt x="3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746">
              <a:extLst>
                <a:ext uri="{FF2B5EF4-FFF2-40B4-BE49-F238E27FC236}">
                  <a16:creationId xmlns:a16="http://schemas.microsoft.com/office/drawing/2014/main" id="{781650BD-2322-4EB8-A99A-7146313D6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3984625"/>
              <a:ext cx="134938" cy="85725"/>
            </a:xfrm>
            <a:custGeom>
              <a:avLst/>
              <a:gdLst>
                <a:gd name="T0" fmla="*/ 0 w 421"/>
                <a:gd name="T1" fmla="*/ 196 h 270"/>
                <a:gd name="T2" fmla="*/ 0 w 421"/>
                <a:gd name="T3" fmla="*/ 203 h 270"/>
                <a:gd name="T4" fmla="*/ 1 w 421"/>
                <a:gd name="T5" fmla="*/ 211 h 270"/>
                <a:gd name="T6" fmla="*/ 4 w 421"/>
                <a:gd name="T7" fmla="*/ 218 h 270"/>
                <a:gd name="T8" fmla="*/ 6 w 421"/>
                <a:gd name="T9" fmla="*/ 225 h 270"/>
                <a:gd name="T10" fmla="*/ 9 w 421"/>
                <a:gd name="T11" fmla="*/ 231 h 270"/>
                <a:gd name="T12" fmla="*/ 13 w 421"/>
                <a:gd name="T13" fmla="*/ 238 h 270"/>
                <a:gd name="T14" fmla="*/ 17 w 421"/>
                <a:gd name="T15" fmla="*/ 243 h 270"/>
                <a:gd name="T16" fmla="*/ 22 w 421"/>
                <a:gd name="T17" fmla="*/ 248 h 270"/>
                <a:gd name="T18" fmla="*/ 27 w 421"/>
                <a:gd name="T19" fmla="*/ 254 h 270"/>
                <a:gd name="T20" fmla="*/ 33 w 421"/>
                <a:gd name="T21" fmla="*/ 257 h 270"/>
                <a:gd name="T22" fmla="*/ 39 w 421"/>
                <a:gd name="T23" fmla="*/ 262 h 270"/>
                <a:gd name="T24" fmla="*/ 45 w 421"/>
                <a:gd name="T25" fmla="*/ 264 h 270"/>
                <a:gd name="T26" fmla="*/ 52 w 421"/>
                <a:gd name="T27" fmla="*/ 267 h 270"/>
                <a:gd name="T28" fmla="*/ 60 w 421"/>
                <a:gd name="T29" fmla="*/ 269 h 270"/>
                <a:gd name="T30" fmla="*/ 67 w 421"/>
                <a:gd name="T31" fmla="*/ 270 h 270"/>
                <a:gd name="T32" fmla="*/ 75 w 421"/>
                <a:gd name="T33" fmla="*/ 270 h 270"/>
                <a:gd name="T34" fmla="*/ 345 w 421"/>
                <a:gd name="T35" fmla="*/ 270 h 270"/>
                <a:gd name="T36" fmla="*/ 353 w 421"/>
                <a:gd name="T37" fmla="*/ 270 h 270"/>
                <a:gd name="T38" fmla="*/ 360 w 421"/>
                <a:gd name="T39" fmla="*/ 269 h 270"/>
                <a:gd name="T40" fmla="*/ 367 w 421"/>
                <a:gd name="T41" fmla="*/ 267 h 270"/>
                <a:gd name="T42" fmla="*/ 374 w 421"/>
                <a:gd name="T43" fmla="*/ 264 h 270"/>
                <a:gd name="T44" fmla="*/ 381 w 421"/>
                <a:gd name="T45" fmla="*/ 261 h 270"/>
                <a:gd name="T46" fmla="*/ 387 w 421"/>
                <a:gd name="T47" fmla="*/ 257 h 270"/>
                <a:gd name="T48" fmla="*/ 393 w 421"/>
                <a:gd name="T49" fmla="*/ 253 h 270"/>
                <a:gd name="T50" fmla="*/ 399 w 421"/>
                <a:gd name="T51" fmla="*/ 248 h 270"/>
                <a:gd name="T52" fmla="*/ 403 w 421"/>
                <a:gd name="T53" fmla="*/ 243 h 270"/>
                <a:gd name="T54" fmla="*/ 408 w 421"/>
                <a:gd name="T55" fmla="*/ 238 h 270"/>
                <a:gd name="T56" fmla="*/ 411 w 421"/>
                <a:gd name="T57" fmla="*/ 231 h 270"/>
                <a:gd name="T58" fmla="*/ 415 w 421"/>
                <a:gd name="T59" fmla="*/ 225 h 270"/>
                <a:gd name="T60" fmla="*/ 417 w 421"/>
                <a:gd name="T61" fmla="*/ 218 h 270"/>
                <a:gd name="T62" fmla="*/ 419 w 421"/>
                <a:gd name="T63" fmla="*/ 211 h 270"/>
                <a:gd name="T64" fmla="*/ 421 w 421"/>
                <a:gd name="T65" fmla="*/ 203 h 270"/>
                <a:gd name="T66" fmla="*/ 421 w 421"/>
                <a:gd name="T67" fmla="*/ 196 h 270"/>
                <a:gd name="T68" fmla="*/ 421 w 421"/>
                <a:gd name="T69" fmla="*/ 0 h 270"/>
                <a:gd name="T70" fmla="*/ 0 w 421"/>
                <a:gd name="T71" fmla="*/ 0 h 270"/>
                <a:gd name="T72" fmla="*/ 0 w 421"/>
                <a:gd name="T73" fmla="*/ 19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270">
                  <a:moveTo>
                    <a:pt x="0" y="196"/>
                  </a:moveTo>
                  <a:lnTo>
                    <a:pt x="0" y="203"/>
                  </a:lnTo>
                  <a:lnTo>
                    <a:pt x="1" y="211"/>
                  </a:lnTo>
                  <a:lnTo>
                    <a:pt x="4" y="218"/>
                  </a:lnTo>
                  <a:lnTo>
                    <a:pt x="6" y="225"/>
                  </a:lnTo>
                  <a:lnTo>
                    <a:pt x="9" y="231"/>
                  </a:lnTo>
                  <a:lnTo>
                    <a:pt x="13" y="238"/>
                  </a:lnTo>
                  <a:lnTo>
                    <a:pt x="17" y="243"/>
                  </a:lnTo>
                  <a:lnTo>
                    <a:pt x="22" y="248"/>
                  </a:lnTo>
                  <a:lnTo>
                    <a:pt x="27" y="254"/>
                  </a:lnTo>
                  <a:lnTo>
                    <a:pt x="33" y="257"/>
                  </a:lnTo>
                  <a:lnTo>
                    <a:pt x="39" y="262"/>
                  </a:lnTo>
                  <a:lnTo>
                    <a:pt x="45" y="264"/>
                  </a:lnTo>
                  <a:lnTo>
                    <a:pt x="52" y="267"/>
                  </a:lnTo>
                  <a:lnTo>
                    <a:pt x="60" y="269"/>
                  </a:lnTo>
                  <a:lnTo>
                    <a:pt x="67" y="270"/>
                  </a:lnTo>
                  <a:lnTo>
                    <a:pt x="75" y="270"/>
                  </a:lnTo>
                  <a:lnTo>
                    <a:pt x="345" y="270"/>
                  </a:lnTo>
                  <a:lnTo>
                    <a:pt x="353" y="270"/>
                  </a:lnTo>
                  <a:lnTo>
                    <a:pt x="360" y="269"/>
                  </a:lnTo>
                  <a:lnTo>
                    <a:pt x="367" y="267"/>
                  </a:lnTo>
                  <a:lnTo>
                    <a:pt x="374" y="264"/>
                  </a:lnTo>
                  <a:lnTo>
                    <a:pt x="381" y="261"/>
                  </a:lnTo>
                  <a:lnTo>
                    <a:pt x="387" y="257"/>
                  </a:lnTo>
                  <a:lnTo>
                    <a:pt x="393" y="253"/>
                  </a:lnTo>
                  <a:lnTo>
                    <a:pt x="399" y="248"/>
                  </a:lnTo>
                  <a:lnTo>
                    <a:pt x="403" y="243"/>
                  </a:lnTo>
                  <a:lnTo>
                    <a:pt x="408" y="238"/>
                  </a:lnTo>
                  <a:lnTo>
                    <a:pt x="411" y="231"/>
                  </a:lnTo>
                  <a:lnTo>
                    <a:pt x="415" y="225"/>
                  </a:lnTo>
                  <a:lnTo>
                    <a:pt x="417" y="218"/>
                  </a:lnTo>
                  <a:lnTo>
                    <a:pt x="419" y="211"/>
                  </a:lnTo>
                  <a:lnTo>
                    <a:pt x="421" y="203"/>
                  </a:lnTo>
                  <a:lnTo>
                    <a:pt x="421" y="196"/>
                  </a:lnTo>
                  <a:lnTo>
                    <a:pt x="421" y="0"/>
                  </a:lnTo>
                  <a:lnTo>
                    <a:pt x="0" y="0"/>
                  </a:lnTo>
                  <a:lnTo>
                    <a:pt x="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747">
              <a:extLst>
                <a:ext uri="{FF2B5EF4-FFF2-40B4-BE49-F238E27FC236}">
                  <a16:creationId xmlns:a16="http://schemas.microsoft.com/office/drawing/2014/main" id="{41243171-2554-4ED2-A0CE-F82C53FB1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13" y="4137025"/>
              <a:ext cx="133350" cy="85725"/>
            </a:xfrm>
            <a:custGeom>
              <a:avLst/>
              <a:gdLst>
                <a:gd name="T0" fmla="*/ 0 w 421"/>
                <a:gd name="T1" fmla="*/ 194 h 270"/>
                <a:gd name="T2" fmla="*/ 0 w 421"/>
                <a:gd name="T3" fmla="*/ 203 h 270"/>
                <a:gd name="T4" fmla="*/ 2 w 421"/>
                <a:gd name="T5" fmla="*/ 209 h 270"/>
                <a:gd name="T6" fmla="*/ 4 w 421"/>
                <a:gd name="T7" fmla="*/ 218 h 270"/>
                <a:gd name="T8" fmla="*/ 6 w 421"/>
                <a:gd name="T9" fmla="*/ 225 h 270"/>
                <a:gd name="T10" fmla="*/ 10 w 421"/>
                <a:gd name="T11" fmla="*/ 230 h 270"/>
                <a:gd name="T12" fmla="*/ 13 w 421"/>
                <a:gd name="T13" fmla="*/ 237 h 270"/>
                <a:gd name="T14" fmla="*/ 18 w 421"/>
                <a:gd name="T15" fmla="*/ 243 h 270"/>
                <a:gd name="T16" fmla="*/ 22 w 421"/>
                <a:gd name="T17" fmla="*/ 248 h 270"/>
                <a:gd name="T18" fmla="*/ 27 w 421"/>
                <a:gd name="T19" fmla="*/ 252 h 270"/>
                <a:gd name="T20" fmla="*/ 33 w 421"/>
                <a:gd name="T21" fmla="*/ 257 h 270"/>
                <a:gd name="T22" fmla="*/ 40 w 421"/>
                <a:gd name="T23" fmla="*/ 262 h 270"/>
                <a:gd name="T24" fmla="*/ 46 w 421"/>
                <a:gd name="T25" fmla="*/ 264 h 270"/>
                <a:gd name="T26" fmla="*/ 53 w 421"/>
                <a:gd name="T27" fmla="*/ 266 h 270"/>
                <a:gd name="T28" fmla="*/ 61 w 421"/>
                <a:gd name="T29" fmla="*/ 269 h 270"/>
                <a:gd name="T30" fmla="*/ 68 w 421"/>
                <a:gd name="T31" fmla="*/ 270 h 270"/>
                <a:gd name="T32" fmla="*/ 76 w 421"/>
                <a:gd name="T33" fmla="*/ 270 h 270"/>
                <a:gd name="T34" fmla="*/ 346 w 421"/>
                <a:gd name="T35" fmla="*/ 270 h 270"/>
                <a:gd name="T36" fmla="*/ 354 w 421"/>
                <a:gd name="T37" fmla="*/ 270 h 270"/>
                <a:gd name="T38" fmla="*/ 361 w 421"/>
                <a:gd name="T39" fmla="*/ 269 h 270"/>
                <a:gd name="T40" fmla="*/ 368 w 421"/>
                <a:gd name="T41" fmla="*/ 266 h 270"/>
                <a:gd name="T42" fmla="*/ 375 w 421"/>
                <a:gd name="T43" fmla="*/ 264 h 270"/>
                <a:gd name="T44" fmla="*/ 381 w 421"/>
                <a:gd name="T45" fmla="*/ 260 h 270"/>
                <a:gd name="T46" fmla="*/ 387 w 421"/>
                <a:gd name="T47" fmla="*/ 257 h 270"/>
                <a:gd name="T48" fmla="*/ 393 w 421"/>
                <a:gd name="T49" fmla="*/ 252 h 270"/>
                <a:gd name="T50" fmla="*/ 399 w 421"/>
                <a:gd name="T51" fmla="*/ 248 h 270"/>
                <a:gd name="T52" fmla="*/ 403 w 421"/>
                <a:gd name="T53" fmla="*/ 243 h 270"/>
                <a:gd name="T54" fmla="*/ 408 w 421"/>
                <a:gd name="T55" fmla="*/ 237 h 270"/>
                <a:gd name="T56" fmla="*/ 412 w 421"/>
                <a:gd name="T57" fmla="*/ 230 h 270"/>
                <a:gd name="T58" fmla="*/ 415 w 421"/>
                <a:gd name="T59" fmla="*/ 225 h 270"/>
                <a:gd name="T60" fmla="*/ 417 w 421"/>
                <a:gd name="T61" fmla="*/ 218 h 270"/>
                <a:gd name="T62" fmla="*/ 420 w 421"/>
                <a:gd name="T63" fmla="*/ 211 h 270"/>
                <a:gd name="T64" fmla="*/ 421 w 421"/>
                <a:gd name="T65" fmla="*/ 203 h 270"/>
                <a:gd name="T66" fmla="*/ 421 w 421"/>
                <a:gd name="T67" fmla="*/ 196 h 270"/>
                <a:gd name="T68" fmla="*/ 421 w 421"/>
                <a:gd name="T69" fmla="*/ 0 h 270"/>
                <a:gd name="T70" fmla="*/ 0 w 421"/>
                <a:gd name="T71" fmla="*/ 0 h 270"/>
                <a:gd name="T72" fmla="*/ 0 w 421"/>
                <a:gd name="T73" fmla="*/ 19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270">
                  <a:moveTo>
                    <a:pt x="0" y="194"/>
                  </a:moveTo>
                  <a:lnTo>
                    <a:pt x="0" y="203"/>
                  </a:lnTo>
                  <a:lnTo>
                    <a:pt x="2" y="209"/>
                  </a:lnTo>
                  <a:lnTo>
                    <a:pt x="4" y="218"/>
                  </a:lnTo>
                  <a:lnTo>
                    <a:pt x="6" y="225"/>
                  </a:lnTo>
                  <a:lnTo>
                    <a:pt x="10" y="230"/>
                  </a:lnTo>
                  <a:lnTo>
                    <a:pt x="13" y="237"/>
                  </a:lnTo>
                  <a:lnTo>
                    <a:pt x="18" y="243"/>
                  </a:lnTo>
                  <a:lnTo>
                    <a:pt x="22" y="248"/>
                  </a:lnTo>
                  <a:lnTo>
                    <a:pt x="27" y="252"/>
                  </a:lnTo>
                  <a:lnTo>
                    <a:pt x="33" y="257"/>
                  </a:lnTo>
                  <a:lnTo>
                    <a:pt x="40" y="262"/>
                  </a:lnTo>
                  <a:lnTo>
                    <a:pt x="46" y="264"/>
                  </a:lnTo>
                  <a:lnTo>
                    <a:pt x="53" y="266"/>
                  </a:lnTo>
                  <a:lnTo>
                    <a:pt x="61" y="269"/>
                  </a:lnTo>
                  <a:lnTo>
                    <a:pt x="68" y="270"/>
                  </a:lnTo>
                  <a:lnTo>
                    <a:pt x="76" y="270"/>
                  </a:lnTo>
                  <a:lnTo>
                    <a:pt x="346" y="270"/>
                  </a:lnTo>
                  <a:lnTo>
                    <a:pt x="354" y="270"/>
                  </a:lnTo>
                  <a:lnTo>
                    <a:pt x="361" y="269"/>
                  </a:lnTo>
                  <a:lnTo>
                    <a:pt x="368" y="266"/>
                  </a:lnTo>
                  <a:lnTo>
                    <a:pt x="375" y="264"/>
                  </a:lnTo>
                  <a:lnTo>
                    <a:pt x="381" y="260"/>
                  </a:lnTo>
                  <a:lnTo>
                    <a:pt x="387" y="257"/>
                  </a:lnTo>
                  <a:lnTo>
                    <a:pt x="393" y="252"/>
                  </a:lnTo>
                  <a:lnTo>
                    <a:pt x="399" y="248"/>
                  </a:lnTo>
                  <a:lnTo>
                    <a:pt x="403" y="243"/>
                  </a:lnTo>
                  <a:lnTo>
                    <a:pt x="408" y="237"/>
                  </a:lnTo>
                  <a:lnTo>
                    <a:pt x="412" y="230"/>
                  </a:lnTo>
                  <a:lnTo>
                    <a:pt x="415" y="225"/>
                  </a:lnTo>
                  <a:lnTo>
                    <a:pt x="417" y="218"/>
                  </a:lnTo>
                  <a:lnTo>
                    <a:pt x="420" y="211"/>
                  </a:lnTo>
                  <a:lnTo>
                    <a:pt x="421" y="203"/>
                  </a:lnTo>
                  <a:lnTo>
                    <a:pt x="421" y="196"/>
                  </a:lnTo>
                  <a:lnTo>
                    <a:pt x="421" y="0"/>
                  </a:lnTo>
                  <a:lnTo>
                    <a:pt x="0" y="0"/>
                  </a:lnTo>
                  <a:lnTo>
                    <a:pt x="0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748">
              <a:extLst>
                <a:ext uri="{FF2B5EF4-FFF2-40B4-BE49-F238E27FC236}">
                  <a16:creationId xmlns:a16="http://schemas.microsoft.com/office/drawing/2014/main" id="{F19379FE-5A69-44EE-B93D-0A8837421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13" y="4089400"/>
              <a:ext cx="133350" cy="38100"/>
            </a:xfrm>
            <a:custGeom>
              <a:avLst/>
              <a:gdLst>
                <a:gd name="T0" fmla="*/ 346 w 421"/>
                <a:gd name="T1" fmla="*/ 0 h 121"/>
                <a:gd name="T2" fmla="*/ 76 w 421"/>
                <a:gd name="T3" fmla="*/ 0 h 121"/>
                <a:gd name="T4" fmla="*/ 68 w 421"/>
                <a:gd name="T5" fmla="*/ 1 h 121"/>
                <a:gd name="T6" fmla="*/ 61 w 421"/>
                <a:gd name="T7" fmla="*/ 3 h 121"/>
                <a:gd name="T8" fmla="*/ 53 w 421"/>
                <a:gd name="T9" fmla="*/ 4 h 121"/>
                <a:gd name="T10" fmla="*/ 46 w 421"/>
                <a:gd name="T11" fmla="*/ 6 h 121"/>
                <a:gd name="T12" fmla="*/ 40 w 421"/>
                <a:gd name="T13" fmla="*/ 10 h 121"/>
                <a:gd name="T14" fmla="*/ 33 w 421"/>
                <a:gd name="T15" fmla="*/ 13 h 121"/>
                <a:gd name="T16" fmla="*/ 27 w 421"/>
                <a:gd name="T17" fmla="*/ 18 h 121"/>
                <a:gd name="T18" fmla="*/ 22 w 421"/>
                <a:gd name="T19" fmla="*/ 22 h 121"/>
                <a:gd name="T20" fmla="*/ 18 w 421"/>
                <a:gd name="T21" fmla="*/ 28 h 121"/>
                <a:gd name="T22" fmla="*/ 13 w 421"/>
                <a:gd name="T23" fmla="*/ 34 h 121"/>
                <a:gd name="T24" fmla="*/ 10 w 421"/>
                <a:gd name="T25" fmla="*/ 40 h 121"/>
                <a:gd name="T26" fmla="*/ 6 w 421"/>
                <a:gd name="T27" fmla="*/ 47 h 121"/>
                <a:gd name="T28" fmla="*/ 4 w 421"/>
                <a:gd name="T29" fmla="*/ 54 h 121"/>
                <a:gd name="T30" fmla="*/ 2 w 421"/>
                <a:gd name="T31" fmla="*/ 61 h 121"/>
                <a:gd name="T32" fmla="*/ 0 w 421"/>
                <a:gd name="T33" fmla="*/ 67 h 121"/>
                <a:gd name="T34" fmla="*/ 0 w 421"/>
                <a:gd name="T35" fmla="*/ 76 h 121"/>
                <a:gd name="T36" fmla="*/ 0 w 421"/>
                <a:gd name="T37" fmla="*/ 121 h 121"/>
                <a:gd name="T38" fmla="*/ 421 w 421"/>
                <a:gd name="T39" fmla="*/ 121 h 121"/>
                <a:gd name="T40" fmla="*/ 421 w 421"/>
                <a:gd name="T41" fmla="*/ 76 h 121"/>
                <a:gd name="T42" fmla="*/ 421 w 421"/>
                <a:gd name="T43" fmla="*/ 67 h 121"/>
                <a:gd name="T44" fmla="*/ 420 w 421"/>
                <a:gd name="T45" fmla="*/ 61 h 121"/>
                <a:gd name="T46" fmla="*/ 417 w 421"/>
                <a:gd name="T47" fmla="*/ 54 h 121"/>
                <a:gd name="T48" fmla="*/ 415 w 421"/>
                <a:gd name="T49" fmla="*/ 47 h 121"/>
                <a:gd name="T50" fmla="*/ 412 w 421"/>
                <a:gd name="T51" fmla="*/ 40 h 121"/>
                <a:gd name="T52" fmla="*/ 408 w 421"/>
                <a:gd name="T53" fmla="*/ 34 h 121"/>
                <a:gd name="T54" fmla="*/ 403 w 421"/>
                <a:gd name="T55" fmla="*/ 28 h 121"/>
                <a:gd name="T56" fmla="*/ 399 w 421"/>
                <a:gd name="T57" fmla="*/ 22 h 121"/>
                <a:gd name="T58" fmla="*/ 393 w 421"/>
                <a:gd name="T59" fmla="*/ 18 h 121"/>
                <a:gd name="T60" fmla="*/ 387 w 421"/>
                <a:gd name="T61" fmla="*/ 13 h 121"/>
                <a:gd name="T62" fmla="*/ 381 w 421"/>
                <a:gd name="T63" fmla="*/ 10 h 121"/>
                <a:gd name="T64" fmla="*/ 375 w 421"/>
                <a:gd name="T65" fmla="*/ 6 h 121"/>
                <a:gd name="T66" fmla="*/ 368 w 421"/>
                <a:gd name="T67" fmla="*/ 4 h 121"/>
                <a:gd name="T68" fmla="*/ 361 w 421"/>
                <a:gd name="T69" fmla="*/ 3 h 121"/>
                <a:gd name="T70" fmla="*/ 354 w 421"/>
                <a:gd name="T71" fmla="*/ 1 h 121"/>
                <a:gd name="T72" fmla="*/ 346 w 421"/>
                <a:gd name="T7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121">
                  <a:moveTo>
                    <a:pt x="346" y="0"/>
                  </a:moveTo>
                  <a:lnTo>
                    <a:pt x="76" y="0"/>
                  </a:lnTo>
                  <a:lnTo>
                    <a:pt x="68" y="1"/>
                  </a:lnTo>
                  <a:lnTo>
                    <a:pt x="61" y="3"/>
                  </a:lnTo>
                  <a:lnTo>
                    <a:pt x="53" y="4"/>
                  </a:lnTo>
                  <a:lnTo>
                    <a:pt x="46" y="6"/>
                  </a:lnTo>
                  <a:lnTo>
                    <a:pt x="40" y="10"/>
                  </a:lnTo>
                  <a:lnTo>
                    <a:pt x="33" y="13"/>
                  </a:lnTo>
                  <a:lnTo>
                    <a:pt x="27" y="18"/>
                  </a:lnTo>
                  <a:lnTo>
                    <a:pt x="22" y="22"/>
                  </a:lnTo>
                  <a:lnTo>
                    <a:pt x="18" y="28"/>
                  </a:lnTo>
                  <a:lnTo>
                    <a:pt x="13" y="34"/>
                  </a:lnTo>
                  <a:lnTo>
                    <a:pt x="10" y="40"/>
                  </a:lnTo>
                  <a:lnTo>
                    <a:pt x="6" y="47"/>
                  </a:lnTo>
                  <a:lnTo>
                    <a:pt x="4" y="54"/>
                  </a:lnTo>
                  <a:lnTo>
                    <a:pt x="2" y="61"/>
                  </a:lnTo>
                  <a:lnTo>
                    <a:pt x="0" y="67"/>
                  </a:lnTo>
                  <a:lnTo>
                    <a:pt x="0" y="76"/>
                  </a:lnTo>
                  <a:lnTo>
                    <a:pt x="0" y="121"/>
                  </a:lnTo>
                  <a:lnTo>
                    <a:pt x="421" y="121"/>
                  </a:lnTo>
                  <a:lnTo>
                    <a:pt x="421" y="76"/>
                  </a:lnTo>
                  <a:lnTo>
                    <a:pt x="421" y="67"/>
                  </a:lnTo>
                  <a:lnTo>
                    <a:pt x="420" y="61"/>
                  </a:lnTo>
                  <a:lnTo>
                    <a:pt x="417" y="54"/>
                  </a:lnTo>
                  <a:lnTo>
                    <a:pt x="415" y="47"/>
                  </a:lnTo>
                  <a:lnTo>
                    <a:pt x="412" y="40"/>
                  </a:lnTo>
                  <a:lnTo>
                    <a:pt x="408" y="34"/>
                  </a:lnTo>
                  <a:lnTo>
                    <a:pt x="403" y="28"/>
                  </a:lnTo>
                  <a:lnTo>
                    <a:pt x="399" y="22"/>
                  </a:lnTo>
                  <a:lnTo>
                    <a:pt x="393" y="18"/>
                  </a:lnTo>
                  <a:lnTo>
                    <a:pt x="387" y="13"/>
                  </a:lnTo>
                  <a:lnTo>
                    <a:pt x="381" y="10"/>
                  </a:lnTo>
                  <a:lnTo>
                    <a:pt x="375" y="6"/>
                  </a:lnTo>
                  <a:lnTo>
                    <a:pt x="368" y="4"/>
                  </a:lnTo>
                  <a:lnTo>
                    <a:pt x="361" y="3"/>
                  </a:lnTo>
                  <a:lnTo>
                    <a:pt x="354" y="1"/>
                  </a:lnTo>
                  <a:lnTo>
                    <a:pt x="3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749">
              <a:extLst>
                <a:ext uri="{FF2B5EF4-FFF2-40B4-BE49-F238E27FC236}">
                  <a16:creationId xmlns:a16="http://schemas.microsoft.com/office/drawing/2014/main" id="{FB63E973-9CA9-4F16-8C29-07D5FD76F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4137025"/>
              <a:ext cx="134938" cy="85725"/>
            </a:xfrm>
            <a:custGeom>
              <a:avLst/>
              <a:gdLst>
                <a:gd name="T0" fmla="*/ 0 w 421"/>
                <a:gd name="T1" fmla="*/ 194 h 270"/>
                <a:gd name="T2" fmla="*/ 0 w 421"/>
                <a:gd name="T3" fmla="*/ 203 h 270"/>
                <a:gd name="T4" fmla="*/ 1 w 421"/>
                <a:gd name="T5" fmla="*/ 209 h 270"/>
                <a:gd name="T6" fmla="*/ 4 w 421"/>
                <a:gd name="T7" fmla="*/ 218 h 270"/>
                <a:gd name="T8" fmla="*/ 6 w 421"/>
                <a:gd name="T9" fmla="*/ 225 h 270"/>
                <a:gd name="T10" fmla="*/ 9 w 421"/>
                <a:gd name="T11" fmla="*/ 230 h 270"/>
                <a:gd name="T12" fmla="*/ 13 w 421"/>
                <a:gd name="T13" fmla="*/ 237 h 270"/>
                <a:gd name="T14" fmla="*/ 17 w 421"/>
                <a:gd name="T15" fmla="*/ 243 h 270"/>
                <a:gd name="T16" fmla="*/ 22 w 421"/>
                <a:gd name="T17" fmla="*/ 248 h 270"/>
                <a:gd name="T18" fmla="*/ 27 w 421"/>
                <a:gd name="T19" fmla="*/ 252 h 270"/>
                <a:gd name="T20" fmla="*/ 33 w 421"/>
                <a:gd name="T21" fmla="*/ 257 h 270"/>
                <a:gd name="T22" fmla="*/ 39 w 421"/>
                <a:gd name="T23" fmla="*/ 262 h 270"/>
                <a:gd name="T24" fmla="*/ 45 w 421"/>
                <a:gd name="T25" fmla="*/ 264 h 270"/>
                <a:gd name="T26" fmla="*/ 52 w 421"/>
                <a:gd name="T27" fmla="*/ 266 h 270"/>
                <a:gd name="T28" fmla="*/ 60 w 421"/>
                <a:gd name="T29" fmla="*/ 269 h 270"/>
                <a:gd name="T30" fmla="*/ 67 w 421"/>
                <a:gd name="T31" fmla="*/ 270 h 270"/>
                <a:gd name="T32" fmla="*/ 75 w 421"/>
                <a:gd name="T33" fmla="*/ 270 h 270"/>
                <a:gd name="T34" fmla="*/ 345 w 421"/>
                <a:gd name="T35" fmla="*/ 270 h 270"/>
                <a:gd name="T36" fmla="*/ 353 w 421"/>
                <a:gd name="T37" fmla="*/ 270 h 270"/>
                <a:gd name="T38" fmla="*/ 360 w 421"/>
                <a:gd name="T39" fmla="*/ 269 h 270"/>
                <a:gd name="T40" fmla="*/ 367 w 421"/>
                <a:gd name="T41" fmla="*/ 266 h 270"/>
                <a:gd name="T42" fmla="*/ 374 w 421"/>
                <a:gd name="T43" fmla="*/ 264 h 270"/>
                <a:gd name="T44" fmla="*/ 381 w 421"/>
                <a:gd name="T45" fmla="*/ 260 h 270"/>
                <a:gd name="T46" fmla="*/ 387 w 421"/>
                <a:gd name="T47" fmla="*/ 257 h 270"/>
                <a:gd name="T48" fmla="*/ 393 w 421"/>
                <a:gd name="T49" fmla="*/ 252 h 270"/>
                <a:gd name="T50" fmla="*/ 399 w 421"/>
                <a:gd name="T51" fmla="*/ 248 h 270"/>
                <a:gd name="T52" fmla="*/ 403 w 421"/>
                <a:gd name="T53" fmla="*/ 243 h 270"/>
                <a:gd name="T54" fmla="*/ 408 w 421"/>
                <a:gd name="T55" fmla="*/ 237 h 270"/>
                <a:gd name="T56" fmla="*/ 411 w 421"/>
                <a:gd name="T57" fmla="*/ 230 h 270"/>
                <a:gd name="T58" fmla="*/ 415 w 421"/>
                <a:gd name="T59" fmla="*/ 225 h 270"/>
                <a:gd name="T60" fmla="*/ 417 w 421"/>
                <a:gd name="T61" fmla="*/ 218 h 270"/>
                <a:gd name="T62" fmla="*/ 419 w 421"/>
                <a:gd name="T63" fmla="*/ 211 h 270"/>
                <a:gd name="T64" fmla="*/ 421 w 421"/>
                <a:gd name="T65" fmla="*/ 203 h 270"/>
                <a:gd name="T66" fmla="*/ 421 w 421"/>
                <a:gd name="T67" fmla="*/ 196 h 270"/>
                <a:gd name="T68" fmla="*/ 421 w 421"/>
                <a:gd name="T69" fmla="*/ 0 h 270"/>
                <a:gd name="T70" fmla="*/ 0 w 421"/>
                <a:gd name="T71" fmla="*/ 0 h 270"/>
                <a:gd name="T72" fmla="*/ 0 w 421"/>
                <a:gd name="T73" fmla="*/ 19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270">
                  <a:moveTo>
                    <a:pt x="0" y="194"/>
                  </a:moveTo>
                  <a:lnTo>
                    <a:pt x="0" y="203"/>
                  </a:lnTo>
                  <a:lnTo>
                    <a:pt x="1" y="209"/>
                  </a:lnTo>
                  <a:lnTo>
                    <a:pt x="4" y="218"/>
                  </a:lnTo>
                  <a:lnTo>
                    <a:pt x="6" y="225"/>
                  </a:lnTo>
                  <a:lnTo>
                    <a:pt x="9" y="230"/>
                  </a:lnTo>
                  <a:lnTo>
                    <a:pt x="13" y="237"/>
                  </a:lnTo>
                  <a:lnTo>
                    <a:pt x="17" y="243"/>
                  </a:lnTo>
                  <a:lnTo>
                    <a:pt x="22" y="248"/>
                  </a:lnTo>
                  <a:lnTo>
                    <a:pt x="27" y="252"/>
                  </a:lnTo>
                  <a:lnTo>
                    <a:pt x="33" y="257"/>
                  </a:lnTo>
                  <a:lnTo>
                    <a:pt x="39" y="262"/>
                  </a:lnTo>
                  <a:lnTo>
                    <a:pt x="45" y="264"/>
                  </a:lnTo>
                  <a:lnTo>
                    <a:pt x="52" y="266"/>
                  </a:lnTo>
                  <a:lnTo>
                    <a:pt x="60" y="269"/>
                  </a:lnTo>
                  <a:lnTo>
                    <a:pt x="67" y="270"/>
                  </a:lnTo>
                  <a:lnTo>
                    <a:pt x="75" y="270"/>
                  </a:lnTo>
                  <a:lnTo>
                    <a:pt x="345" y="270"/>
                  </a:lnTo>
                  <a:lnTo>
                    <a:pt x="353" y="270"/>
                  </a:lnTo>
                  <a:lnTo>
                    <a:pt x="360" y="269"/>
                  </a:lnTo>
                  <a:lnTo>
                    <a:pt x="367" y="266"/>
                  </a:lnTo>
                  <a:lnTo>
                    <a:pt x="374" y="264"/>
                  </a:lnTo>
                  <a:lnTo>
                    <a:pt x="381" y="260"/>
                  </a:lnTo>
                  <a:lnTo>
                    <a:pt x="387" y="257"/>
                  </a:lnTo>
                  <a:lnTo>
                    <a:pt x="393" y="252"/>
                  </a:lnTo>
                  <a:lnTo>
                    <a:pt x="399" y="248"/>
                  </a:lnTo>
                  <a:lnTo>
                    <a:pt x="403" y="243"/>
                  </a:lnTo>
                  <a:lnTo>
                    <a:pt x="408" y="237"/>
                  </a:lnTo>
                  <a:lnTo>
                    <a:pt x="411" y="230"/>
                  </a:lnTo>
                  <a:lnTo>
                    <a:pt x="415" y="225"/>
                  </a:lnTo>
                  <a:lnTo>
                    <a:pt x="417" y="218"/>
                  </a:lnTo>
                  <a:lnTo>
                    <a:pt x="419" y="211"/>
                  </a:lnTo>
                  <a:lnTo>
                    <a:pt x="421" y="203"/>
                  </a:lnTo>
                  <a:lnTo>
                    <a:pt x="421" y="196"/>
                  </a:lnTo>
                  <a:lnTo>
                    <a:pt x="421" y="0"/>
                  </a:lnTo>
                  <a:lnTo>
                    <a:pt x="0" y="0"/>
                  </a:lnTo>
                  <a:lnTo>
                    <a:pt x="0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750">
              <a:extLst>
                <a:ext uri="{FF2B5EF4-FFF2-40B4-BE49-F238E27FC236}">
                  <a16:creationId xmlns:a16="http://schemas.microsoft.com/office/drawing/2014/main" id="{01C961D6-1630-4516-9BC7-E4CA7D970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4089400"/>
              <a:ext cx="134938" cy="38100"/>
            </a:xfrm>
            <a:custGeom>
              <a:avLst/>
              <a:gdLst>
                <a:gd name="T0" fmla="*/ 345 w 421"/>
                <a:gd name="T1" fmla="*/ 0 h 121"/>
                <a:gd name="T2" fmla="*/ 75 w 421"/>
                <a:gd name="T3" fmla="*/ 0 h 121"/>
                <a:gd name="T4" fmla="*/ 67 w 421"/>
                <a:gd name="T5" fmla="*/ 1 h 121"/>
                <a:gd name="T6" fmla="*/ 60 w 421"/>
                <a:gd name="T7" fmla="*/ 3 h 121"/>
                <a:gd name="T8" fmla="*/ 52 w 421"/>
                <a:gd name="T9" fmla="*/ 4 h 121"/>
                <a:gd name="T10" fmla="*/ 45 w 421"/>
                <a:gd name="T11" fmla="*/ 6 h 121"/>
                <a:gd name="T12" fmla="*/ 39 w 421"/>
                <a:gd name="T13" fmla="*/ 10 h 121"/>
                <a:gd name="T14" fmla="*/ 33 w 421"/>
                <a:gd name="T15" fmla="*/ 13 h 121"/>
                <a:gd name="T16" fmla="*/ 27 w 421"/>
                <a:gd name="T17" fmla="*/ 18 h 121"/>
                <a:gd name="T18" fmla="*/ 22 w 421"/>
                <a:gd name="T19" fmla="*/ 22 h 121"/>
                <a:gd name="T20" fmla="*/ 17 w 421"/>
                <a:gd name="T21" fmla="*/ 28 h 121"/>
                <a:gd name="T22" fmla="*/ 13 w 421"/>
                <a:gd name="T23" fmla="*/ 34 h 121"/>
                <a:gd name="T24" fmla="*/ 9 w 421"/>
                <a:gd name="T25" fmla="*/ 40 h 121"/>
                <a:gd name="T26" fmla="*/ 6 w 421"/>
                <a:gd name="T27" fmla="*/ 47 h 121"/>
                <a:gd name="T28" fmla="*/ 4 w 421"/>
                <a:gd name="T29" fmla="*/ 54 h 121"/>
                <a:gd name="T30" fmla="*/ 1 w 421"/>
                <a:gd name="T31" fmla="*/ 61 h 121"/>
                <a:gd name="T32" fmla="*/ 0 w 421"/>
                <a:gd name="T33" fmla="*/ 67 h 121"/>
                <a:gd name="T34" fmla="*/ 0 w 421"/>
                <a:gd name="T35" fmla="*/ 76 h 121"/>
                <a:gd name="T36" fmla="*/ 0 w 421"/>
                <a:gd name="T37" fmla="*/ 121 h 121"/>
                <a:gd name="T38" fmla="*/ 421 w 421"/>
                <a:gd name="T39" fmla="*/ 121 h 121"/>
                <a:gd name="T40" fmla="*/ 421 w 421"/>
                <a:gd name="T41" fmla="*/ 76 h 121"/>
                <a:gd name="T42" fmla="*/ 421 w 421"/>
                <a:gd name="T43" fmla="*/ 67 h 121"/>
                <a:gd name="T44" fmla="*/ 419 w 421"/>
                <a:gd name="T45" fmla="*/ 61 h 121"/>
                <a:gd name="T46" fmla="*/ 417 w 421"/>
                <a:gd name="T47" fmla="*/ 54 h 121"/>
                <a:gd name="T48" fmla="*/ 415 w 421"/>
                <a:gd name="T49" fmla="*/ 47 h 121"/>
                <a:gd name="T50" fmla="*/ 411 w 421"/>
                <a:gd name="T51" fmla="*/ 40 h 121"/>
                <a:gd name="T52" fmla="*/ 408 w 421"/>
                <a:gd name="T53" fmla="*/ 34 h 121"/>
                <a:gd name="T54" fmla="*/ 403 w 421"/>
                <a:gd name="T55" fmla="*/ 28 h 121"/>
                <a:gd name="T56" fmla="*/ 399 w 421"/>
                <a:gd name="T57" fmla="*/ 22 h 121"/>
                <a:gd name="T58" fmla="*/ 393 w 421"/>
                <a:gd name="T59" fmla="*/ 18 h 121"/>
                <a:gd name="T60" fmla="*/ 387 w 421"/>
                <a:gd name="T61" fmla="*/ 13 h 121"/>
                <a:gd name="T62" fmla="*/ 381 w 421"/>
                <a:gd name="T63" fmla="*/ 10 h 121"/>
                <a:gd name="T64" fmla="*/ 374 w 421"/>
                <a:gd name="T65" fmla="*/ 6 h 121"/>
                <a:gd name="T66" fmla="*/ 367 w 421"/>
                <a:gd name="T67" fmla="*/ 4 h 121"/>
                <a:gd name="T68" fmla="*/ 360 w 421"/>
                <a:gd name="T69" fmla="*/ 3 h 121"/>
                <a:gd name="T70" fmla="*/ 353 w 421"/>
                <a:gd name="T71" fmla="*/ 1 h 121"/>
                <a:gd name="T72" fmla="*/ 345 w 421"/>
                <a:gd name="T7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121">
                  <a:moveTo>
                    <a:pt x="345" y="0"/>
                  </a:moveTo>
                  <a:lnTo>
                    <a:pt x="75" y="0"/>
                  </a:lnTo>
                  <a:lnTo>
                    <a:pt x="67" y="1"/>
                  </a:lnTo>
                  <a:lnTo>
                    <a:pt x="60" y="3"/>
                  </a:lnTo>
                  <a:lnTo>
                    <a:pt x="52" y="4"/>
                  </a:lnTo>
                  <a:lnTo>
                    <a:pt x="45" y="6"/>
                  </a:lnTo>
                  <a:lnTo>
                    <a:pt x="39" y="10"/>
                  </a:lnTo>
                  <a:lnTo>
                    <a:pt x="33" y="13"/>
                  </a:lnTo>
                  <a:lnTo>
                    <a:pt x="27" y="18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3" y="34"/>
                  </a:lnTo>
                  <a:lnTo>
                    <a:pt x="9" y="40"/>
                  </a:lnTo>
                  <a:lnTo>
                    <a:pt x="6" y="47"/>
                  </a:lnTo>
                  <a:lnTo>
                    <a:pt x="4" y="54"/>
                  </a:lnTo>
                  <a:lnTo>
                    <a:pt x="1" y="61"/>
                  </a:lnTo>
                  <a:lnTo>
                    <a:pt x="0" y="67"/>
                  </a:lnTo>
                  <a:lnTo>
                    <a:pt x="0" y="76"/>
                  </a:lnTo>
                  <a:lnTo>
                    <a:pt x="0" y="121"/>
                  </a:lnTo>
                  <a:lnTo>
                    <a:pt x="421" y="121"/>
                  </a:lnTo>
                  <a:lnTo>
                    <a:pt x="421" y="76"/>
                  </a:lnTo>
                  <a:lnTo>
                    <a:pt x="421" y="67"/>
                  </a:lnTo>
                  <a:lnTo>
                    <a:pt x="419" y="61"/>
                  </a:lnTo>
                  <a:lnTo>
                    <a:pt x="417" y="54"/>
                  </a:lnTo>
                  <a:lnTo>
                    <a:pt x="415" y="47"/>
                  </a:lnTo>
                  <a:lnTo>
                    <a:pt x="411" y="40"/>
                  </a:lnTo>
                  <a:lnTo>
                    <a:pt x="408" y="34"/>
                  </a:lnTo>
                  <a:lnTo>
                    <a:pt x="403" y="28"/>
                  </a:lnTo>
                  <a:lnTo>
                    <a:pt x="399" y="22"/>
                  </a:lnTo>
                  <a:lnTo>
                    <a:pt x="393" y="18"/>
                  </a:lnTo>
                  <a:lnTo>
                    <a:pt x="387" y="13"/>
                  </a:lnTo>
                  <a:lnTo>
                    <a:pt x="381" y="10"/>
                  </a:lnTo>
                  <a:lnTo>
                    <a:pt x="374" y="6"/>
                  </a:lnTo>
                  <a:lnTo>
                    <a:pt x="367" y="4"/>
                  </a:lnTo>
                  <a:lnTo>
                    <a:pt x="360" y="3"/>
                  </a:lnTo>
                  <a:lnTo>
                    <a:pt x="353" y="1"/>
                  </a:lnTo>
                  <a:lnTo>
                    <a:pt x="3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071DCA7-3A30-4946-9B0C-27D5C6ABC91C}"/>
              </a:ext>
            </a:extLst>
          </p:cNvPr>
          <p:cNvGrpSpPr/>
          <p:nvPr/>
        </p:nvGrpSpPr>
        <p:grpSpPr>
          <a:xfrm>
            <a:off x="6564709" y="2243445"/>
            <a:ext cx="277813" cy="276225"/>
            <a:chOff x="6105525" y="1922463"/>
            <a:chExt cx="277813" cy="276225"/>
          </a:xfrm>
          <a:solidFill>
            <a:schemeClr val="bg1"/>
          </a:solidFill>
        </p:grpSpPr>
        <p:sp>
          <p:nvSpPr>
            <p:cNvPr id="48" name="Freeform 2023">
              <a:extLst>
                <a:ext uri="{FF2B5EF4-FFF2-40B4-BE49-F238E27FC236}">
                  <a16:creationId xmlns:a16="http://schemas.microsoft.com/office/drawing/2014/main" id="{F92FACC3-46C3-4A8A-ABEC-D6A8DF7FBB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5525" y="1960563"/>
              <a:ext cx="96838" cy="47625"/>
            </a:xfrm>
            <a:custGeom>
              <a:avLst/>
              <a:gdLst>
                <a:gd name="T0" fmla="*/ 195 w 303"/>
                <a:gd name="T1" fmla="*/ 105 h 150"/>
                <a:gd name="T2" fmla="*/ 165 w 303"/>
                <a:gd name="T3" fmla="*/ 105 h 150"/>
                <a:gd name="T4" fmla="*/ 162 w 303"/>
                <a:gd name="T5" fmla="*/ 105 h 150"/>
                <a:gd name="T6" fmla="*/ 160 w 303"/>
                <a:gd name="T7" fmla="*/ 104 h 150"/>
                <a:gd name="T8" fmla="*/ 157 w 303"/>
                <a:gd name="T9" fmla="*/ 103 h 150"/>
                <a:gd name="T10" fmla="*/ 155 w 303"/>
                <a:gd name="T11" fmla="*/ 101 h 150"/>
                <a:gd name="T12" fmla="*/ 153 w 303"/>
                <a:gd name="T13" fmla="*/ 98 h 150"/>
                <a:gd name="T14" fmla="*/ 151 w 303"/>
                <a:gd name="T15" fmla="*/ 96 h 150"/>
                <a:gd name="T16" fmla="*/ 151 w 303"/>
                <a:gd name="T17" fmla="*/ 93 h 150"/>
                <a:gd name="T18" fmla="*/ 150 w 303"/>
                <a:gd name="T19" fmla="*/ 90 h 150"/>
                <a:gd name="T20" fmla="*/ 151 w 303"/>
                <a:gd name="T21" fmla="*/ 88 h 150"/>
                <a:gd name="T22" fmla="*/ 151 w 303"/>
                <a:gd name="T23" fmla="*/ 85 h 150"/>
                <a:gd name="T24" fmla="*/ 153 w 303"/>
                <a:gd name="T25" fmla="*/ 82 h 150"/>
                <a:gd name="T26" fmla="*/ 155 w 303"/>
                <a:gd name="T27" fmla="*/ 80 h 150"/>
                <a:gd name="T28" fmla="*/ 157 w 303"/>
                <a:gd name="T29" fmla="*/ 78 h 150"/>
                <a:gd name="T30" fmla="*/ 160 w 303"/>
                <a:gd name="T31" fmla="*/ 77 h 150"/>
                <a:gd name="T32" fmla="*/ 162 w 303"/>
                <a:gd name="T33" fmla="*/ 76 h 150"/>
                <a:gd name="T34" fmla="*/ 165 w 303"/>
                <a:gd name="T35" fmla="*/ 75 h 150"/>
                <a:gd name="T36" fmla="*/ 195 w 303"/>
                <a:gd name="T37" fmla="*/ 75 h 150"/>
                <a:gd name="T38" fmla="*/ 199 w 303"/>
                <a:gd name="T39" fmla="*/ 76 h 150"/>
                <a:gd name="T40" fmla="*/ 202 w 303"/>
                <a:gd name="T41" fmla="*/ 77 h 150"/>
                <a:gd name="T42" fmla="*/ 204 w 303"/>
                <a:gd name="T43" fmla="*/ 78 h 150"/>
                <a:gd name="T44" fmla="*/ 206 w 303"/>
                <a:gd name="T45" fmla="*/ 80 h 150"/>
                <a:gd name="T46" fmla="*/ 208 w 303"/>
                <a:gd name="T47" fmla="*/ 82 h 150"/>
                <a:gd name="T48" fmla="*/ 209 w 303"/>
                <a:gd name="T49" fmla="*/ 85 h 150"/>
                <a:gd name="T50" fmla="*/ 210 w 303"/>
                <a:gd name="T51" fmla="*/ 88 h 150"/>
                <a:gd name="T52" fmla="*/ 210 w 303"/>
                <a:gd name="T53" fmla="*/ 90 h 150"/>
                <a:gd name="T54" fmla="*/ 210 w 303"/>
                <a:gd name="T55" fmla="*/ 93 h 150"/>
                <a:gd name="T56" fmla="*/ 209 w 303"/>
                <a:gd name="T57" fmla="*/ 96 h 150"/>
                <a:gd name="T58" fmla="*/ 208 w 303"/>
                <a:gd name="T59" fmla="*/ 98 h 150"/>
                <a:gd name="T60" fmla="*/ 206 w 303"/>
                <a:gd name="T61" fmla="*/ 101 h 150"/>
                <a:gd name="T62" fmla="*/ 204 w 303"/>
                <a:gd name="T63" fmla="*/ 103 h 150"/>
                <a:gd name="T64" fmla="*/ 202 w 303"/>
                <a:gd name="T65" fmla="*/ 104 h 150"/>
                <a:gd name="T66" fmla="*/ 199 w 303"/>
                <a:gd name="T67" fmla="*/ 105 h 150"/>
                <a:gd name="T68" fmla="*/ 195 w 303"/>
                <a:gd name="T69" fmla="*/ 105 h 150"/>
                <a:gd name="T70" fmla="*/ 195 w 303"/>
                <a:gd name="T71" fmla="*/ 105 h 150"/>
                <a:gd name="T72" fmla="*/ 300 w 303"/>
                <a:gd name="T73" fmla="*/ 135 h 150"/>
                <a:gd name="T74" fmla="*/ 300 w 303"/>
                <a:gd name="T75" fmla="*/ 0 h 150"/>
                <a:gd name="T76" fmla="*/ 90 w 303"/>
                <a:gd name="T77" fmla="*/ 0 h 150"/>
                <a:gd name="T78" fmla="*/ 82 w 303"/>
                <a:gd name="T79" fmla="*/ 1 h 150"/>
                <a:gd name="T80" fmla="*/ 72 w 303"/>
                <a:gd name="T81" fmla="*/ 2 h 150"/>
                <a:gd name="T82" fmla="*/ 63 w 303"/>
                <a:gd name="T83" fmla="*/ 4 h 150"/>
                <a:gd name="T84" fmla="*/ 55 w 303"/>
                <a:gd name="T85" fmla="*/ 7 h 150"/>
                <a:gd name="T86" fmla="*/ 47 w 303"/>
                <a:gd name="T87" fmla="*/ 10 h 150"/>
                <a:gd name="T88" fmla="*/ 40 w 303"/>
                <a:gd name="T89" fmla="*/ 15 h 150"/>
                <a:gd name="T90" fmla="*/ 32 w 303"/>
                <a:gd name="T91" fmla="*/ 20 h 150"/>
                <a:gd name="T92" fmla="*/ 27 w 303"/>
                <a:gd name="T93" fmla="*/ 27 h 150"/>
                <a:gd name="T94" fmla="*/ 20 w 303"/>
                <a:gd name="T95" fmla="*/ 33 h 150"/>
                <a:gd name="T96" fmla="*/ 15 w 303"/>
                <a:gd name="T97" fmla="*/ 39 h 150"/>
                <a:gd name="T98" fmla="*/ 11 w 303"/>
                <a:gd name="T99" fmla="*/ 47 h 150"/>
                <a:gd name="T100" fmla="*/ 8 w 303"/>
                <a:gd name="T101" fmla="*/ 54 h 150"/>
                <a:gd name="T102" fmla="*/ 4 w 303"/>
                <a:gd name="T103" fmla="*/ 63 h 150"/>
                <a:gd name="T104" fmla="*/ 2 w 303"/>
                <a:gd name="T105" fmla="*/ 72 h 150"/>
                <a:gd name="T106" fmla="*/ 1 w 303"/>
                <a:gd name="T107" fmla="*/ 81 h 150"/>
                <a:gd name="T108" fmla="*/ 0 w 303"/>
                <a:gd name="T109" fmla="*/ 90 h 150"/>
                <a:gd name="T110" fmla="*/ 0 w 303"/>
                <a:gd name="T111" fmla="*/ 150 h 150"/>
                <a:gd name="T112" fmla="*/ 303 w 303"/>
                <a:gd name="T113" fmla="*/ 150 h 150"/>
                <a:gd name="T114" fmla="*/ 301 w 303"/>
                <a:gd name="T115" fmla="*/ 144 h 150"/>
                <a:gd name="T116" fmla="*/ 300 w 303"/>
                <a:gd name="T117" fmla="*/ 135 h 150"/>
                <a:gd name="T118" fmla="*/ 300 w 303"/>
                <a:gd name="T119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3" h="150">
                  <a:moveTo>
                    <a:pt x="195" y="105"/>
                  </a:moveTo>
                  <a:lnTo>
                    <a:pt x="165" y="105"/>
                  </a:lnTo>
                  <a:lnTo>
                    <a:pt x="162" y="105"/>
                  </a:lnTo>
                  <a:lnTo>
                    <a:pt x="160" y="104"/>
                  </a:lnTo>
                  <a:lnTo>
                    <a:pt x="157" y="103"/>
                  </a:lnTo>
                  <a:lnTo>
                    <a:pt x="155" y="101"/>
                  </a:lnTo>
                  <a:lnTo>
                    <a:pt x="153" y="98"/>
                  </a:lnTo>
                  <a:lnTo>
                    <a:pt x="151" y="96"/>
                  </a:lnTo>
                  <a:lnTo>
                    <a:pt x="151" y="93"/>
                  </a:lnTo>
                  <a:lnTo>
                    <a:pt x="150" y="90"/>
                  </a:lnTo>
                  <a:lnTo>
                    <a:pt x="151" y="88"/>
                  </a:lnTo>
                  <a:lnTo>
                    <a:pt x="151" y="85"/>
                  </a:lnTo>
                  <a:lnTo>
                    <a:pt x="153" y="82"/>
                  </a:lnTo>
                  <a:lnTo>
                    <a:pt x="155" y="80"/>
                  </a:lnTo>
                  <a:lnTo>
                    <a:pt x="157" y="78"/>
                  </a:lnTo>
                  <a:lnTo>
                    <a:pt x="160" y="77"/>
                  </a:lnTo>
                  <a:lnTo>
                    <a:pt x="162" y="76"/>
                  </a:lnTo>
                  <a:lnTo>
                    <a:pt x="165" y="75"/>
                  </a:lnTo>
                  <a:lnTo>
                    <a:pt x="195" y="75"/>
                  </a:lnTo>
                  <a:lnTo>
                    <a:pt x="199" y="76"/>
                  </a:lnTo>
                  <a:lnTo>
                    <a:pt x="202" y="77"/>
                  </a:lnTo>
                  <a:lnTo>
                    <a:pt x="204" y="78"/>
                  </a:lnTo>
                  <a:lnTo>
                    <a:pt x="206" y="80"/>
                  </a:lnTo>
                  <a:lnTo>
                    <a:pt x="208" y="82"/>
                  </a:lnTo>
                  <a:lnTo>
                    <a:pt x="209" y="85"/>
                  </a:lnTo>
                  <a:lnTo>
                    <a:pt x="210" y="88"/>
                  </a:lnTo>
                  <a:lnTo>
                    <a:pt x="210" y="90"/>
                  </a:lnTo>
                  <a:lnTo>
                    <a:pt x="210" y="93"/>
                  </a:lnTo>
                  <a:lnTo>
                    <a:pt x="209" y="96"/>
                  </a:lnTo>
                  <a:lnTo>
                    <a:pt x="208" y="98"/>
                  </a:lnTo>
                  <a:lnTo>
                    <a:pt x="206" y="101"/>
                  </a:lnTo>
                  <a:lnTo>
                    <a:pt x="204" y="103"/>
                  </a:lnTo>
                  <a:lnTo>
                    <a:pt x="202" y="104"/>
                  </a:lnTo>
                  <a:lnTo>
                    <a:pt x="199" y="105"/>
                  </a:lnTo>
                  <a:lnTo>
                    <a:pt x="195" y="105"/>
                  </a:lnTo>
                  <a:lnTo>
                    <a:pt x="195" y="105"/>
                  </a:lnTo>
                  <a:close/>
                  <a:moveTo>
                    <a:pt x="300" y="135"/>
                  </a:moveTo>
                  <a:lnTo>
                    <a:pt x="300" y="0"/>
                  </a:lnTo>
                  <a:lnTo>
                    <a:pt x="90" y="0"/>
                  </a:lnTo>
                  <a:lnTo>
                    <a:pt x="82" y="1"/>
                  </a:lnTo>
                  <a:lnTo>
                    <a:pt x="72" y="2"/>
                  </a:lnTo>
                  <a:lnTo>
                    <a:pt x="63" y="4"/>
                  </a:lnTo>
                  <a:lnTo>
                    <a:pt x="55" y="7"/>
                  </a:lnTo>
                  <a:lnTo>
                    <a:pt x="47" y="10"/>
                  </a:lnTo>
                  <a:lnTo>
                    <a:pt x="40" y="15"/>
                  </a:lnTo>
                  <a:lnTo>
                    <a:pt x="32" y="20"/>
                  </a:lnTo>
                  <a:lnTo>
                    <a:pt x="27" y="27"/>
                  </a:lnTo>
                  <a:lnTo>
                    <a:pt x="20" y="33"/>
                  </a:lnTo>
                  <a:lnTo>
                    <a:pt x="15" y="39"/>
                  </a:lnTo>
                  <a:lnTo>
                    <a:pt x="11" y="47"/>
                  </a:lnTo>
                  <a:lnTo>
                    <a:pt x="8" y="54"/>
                  </a:lnTo>
                  <a:lnTo>
                    <a:pt x="4" y="63"/>
                  </a:lnTo>
                  <a:lnTo>
                    <a:pt x="2" y="72"/>
                  </a:lnTo>
                  <a:lnTo>
                    <a:pt x="1" y="81"/>
                  </a:lnTo>
                  <a:lnTo>
                    <a:pt x="0" y="90"/>
                  </a:lnTo>
                  <a:lnTo>
                    <a:pt x="0" y="150"/>
                  </a:lnTo>
                  <a:lnTo>
                    <a:pt x="303" y="150"/>
                  </a:lnTo>
                  <a:lnTo>
                    <a:pt x="301" y="144"/>
                  </a:lnTo>
                  <a:lnTo>
                    <a:pt x="300" y="135"/>
                  </a:lnTo>
                  <a:lnTo>
                    <a:pt x="300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024">
              <a:extLst>
                <a:ext uri="{FF2B5EF4-FFF2-40B4-BE49-F238E27FC236}">
                  <a16:creationId xmlns:a16="http://schemas.microsoft.com/office/drawing/2014/main" id="{6DC124FB-D5FB-4BDF-8768-AD5C160B34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5525" y="2151063"/>
              <a:ext cx="142875" cy="47625"/>
            </a:xfrm>
            <a:custGeom>
              <a:avLst/>
              <a:gdLst>
                <a:gd name="T0" fmla="*/ 231 w 451"/>
                <a:gd name="T1" fmla="*/ 25 h 150"/>
                <a:gd name="T2" fmla="*/ 242 w 451"/>
                <a:gd name="T3" fmla="*/ 31 h 150"/>
                <a:gd name="T4" fmla="*/ 252 w 451"/>
                <a:gd name="T5" fmla="*/ 39 h 150"/>
                <a:gd name="T6" fmla="*/ 258 w 451"/>
                <a:gd name="T7" fmla="*/ 52 h 150"/>
                <a:gd name="T8" fmla="*/ 258 w 451"/>
                <a:gd name="T9" fmla="*/ 65 h 150"/>
                <a:gd name="T10" fmla="*/ 252 w 451"/>
                <a:gd name="T11" fmla="*/ 78 h 150"/>
                <a:gd name="T12" fmla="*/ 242 w 451"/>
                <a:gd name="T13" fmla="*/ 86 h 150"/>
                <a:gd name="T14" fmla="*/ 231 w 451"/>
                <a:gd name="T15" fmla="*/ 92 h 150"/>
                <a:gd name="T16" fmla="*/ 217 w 451"/>
                <a:gd name="T17" fmla="*/ 92 h 150"/>
                <a:gd name="T18" fmla="*/ 205 w 451"/>
                <a:gd name="T19" fmla="*/ 86 h 150"/>
                <a:gd name="T20" fmla="*/ 195 w 451"/>
                <a:gd name="T21" fmla="*/ 78 h 150"/>
                <a:gd name="T22" fmla="*/ 190 w 451"/>
                <a:gd name="T23" fmla="*/ 66 h 150"/>
                <a:gd name="T24" fmla="*/ 190 w 451"/>
                <a:gd name="T25" fmla="*/ 52 h 150"/>
                <a:gd name="T26" fmla="*/ 195 w 451"/>
                <a:gd name="T27" fmla="*/ 39 h 150"/>
                <a:gd name="T28" fmla="*/ 205 w 451"/>
                <a:gd name="T29" fmla="*/ 31 h 150"/>
                <a:gd name="T30" fmla="*/ 217 w 451"/>
                <a:gd name="T31" fmla="*/ 25 h 150"/>
                <a:gd name="T32" fmla="*/ 224 w 451"/>
                <a:gd name="T33" fmla="*/ 24 h 150"/>
                <a:gd name="T34" fmla="*/ 1 w 451"/>
                <a:gd name="T35" fmla="*/ 68 h 150"/>
                <a:gd name="T36" fmla="*/ 4 w 451"/>
                <a:gd name="T37" fmla="*/ 85 h 150"/>
                <a:gd name="T38" fmla="*/ 11 w 451"/>
                <a:gd name="T39" fmla="*/ 102 h 150"/>
                <a:gd name="T40" fmla="*/ 20 w 451"/>
                <a:gd name="T41" fmla="*/ 116 h 150"/>
                <a:gd name="T42" fmla="*/ 33 w 451"/>
                <a:gd name="T43" fmla="*/ 129 h 150"/>
                <a:gd name="T44" fmla="*/ 47 w 451"/>
                <a:gd name="T45" fmla="*/ 139 h 150"/>
                <a:gd name="T46" fmla="*/ 63 w 451"/>
                <a:gd name="T47" fmla="*/ 145 h 150"/>
                <a:gd name="T48" fmla="*/ 82 w 451"/>
                <a:gd name="T49" fmla="*/ 149 h 150"/>
                <a:gd name="T50" fmla="*/ 360 w 451"/>
                <a:gd name="T51" fmla="*/ 150 h 150"/>
                <a:gd name="T52" fmla="*/ 379 w 451"/>
                <a:gd name="T53" fmla="*/ 148 h 150"/>
                <a:gd name="T54" fmla="*/ 395 w 451"/>
                <a:gd name="T55" fmla="*/ 143 h 150"/>
                <a:gd name="T56" fmla="*/ 409 w 451"/>
                <a:gd name="T57" fmla="*/ 135 h 150"/>
                <a:gd name="T58" fmla="*/ 422 w 451"/>
                <a:gd name="T59" fmla="*/ 124 h 150"/>
                <a:gd name="T60" fmla="*/ 433 w 451"/>
                <a:gd name="T61" fmla="*/ 111 h 150"/>
                <a:gd name="T62" fmla="*/ 442 w 451"/>
                <a:gd name="T63" fmla="*/ 96 h 150"/>
                <a:gd name="T64" fmla="*/ 447 w 451"/>
                <a:gd name="T65" fmla="*/ 79 h 150"/>
                <a:gd name="T66" fmla="*/ 451 w 451"/>
                <a:gd name="T67" fmla="*/ 60 h 150"/>
                <a:gd name="T68" fmla="*/ 0 w 451"/>
                <a:gd name="T6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1" h="150">
                  <a:moveTo>
                    <a:pt x="224" y="24"/>
                  </a:moveTo>
                  <a:lnTo>
                    <a:pt x="231" y="25"/>
                  </a:lnTo>
                  <a:lnTo>
                    <a:pt x="237" y="27"/>
                  </a:lnTo>
                  <a:lnTo>
                    <a:pt x="242" y="31"/>
                  </a:lnTo>
                  <a:lnTo>
                    <a:pt x="248" y="35"/>
                  </a:lnTo>
                  <a:lnTo>
                    <a:pt x="252" y="39"/>
                  </a:lnTo>
                  <a:lnTo>
                    <a:pt x="255" y="46"/>
                  </a:lnTo>
                  <a:lnTo>
                    <a:pt x="258" y="52"/>
                  </a:lnTo>
                  <a:lnTo>
                    <a:pt x="258" y="59"/>
                  </a:lnTo>
                  <a:lnTo>
                    <a:pt x="258" y="65"/>
                  </a:lnTo>
                  <a:lnTo>
                    <a:pt x="255" y="71"/>
                  </a:lnTo>
                  <a:lnTo>
                    <a:pt x="252" y="78"/>
                  </a:lnTo>
                  <a:lnTo>
                    <a:pt x="248" y="83"/>
                  </a:lnTo>
                  <a:lnTo>
                    <a:pt x="242" y="86"/>
                  </a:lnTo>
                  <a:lnTo>
                    <a:pt x="237" y="90"/>
                  </a:lnTo>
                  <a:lnTo>
                    <a:pt x="231" y="92"/>
                  </a:lnTo>
                  <a:lnTo>
                    <a:pt x="224" y="93"/>
                  </a:lnTo>
                  <a:lnTo>
                    <a:pt x="217" y="92"/>
                  </a:lnTo>
                  <a:lnTo>
                    <a:pt x="210" y="90"/>
                  </a:lnTo>
                  <a:lnTo>
                    <a:pt x="205" y="86"/>
                  </a:lnTo>
                  <a:lnTo>
                    <a:pt x="200" y="83"/>
                  </a:lnTo>
                  <a:lnTo>
                    <a:pt x="195" y="78"/>
                  </a:lnTo>
                  <a:lnTo>
                    <a:pt x="192" y="71"/>
                  </a:lnTo>
                  <a:lnTo>
                    <a:pt x="190" y="66"/>
                  </a:lnTo>
                  <a:lnTo>
                    <a:pt x="190" y="59"/>
                  </a:lnTo>
                  <a:lnTo>
                    <a:pt x="190" y="52"/>
                  </a:lnTo>
                  <a:lnTo>
                    <a:pt x="192" y="46"/>
                  </a:lnTo>
                  <a:lnTo>
                    <a:pt x="195" y="39"/>
                  </a:lnTo>
                  <a:lnTo>
                    <a:pt x="200" y="35"/>
                  </a:lnTo>
                  <a:lnTo>
                    <a:pt x="205" y="31"/>
                  </a:lnTo>
                  <a:lnTo>
                    <a:pt x="210" y="27"/>
                  </a:lnTo>
                  <a:lnTo>
                    <a:pt x="217" y="25"/>
                  </a:lnTo>
                  <a:lnTo>
                    <a:pt x="224" y="24"/>
                  </a:lnTo>
                  <a:lnTo>
                    <a:pt x="224" y="24"/>
                  </a:lnTo>
                  <a:close/>
                  <a:moveTo>
                    <a:pt x="0" y="59"/>
                  </a:moveTo>
                  <a:lnTo>
                    <a:pt x="1" y="68"/>
                  </a:lnTo>
                  <a:lnTo>
                    <a:pt x="2" y="77"/>
                  </a:lnTo>
                  <a:lnTo>
                    <a:pt x="4" y="85"/>
                  </a:lnTo>
                  <a:lnTo>
                    <a:pt x="8" y="94"/>
                  </a:lnTo>
                  <a:lnTo>
                    <a:pt x="11" y="102"/>
                  </a:lnTo>
                  <a:lnTo>
                    <a:pt x="16" y="109"/>
                  </a:lnTo>
                  <a:lnTo>
                    <a:pt x="20" y="116"/>
                  </a:lnTo>
                  <a:lnTo>
                    <a:pt x="27" y="123"/>
                  </a:lnTo>
                  <a:lnTo>
                    <a:pt x="33" y="129"/>
                  </a:lnTo>
                  <a:lnTo>
                    <a:pt x="40" y="134"/>
                  </a:lnTo>
                  <a:lnTo>
                    <a:pt x="47" y="139"/>
                  </a:lnTo>
                  <a:lnTo>
                    <a:pt x="56" y="142"/>
                  </a:lnTo>
                  <a:lnTo>
                    <a:pt x="63" y="145"/>
                  </a:lnTo>
                  <a:lnTo>
                    <a:pt x="72" y="148"/>
                  </a:lnTo>
                  <a:lnTo>
                    <a:pt x="82" y="149"/>
                  </a:lnTo>
                  <a:lnTo>
                    <a:pt x="90" y="150"/>
                  </a:lnTo>
                  <a:lnTo>
                    <a:pt x="360" y="150"/>
                  </a:lnTo>
                  <a:lnTo>
                    <a:pt x="370" y="149"/>
                  </a:lnTo>
                  <a:lnTo>
                    <a:pt x="379" y="148"/>
                  </a:lnTo>
                  <a:lnTo>
                    <a:pt x="386" y="145"/>
                  </a:lnTo>
                  <a:lnTo>
                    <a:pt x="395" y="143"/>
                  </a:lnTo>
                  <a:lnTo>
                    <a:pt x="402" y="139"/>
                  </a:lnTo>
                  <a:lnTo>
                    <a:pt x="409" y="135"/>
                  </a:lnTo>
                  <a:lnTo>
                    <a:pt x="415" y="130"/>
                  </a:lnTo>
                  <a:lnTo>
                    <a:pt x="422" y="124"/>
                  </a:lnTo>
                  <a:lnTo>
                    <a:pt x="428" y="117"/>
                  </a:lnTo>
                  <a:lnTo>
                    <a:pt x="433" y="111"/>
                  </a:lnTo>
                  <a:lnTo>
                    <a:pt x="438" y="104"/>
                  </a:lnTo>
                  <a:lnTo>
                    <a:pt x="442" y="96"/>
                  </a:lnTo>
                  <a:lnTo>
                    <a:pt x="445" y="87"/>
                  </a:lnTo>
                  <a:lnTo>
                    <a:pt x="447" y="79"/>
                  </a:lnTo>
                  <a:lnTo>
                    <a:pt x="449" y="69"/>
                  </a:lnTo>
                  <a:lnTo>
                    <a:pt x="451" y="60"/>
                  </a:lnTo>
                  <a:lnTo>
                    <a:pt x="451" y="0"/>
                  </a:lnTo>
                  <a:lnTo>
                    <a:pt x="0" y="0"/>
                  </a:lnTo>
                  <a:lnTo>
                    <a:pt x="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25">
              <a:extLst>
                <a:ext uri="{FF2B5EF4-FFF2-40B4-BE49-F238E27FC236}">
                  <a16:creationId xmlns:a16="http://schemas.microsoft.com/office/drawing/2014/main" id="{096ED8AC-D63B-4FB3-B721-110D87D0E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5525" y="2017713"/>
              <a:ext cx="142875" cy="123825"/>
            </a:xfrm>
            <a:custGeom>
              <a:avLst/>
              <a:gdLst>
                <a:gd name="T0" fmla="*/ 318 w 451"/>
                <a:gd name="T1" fmla="*/ 0 h 390"/>
                <a:gd name="T2" fmla="*/ 30 w 451"/>
                <a:gd name="T3" fmla="*/ 0 h 390"/>
                <a:gd name="T4" fmla="*/ 0 w 451"/>
                <a:gd name="T5" fmla="*/ 0 h 390"/>
                <a:gd name="T6" fmla="*/ 0 w 451"/>
                <a:gd name="T7" fmla="*/ 390 h 390"/>
                <a:gd name="T8" fmla="*/ 451 w 451"/>
                <a:gd name="T9" fmla="*/ 390 h 390"/>
                <a:gd name="T10" fmla="*/ 451 w 451"/>
                <a:gd name="T11" fmla="*/ 30 h 390"/>
                <a:gd name="T12" fmla="*/ 375 w 451"/>
                <a:gd name="T13" fmla="*/ 30 h 390"/>
                <a:gd name="T14" fmla="*/ 367 w 451"/>
                <a:gd name="T15" fmla="*/ 29 h 390"/>
                <a:gd name="T16" fmla="*/ 359 w 451"/>
                <a:gd name="T17" fmla="*/ 27 h 390"/>
                <a:gd name="T18" fmla="*/ 351 w 451"/>
                <a:gd name="T19" fmla="*/ 25 h 390"/>
                <a:gd name="T20" fmla="*/ 343 w 451"/>
                <a:gd name="T21" fmla="*/ 21 h 390"/>
                <a:gd name="T22" fmla="*/ 336 w 451"/>
                <a:gd name="T23" fmla="*/ 17 h 390"/>
                <a:gd name="T24" fmla="*/ 329 w 451"/>
                <a:gd name="T25" fmla="*/ 12 h 390"/>
                <a:gd name="T26" fmla="*/ 323 w 451"/>
                <a:gd name="T27" fmla="*/ 6 h 390"/>
                <a:gd name="T28" fmla="*/ 318 w 451"/>
                <a:gd name="T29" fmla="*/ 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1" h="390">
                  <a:moveTo>
                    <a:pt x="318" y="0"/>
                  </a:moveTo>
                  <a:lnTo>
                    <a:pt x="30" y="0"/>
                  </a:lnTo>
                  <a:lnTo>
                    <a:pt x="0" y="0"/>
                  </a:lnTo>
                  <a:lnTo>
                    <a:pt x="0" y="390"/>
                  </a:lnTo>
                  <a:lnTo>
                    <a:pt x="451" y="390"/>
                  </a:lnTo>
                  <a:lnTo>
                    <a:pt x="451" y="30"/>
                  </a:lnTo>
                  <a:lnTo>
                    <a:pt x="375" y="30"/>
                  </a:lnTo>
                  <a:lnTo>
                    <a:pt x="367" y="29"/>
                  </a:lnTo>
                  <a:lnTo>
                    <a:pt x="359" y="27"/>
                  </a:lnTo>
                  <a:lnTo>
                    <a:pt x="351" y="25"/>
                  </a:lnTo>
                  <a:lnTo>
                    <a:pt x="343" y="21"/>
                  </a:lnTo>
                  <a:lnTo>
                    <a:pt x="336" y="17"/>
                  </a:lnTo>
                  <a:lnTo>
                    <a:pt x="329" y="12"/>
                  </a:lnTo>
                  <a:lnTo>
                    <a:pt x="323" y="6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026">
              <a:extLst>
                <a:ext uri="{FF2B5EF4-FFF2-40B4-BE49-F238E27FC236}">
                  <a16:creationId xmlns:a16="http://schemas.microsoft.com/office/drawing/2014/main" id="{BE4FD4AB-50E6-470A-99C5-51B73EBF3D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0300" y="1922463"/>
              <a:ext cx="173038" cy="127000"/>
            </a:xfrm>
            <a:custGeom>
              <a:avLst/>
              <a:gdLst>
                <a:gd name="T0" fmla="*/ 360 w 542"/>
                <a:gd name="T1" fmla="*/ 172 h 400"/>
                <a:gd name="T2" fmla="*/ 351 w 542"/>
                <a:gd name="T3" fmla="*/ 166 h 400"/>
                <a:gd name="T4" fmla="*/ 348 w 542"/>
                <a:gd name="T5" fmla="*/ 155 h 400"/>
                <a:gd name="T6" fmla="*/ 351 w 542"/>
                <a:gd name="T7" fmla="*/ 144 h 400"/>
                <a:gd name="T8" fmla="*/ 360 w 542"/>
                <a:gd name="T9" fmla="*/ 138 h 400"/>
                <a:gd name="T10" fmla="*/ 372 w 542"/>
                <a:gd name="T11" fmla="*/ 137 h 400"/>
                <a:gd name="T12" fmla="*/ 381 w 542"/>
                <a:gd name="T13" fmla="*/ 142 h 400"/>
                <a:gd name="T14" fmla="*/ 385 w 542"/>
                <a:gd name="T15" fmla="*/ 152 h 400"/>
                <a:gd name="T16" fmla="*/ 384 w 542"/>
                <a:gd name="T17" fmla="*/ 163 h 400"/>
                <a:gd name="T18" fmla="*/ 378 w 542"/>
                <a:gd name="T19" fmla="*/ 171 h 400"/>
                <a:gd name="T20" fmla="*/ 367 w 542"/>
                <a:gd name="T21" fmla="*/ 174 h 400"/>
                <a:gd name="T22" fmla="*/ 269 w 542"/>
                <a:gd name="T23" fmla="*/ 174 h 400"/>
                <a:gd name="T24" fmla="*/ 259 w 542"/>
                <a:gd name="T25" fmla="*/ 169 h 400"/>
                <a:gd name="T26" fmla="*/ 254 w 542"/>
                <a:gd name="T27" fmla="*/ 159 h 400"/>
                <a:gd name="T28" fmla="*/ 256 w 542"/>
                <a:gd name="T29" fmla="*/ 148 h 400"/>
                <a:gd name="T30" fmla="*/ 262 w 542"/>
                <a:gd name="T31" fmla="*/ 140 h 400"/>
                <a:gd name="T32" fmla="*/ 273 w 542"/>
                <a:gd name="T33" fmla="*/ 137 h 400"/>
                <a:gd name="T34" fmla="*/ 284 w 542"/>
                <a:gd name="T35" fmla="*/ 140 h 400"/>
                <a:gd name="T36" fmla="*/ 290 w 542"/>
                <a:gd name="T37" fmla="*/ 148 h 400"/>
                <a:gd name="T38" fmla="*/ 291 w 542"/>
                <a:gd name="T39" fmla="*/ 159 h 400"/>
                <a:gd name="T40" fmla="*/ 286 w 542"/>
                <a:gd name="T41" fmla="*/ 169 h 400"/>
                <a:gd name="T42" fmla="*/ 276 w 542"/>
                <a:gd name="T43" fmla="*/ 174 h 400"/>
                <a:gd name="T44" fmla="*/ 177 w 542"/>
                <a:gd name="T45" fmla="*/ 174 h 400"/>
                <a:gd name="T46" fmla="*/ 168 w 542"/>
                <a:gd name="T47" fmla="*/ 171 h 400"/>
                <a:gd name="T48" fmla="*/ 160 w 542"/>
                <a:gd name="T49" fmla="*/ 163 h 400"/>
                <a:gd name="T50" fmla="*/ 159 w 542"/>
                <a:gd name="T51" fmla="*/ 152 h 400"/>
                <a:gd name="T52" fmla="*/ 165 w 542"/>
                <a:gd name="T53" fmla="*/ 142 h 400"/>
                <a:gd name="T54" fmla="*/ 174 w 542"/>
                <a:gd name="T55" fmla="*/ 137 h 400"/>
                <a:gd name="T56" fmla="*/ 185 w 542"/>
                <a:gd name="T57" fmla="*/ 138 h 400"/>
                <a:gd name="T58" fmla="*/ 193 w 542"/>
                <a:gd name="T59" fmla="*/ 144 h 400"/>
                <a:gd name="T60" fmla="*/ 197 w 542"/>
                <a:gd name="T61" fmla="*/ 155 h 400"/>
                <a:gd name="T62" fmla="*/ 193 w 542"/>
                <a:gd name="T63" fmla="*/ 166 h 400"/>
                <a:gd name="T64" fmla="*/ 185 w 542"/>
                <a:gd name="T65" fmla="*/ 173 h 400"/>
                <a:gd name="T66" fmla="*/ 177 w 542"/>
                <a:gd name="T67" fmla="*/ 174 h 400"/>
                <a:gd name="T68" fmla="*/ 37 w 542"/>
                <a:gd name="T69" fmla="*/ 1 h 400"/>
                <a:gd name="T70" fmla="*/ 14 w 542"/>
                <a:gd name="T71" fmla="*/ 14 h 400"/>
                <a:gd name="T72" fmla="*/ 2 w 542"/>
                <a:gd name="T73" fmla="*/ 36 h 400"/>
                <a:gd name="T74" fmla="*/ 2 w 542"/>
                <a:gd name="T75" fmla="*/ 264 h 400"/>
                <a:gd name="T76" fmla="*/ 14 w 542"/>
                <a:gd name="T77" fmla="*/ 287 h 400"/>
                <a:gd name="T78" fmla="*/ 37 w 542"/>
                <a:gd name="T79" fmla="*/ 300 h 400"/>
                <a:gd name="T80" fmla="*/ 91 w 542"/>
                <a:gd name="T81" fmla="*/ 301 h 400"/>
                <a:gd name="T82" fmla="*/ 172 w 542"/>
                <a:gd name="T83" fmla="*/ 302 h 400"/>
                <a:gd name="T84" fmla="*/ 178 w 542"/>
                <a:gd name="T85" fmla="*/ 307 h 400"/>
                <a:gd name="T86" fmla="*/ 182 w 542"/>
                <a:gd name="T87" fmla="*/ 316 h 400"/>
                <a:gd name="T88" fmla="*/ 280 w 542"/>
                <a:gd name="T89" fmla="*/ 303 h 400"/>
                <a:gd name="T90" fmla="*/ 288 w 542"/>
                <a:gd name="T91" fmla="*/ 301 h 400"/>
                <a:gd name="T92" fmla="*/ 513 w 542"/>
                <a:gd name="T93" fmla="*/ 297 h 400"/>
                <a:gd name="T94" fmla="*/ 533 w 542"/>
                <a:gd name="T95" fmla="*/ 280 h 400"/>
                <a:gd name="T96" fmla="*/ 542 w 542"/>
                <a:gd name="T97" fmla="*/ 255 h 400"/>
                <a:gd name="T98" fmla="*/ 538 w 542"/>
                <a:gd name="T99" fmla="*/ 29 h 400"/>
                <a:gd name="T100" fmla="*/ 522 w 542"/>
                <a:gd name="T101" fmla="*/ 8 h 400"/>
                <a:gd name="T102" fmla="*/ 497 w 542"/>
                <a:gd name="T103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42" h="400">
                  <a:moveTo>
                    <a:pt x="367" y="174"/>
                  </a:moveTo>
                  <a:lnTo>
                    <a:pt x="364" y="174"/>
                  </a:lnTo>
                  <a:lnTo>
                    <a:pt x="360" y="172"/>
                  </a:lnTo>
                  <a:lnTo>
                    <a:pt x="357" y="171"/>
                  </a:lnTo>
                  <a:lnTo>
                    <a:pt x="354" y="169"/>
                  </a:lnTo>
                  <a:lnTo>
                    <a:pt x="351" y="166"/>
                  </a:lnTo>
                  <a:lnTo>
                    <a:pt x="350" y="163"/>
                  </a:lnTo>
                  <a:lnTo>
                    <a:pt x="349" y="159"/>
                  </a:lnTo>
                  <a:lnTo>
                    <a:pt x="348" y="155"/>
                  </a:lnTo>
                  <a:lnTo>
                    <a:pt x="349" y="152"/>
                  </a:lnTo>
                  <a:lnTo>
                    <a:pt x="350" y="148"/>
                  </a:lnTo>
                  <a:lnTo>
                    <a:pt x="351" y="144"/>
                  </a:lnTo>
                  <a:lnTo>
                    <a:pt x="354" y="142"/>
                  </a:lnTo>
                  <a:lnTo>
                    <a:pt x="357" y="140"/>
                  </a:lnTo>
                  <a:lnTo>
                    <a:pt x="360" y="138"/>
                  </a:lnTo>
                  <a:lnTo>
                    <a:pt x="364" y="137"/>
                  </a:lnTo>
                  <a:lnTo>
                    <a:pt x="367" y="137"/>
                  </a:lnTo>
                  <a:lnTo>
                    <a:pt x="372" y="137"/>
                  </a:lnTo>
                  <a:lnTo>
                    <a:pt x="375" y="138"/>
                  </a:lnTo>
                  <a:lnTo>
                    <a:pt x="378" y="140"/>
                  </a:lnTo>
                  <a:lnTo>
                    <a:pt x="381" y="142"/>
                  </a:lnTo>
                  <a:lnTo>
                    <a:pt x="383" y="144"/>
                  </a:lnTo>
                  <a:lnTo>
                    <a:pt x="384" y="148"/>
                  </a:lnTo>
                  <a:lnTo>
                    <a:pt x="385" y="152"/>
                  </a:lnTo>
                  <a:lnTo>
                    <a:pt x="387" y="155"/>
                  </a:lnTo>
                  <a:lnTo>
                    <a:pt x="385" y="159"/>
                  </a:lnTo>
                  <a:lnTo>
                    <a:pt x="384" y="163"/>
                  </a:lnTo>
                  <a:lnTo>
                    <a:pt x="383" y="166"/>
                  </a:lnTo>
                  <a:lnTo>
                    <a:pt x="381" y="169"/>
                  </a:lnTo>
                  <a:lnTo>
                    <a:pt x="378" y="171"/>
                  </a:lnTo>
                  <a:lnTo>
                    <a:pt x="375" y="173"/>
                  </a:lnTo>
                  <a:lnTo>
                    <a:pt x="372" y="174"/>
                  </a:lnTo>
                  <a:lnTo>
                    <a:pt x="367" y="174"/>
                  </a:lnTo>
                  <a:lnTo>
                    <a:pt x="367" y="174"/>
                  </a:lnTo>
                  <a:close/>
                  <a:moveTo>
                    <a:pt x="273" y="174"/>
                  </a:moveTo>
                  <a:lnTo>
                    <a:pt x="269" y="174"/>
                  </a:lnTo>
                  <a:lnTo>
                    <a:pt x="265" y="172"/>
                  </a:lnTo>
                  <a:lnTo>
                    <a:pt x="262" y="171"/>
                  </a:lnTo>
                  <a:lnTo>
                    <a:pt x="259" y="169"/>
                  </a:lnTo>
                  <a:lnTo>
                    <a:pt x="257" y="166"/>
                  </a:lnTo>
                  <a:lnTo>
                    <a:pt x="256" y="163"/>
                  </a:lnTo>
                  <a:lnTo>
                    <a:pt x="254" y="159"/>
                  </a:lnTo>
                  <a:lnTo>
                    <a:pt x="254" y="155"/>
                  </a:lnTo>
                  <a:lnTo>
                    <a:pt x="254" y="152"/>
                  </a:lnTo>
                  <a:lnTo>
                    <a:pt x="256" y="148"/>
                  </a:lnTo>
                  <a:lnTo>
                    <a:pt x="257" y="144"/>
                  </a:lnTo>
                  <a:lnTo>
                    <a:pt x="259" y="142"/>
                  </a:lnTo>
                  <a:lnTo>
                    <a:pt x="262" y="140"/>
                  </a:lnTo>
                  <a:lnTo>
                    <a:pt x="265" y="138"/>
                  </a:lnTo>
                  <a:lnTo>
                    <a:pt x="269" y="137"/>
                  </a:lnTo>
                  <a:lnTo>
                    <a:pt x="273" y="137"/>
                  </a:lnTo>
                  <a:lnTo>
                    <a:pt x="276" y="137"/>
                  </a:lnTo>
                  <a:lnTo>
                    <a:pt x="280" y="138"/>
                  </a:lnTo>
                  <a:lnTo>
                    <a:pt x="284" y="140"/>
                  </a:lnTo>
                  <a:lnTo>
                    <a:pt x="286" y="142"/>
                  </a:lnTo>
                  <a:lnTo>
                    <a:pt x="288" y="144"/>
                  </a:lnTo>
                  <a:lnTo>
                    <a:pt x="290" y="148"/>
                  </a:lnTo>
                  <a:lnTo>
                    <a:pt x="291" y="152"/>
                  </a:lnTo>
                  <a:lnTo>
                    <a:pt x="291" y="155"/>
                  </a:lnTo>
                  <a:lnTo>
                    <a:pt x="291" y="159"/>
                  </a:lnTo>
                  <a:lnTo>
                    <a:pt x="290" y="163"/>
                  </a:lnTo>
                  <a:lnTo>
                    <a:pt x="288" y="166"/>
                  </a:lnTo>
                  <a:lnTo>
                    <a:pt x="286" y="169"/>
                  </a:lnTo>
                  <a:lnTo>
                    <a:pt x="284" y="171"/>
                  </a:lnTo>
                  <a:lnTo>
                    <a:pt x="280" y="173"/>
                  </a:lnTo>
                  <a:lnTo>
                    <a:pt x="276" y="174"/>
                  </a:lnTo>
                  <a:lnTo>
                    <a:pt x="273" y="174"/>
                  </a:lnTo>
                  <a:lnTo>
                    <a:pt x="273" y="174"/>
                  </a:lnTo>
                  <a:close/>
                  <a:moveTo>
                    <a:pt x="177" y="174"/>
                  </a:moveTo>
                  <a:lnTo>
                    <a:pt x="174" y="174"/>
                  </a:lnTo>
                  <a:lnTo>
                    <a:pt x="171" y="172"/>
                  </a:lnTo>
                  <a:lnTo>
                    <a:pt x="168" y="171"/>
                  </a:lnTo>
                  <a:lnTo>
                    <a:pt x="165" y="169"/>
                  </a:lnTo>
                  <a:lnTo>
                    <a:pt x="162" y="166"/>
                  </a:lnTo>
                  <a:lnTo>
                    <a:pt x="160" y="163"/>
                  </a:lnTo>
                  <a:lnTo>
                    <a:pt x="159" y="159"/>
                  </a:lnTo>
                  <a:lnTo>
                    <a:pt x="159" y="155"/>
                  </a:lnTo>
                  <a:lnTo>
                    <a:pt x="159" y="152"/>
                  </a:lnTo>
                  <a:lnTo>
                    <a:pt x="160" y="148"/>
                  </a:lnTo>
                  <a:lnTo>
                    <a:pt x="162" y="144"/>
                  </a:lnTo>
                  <a:lnTo>
                    <a:pt x="165" y="142"/>
                  </a:lnTo>
                  <a:lnTo>
                    <a:pt x="168" y="140"/>
                  </a:lnTo>
                  <a:lnTo>
                    <a:pt x="171" y="138"/>
                  </a:lnTo>
                  <a:lnTo>
                    <a:pt x="174" y="137"/>
                  </a:lnTo>
                  <a:lnTo>
                    <a:pt x="177" y="137"/>
                  </a:lnTo>
                  <a:lnTo>
                    <a:pt x="182" y="137"/>
                  </a:lnTo>
                  <a:lnTo>
                    <a:pt x="185" y="138"/>
                  </a:lnTo>
                  <a:lnTo>
                    <a:pt x="188" y="140"/>
                  </a:lnTo>
                  <a:lnTo>
                    <a:pt x="191" y="142"/>
                  </a:lnTo>
                  <a:lnTo>
                    <a:pt x="193" y="144"/>
                  </a:lnTo>
                  <a:lnTo>
                    <a:pt x="196" y="148"/>
                  </a:lnTo>
                  <a:lnTo>
                    <a:pt x="197" y="152"/>
                  </a:lnTo>
                  <a:lnTo>
                    <a:pt x="197" y="155"/>
                  </a:lnTo>
                  <a:lnTo>
                    <a:pt x="197" y="159"/>
                  </a:lnTo>
                  <a:lnTo>
                    <a:pt x="196" y="163"/>
                  </a:lnTo>
                  <a:lnTo>
                    <a:pt x="193" y="166"/>
                  </a:lnTo>
                  <a:lnTo>
                    <a:pt x="191" y="169"/>
                  </a:lnTo>
                  <a:lnTo>
                    <a:pt x="188" y="171"/>
                  </a:lnTo>
                  <a:lnTo>
                    <a:pt x="185" y="173"/>
                  </a:lnTo>
                  <a:lnTo>
                    <a:pt x="182" y="174"/>
                  </a:lnTo>
                  <a:lnTo>
                    <a:pt x="177" y="174"/>
                  </a:lnTo>
                  <a:lnTo>
                    <a:pt x="177" y="174"/>
                  </a:lnTo>
                  <a:close/>
                  <a:moveTo>
                    <a:pt x="497" y="0"/>
                  </a:moveTo>
                  <a:lnTo>
                    <a:pt x="45" y="0"/>
                  </a:lnTo>
                  <a:lnTo>
                    <a:pt x="37" y="1"/>
                  </a:lnTo>
                  <a:lnTo>
                    <a:pt x="29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9" y="21"/>
                  </a:lnTo>
                  <a:lnTo>
                    <a:pt x="5" y="29"/>
                  </a:lnTo>
                  <a:lnTo>
                    <a:pt x="2" y="36"/>
                  </a:lnTo>
                  <a:lnTo>
                    <a:pt x="0" y="45"/>
                  </a:lnTo>
                  <a:lnTo>
                    <a:pt x="0" y="255"/>
                  </a:lnTo>
                  <a:lnTo>
                    <a:pt x="2" y="264"/>
                  </a:lnTo>
                  <a:lnTo>
                    <a:pt x="5" y="272"/>
                  </a:lnTo>
                  <a:lnTo>
                    <a:pt x="9" y="280"/>
                  </a:lnTo>
                  <a:lnTo>
                    <a:pt x="14" y="287"/>
                  </a:lnTo>
                  <a:lnTo>
                    <a:pt x="22" y="292"/>
                  </a:lnTo>
                  <a:lnTo>
                    <a:pt x="29" y="297"/>
                  </a:lnTo>
                  <a:lnTo>
                    <a:pt x="37" y="300"/>
                  </a:lnTo>
                  <a:lnTo>
                    <a:pt x="45" y="301"/>
                  </a:lnTo>
                  <a:lnTo>
                    <a:pt x="76" y="301"/>
                  </a:lnTo>
                  <a:lnTo>
                    <a:pt x="91" y="301"/>
                  </a:lnTo>
                  <a:lnTo>
                    <a:pt x="167" y="301"/>
                  </a:lnTo>
                  <a:lnTo>
                    <a:pt x="169" y="301"/>
                  </a:lnTo>
                  <a:lnTo>
                    <a:pt x="172" y="302"/>
                  </a:lnTo>
                  <a:lnTo>
                    <a:pt x="174" y="303"/>
                  </a:lnTo>
                  <a:lnTo>
                    <a:pt x="176" y="305"/>
                  </a:lnTo>
                  <a:lnTo>
                    <a:pt x="178" y="307"/>
                  </a:lnTo>
                  <a:lnTo>
                    <a:pt x="180" y="310"/>
                  </a:lnTo>
                  <a:lnTo>
                    <a:pt x="181" y="313"/>
                  </a:lnTo>
                  <a:lnTo>
                    <a:pt x="182" y="316"/>
                  </a:lnTo>
                  <a:lnTo>
                    <a:pt x="182" y="400"/>
                  </a:lnTo>
                  <a:lnTo>
                    <a:pt x="278" y="305"/>
                  </a:lnTo>
                  <a:lnTo>
                    <a:pt x="280" y="303"/>
                  </a:lnTo>
                  <a:lnTo>
                    <a:pt x="283" y="302"/>
                  </a:lnTo>
                  <a:lnTo>
                    <a:pt x="286" y="301"/>
                  </a:lnTo>
                  <a:lnTo>
                    <a:pt x="288" y="301"/>
                  </a:lnTo>
                  <a:lnTo>
                    <a:pt x="497" y="301"/>
                  </a:lnTo>
                  <a:lnTo>
                    <a:pt x="506" y="300"/>
                  </a:lnTo>
                  <a:lnTo>
                    <a:pt x="513" y="297"/>
                  </a:lnTo>
                  <a:lnTo>
                    <a:pt x="522" y="292"/>
                  </a:lnTo>
                  <a:lnTo>
                    <a:pt x="528" y="287"/>
                  </a:lnTo>
                  <a:lnTo>
                    <a:pt x="533" y="280"/>
                  </a:lnTo>
                  <a:lnTo>
                    <a:pt x="538" y="272"/>
                  </a:lnTo>
                  <a:lnTo>
                    <a:pt x="541" y="264"/>
                  </a:lnTo>
                  <a:lnTo>
                    <a:pt x="542" y="255"/>
                  </a:lnTo>
                  <a:lnTo>
                    <a:pt x="542" y="45"/>
                  </a:lnTo>
                  <a:lnTo>
                    <a:pt x="541" y="36"/>
                  </a:lnTo>
                  <a:lnTo>
                    <a:pt x="538" y="29"/>
                  </a:lnTo>
                  <a:lnTo>
                    <a:pt x="533" y="21"/>
                  </a:lnTo>
                  <a:lnTo>
                    <a:pt x="528" y="14"/>
                  </a:lnTo>
                  <a:lnTo>
                    <a:pt x="522" y="8"/>
                  </a:lnTo>
                  <a:lnTo>
                    <a:pt x="513" y="4"/>
                  </a:lnTo>
                  <a:lnTo>
                    <a:pt x="506" y="1"/>
                  </a:lnTo>
                  <a:lnTo>
                    <a:pt x="497" y="0"/>
                  </a:lnTo>
                  <a:lnTo>
                    <a:pt x="4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7E8CCEF-DB5C-4624-BED5-AE9D474B44DD}"/>
              </a:ext>
            </a:extLst>
          </p:cNvPr>
          <p:cNvGrpSpPr/>
          <p:nvPr/>
        </p:nvGrpSpPr>
        <p:grpSpPr>
          <a:xfrm>
            <a:off x="8841182" y="2238682"/>
            <a:ext cx="220663" cy="285750"/>
            <a:chOff x="4926013" y="796925"/>
            <a:chExt cx="220663" cy="285750"/>
          </a:xfrm>
          <a:solidFill>
            <a:schemeClr val="bg1"/>
          </a:solidFill>
        </p:grpSpPr>
        <p:sp>
          <p:nvSpPr>
            <p:cNvPr id="53" name="Rectangle 946">
              <a:extLst>
                <a:ext uri="{FF2B5EF4-FFF2-40B4-BE49-F238E27FC236}">
                  <a16:creationId xmlns:a16="http://schemas.microsoft.com/office/drawing/2014/main" id="{2E8B98C3-C8DD-4E19-9FBC-8F3EA44997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025" y="996950"/>
              <a:ext cx="30163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947">
              <a:extLst>
                <a:ext uri="{FF2B5EF4-FFF2-40B4-BE49-F238E27FC236}">
                  <a16:creationId xmlns:a16="http://schemas.microsoft.com/office/drawing/2014/main" id="{E98CACDD-D1D6-4A0A-A3C9-CD956C08AE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4125" y="930275"/>
              <a:ext cx="28575" cy="952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948">
              <a:extLst>
                <a:ext uri="{FF2B5EF4-FFF2-40B4-BE49-F238E27FC236}">
                  <a16:creationId xmlns:a16="http://schemas.microsoft.com/office/drawing/2014/main" id="{0F063F6F-3606-45D7-9B5C-75A229618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7925" y="977900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949">
              <a:extLst>
                <a:ext uri="{FF2B5EF4-FFF2-40B4-BE49-F238E27FC236}">
                  <a16:creationId xmlns:a16="http://schemas.microsoft.com/office/drawing/2014/main" id="{B7E8BD11-3754-47D8-BB32-EE543AD799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6013" y="796925"/>
              <a:ext cx="220663" cy="285750"/>
            </a:xfrm>
            <a:custGeom>
              <a:avLst/>
              <a:gdLst>
                <a:gd name="T0" fmla="*/ 349 w 553"/>
                <a:gd name="T1" fmla="*/ 11 h 722"/>
                <a:gd name="T2" fmla="*/ 349 w 553"/>
                <a:gd name="T3" fmla="*/ 204 h 722"/>
                <a:gd name="T4" fmla="*/ 445 w 553"/>
                <a:gd name="T5" fmla="*/ 590 h 722"/>
                <a:gd name="T6" fmla="*/ 445 w 553"/>
                <a:gd name="T7" fmla="*/ 590 h 722"/>
                <a:gd name="T8" fmla="*/ 444 w 553"/>
                <a:gd name="T9" fmla="*/ 595 h 722"/>
                <a:gd name="T10" fmla="*/ 438 w 553"/>
                <a:gd name="T11" fmla="*/ 601 h 722"/>
                <a:gd name="T12" fmla="*/ 145 w 553"/>
                <a:gd name="T13" fmla="*/ 602 h 722"/>
                <a:gd name="T14" fmla="*/ 135 w 553"/>
                <a:gd name="T15" fmla="*/ 599 h 722"/>
                <a:gd name="T16" fmla="*/ 132 w 553"/>
                <a:gd name="T17" fmla="*/ 590 h 722"/>
                <a:gd name="T18" fmla="*/ 133 w 553"/>
                <a:gd name="T19" fmla="*/ 236 h 722"/>
                <a:gd name="T20" fmla="*/ 139 w 553"/>
                <a:gd name="T21" fmla="*/ 230 h 722"/>
                <a:gd name="T22" fmla="*/ 149 w 553"/>
                <a:gd name="T23" fmla="*/ 230 h 722"/>
                <a:gd name="T24" fmla="*/ 155 w 553"/>
                <a:gd name="T25" fmla="*/ 236 h 722"/>
                <a:gd name="T26" fmla="*/ 156 w 553"/>
                <a:gd name="T27" fmla="*/ 434 h 722"/>
                <a:gd name="T28" fmla="*/ 238 w 553"/>
                <a:gd name="T29" fmla="*/ 434 h 722"/>
                <a:gd name="T30" fmla="*/ 239 w 553"/>
                <a:gd name="T31" fmla="*/ 434 h 722"/>
                <a:gd name="T32" fmla="*/ 246 w 553"/>
                <a:gd name="T33" fmla="*/ 435 h 722"/>
                <a:gd name="T34" fmla="*/ 252 w 553"/>
                <a:gd name="T35" fmla="*/ 441 h 722"/>
                <a:gd name="T36" fmla="*/ 253 w 553"/>
                <a:gd name="T37" fmla="*/ 481 h 722"/>
                <a:gd name="T38" fmla="*/ 325 w 553"/>
                <a:gd name="T39" fmla="*/ 324 h 722"/>
                <a:gd name="T40" fmla="*/ 328 w 553"/>
                <a:gd name="T41" fmla="*/ 316 h 722"/>
                <a:gd name="T42" fmla="*/ 337 w 553"/>
                <a:gd name="T43" fmla="*/ 313 h 722"/>
                <a:gd name="T44" fmla="*/ 438 w 553"/>
                <a:gd name="T45" fmla="*/ 314 h 722"/>
                <a:gd name="T46" fmla="*/ 444 w 553"/>
                <a:gd name="T47" fmla="*/ 320 h 722"/>
                <a:gd name="T48" fmla="*/ 445 w 553"/>
                <a:gd name="T49" fmla="*/ 590 h 722"/>
                <a:gd name="T50" fmla="*/ 358 w 553"/>
                <a:gd name="T51" fmla="*/ 3 h 722"/>
                <a:gd name="T52" fmla="*/ 349 w 553"/>
                <a:gd name="T53" fmla="*/ 0 h 722"/>
                <a:gd name="T54" fmla="*/ 7 w 553"/>
                <a:gd name="T55" fmla="*/ 1 h 722"/>
                <a:gd name="T56" fmla="*/ 1 w 553"/>
                <a:gd name="T57" fmla="*/ 7 h 722"/>
                <a:gd name="T58" fmla="*/ 0 w 553"/>
                <a:gd name="T59" fmla="*/ 710 h 722"/>
                <a:gd name="T60" fmla="*/ 3 w 553"/>
                <a:gd name="T61" fmla="*/ 719 h 722"/>
                <a:gd name="T62" fmla="*/ 12 w 553"/>
                <a:gd name="T63" fmla="*/ 722 h 722"/>
                <a:gd name="T64" fmla="*/ 546 w 553"/>
                <a:gd name="T65" fmla="*/ 721 h 722"/>
                <a:gd name="T66" fmla="*/ 552 w 553"/>
                <a:gd name="T67" fmla="*/ 715 h 722"/>
                <a:gd name="T68" fmla="*/ 553 w 553"/>
                <a:gd name="T69" fmla="*/ 204 h 722"/>
                <a:gd name="T70" fmla="*/ 550 w 553"/>
                <a:gd name="T71" fmla="*/ 19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3" h="722">
                  <a:moveTo>
                    <a:pt x="349" y="204"/>
                  </a:moveTo>
                  <a:lnTo>
                    <a:pt x="349" y="11"/>
                  </a:lnTo>
                  <a:lnTo>
                    <a:pt x="541" y="204"/>
                  </a:lnTo>
                  <a:lnTo>
                    <a:pt x="349" y="204"/>
                  </a:lnTo>
                  <a:close/>
                  <a:moveTo>
                    <a:pt x="445" y="590"/>
                  </a:moveTo>
                  <a:lnTo>
                    <a:pt x="445" y="590"/>
                  </a:lnTo>
                  <a:lnTo>
                    <a:pt x="445" y="590"/>
                  </a:lnTo>
                  <a:lnTo>
                    <a:pt x="445" y="590"/>
                  </a:lnTo>
                  <a:lnTo>
                    <a:pt x="445" y="590"/>
                  </a:lnTo>
                  <a:lnTo>
                    <a:pt x="444" y="595"/>
                  </a:lnTo>
                  <a:lnTo>
                    <a:pt x="441" y="599"/>
                  </a:lnTo>
                  <a:lnTo>
                    <a:pt x="438" y="601"/>
                  </a:lnTo>
                  <a:lnTo>
                    <a:pt x="433" y="602"/>
                  </a:lnTo>
                  <a:lnTo>
                    <a:pt x="145" y="602"/>
                  </a:lnTo>
                  <a:lnTo>
                    <a:pt x="139" y="601"/>
                  </a:lnTo>
                  <a:lnTo>
                    <a:pt x="135" y="599"/>
                  </a:lnTo>
                  <a:lnTo>
                    <a:pt x="133" y="595"/>
                  </a:lnTo>
                  <a:lnTo>
                    <a:pt x="132" y="590"/>
                  </a:lnTo>
                  <a:lnTo>
                    <a:pt x="132" y="241"/>
                  </a:lnTo>
                  <a:lnTo>
                    <a:pt x="133" y="236"/>
                  </a:lnTo>
                  <a:lnTo>
                    <a:pt x="135" y="232"/>
                  </a:lnTo>
                  <a:lnTo>
                    <a:pt x="139" y="230"/>
                  </a:lnTo>
                  <a:lnTo>
                    <a:pt x="145" y="229"/>
                  </a:lnTo>
                  <a:lnTo>
                    <a:pt x="149" y="230"/>
                  </a:lnTo>
                  <a:lnTo>
                    <a:pt x="153" y="232"/>
                  </a:lnTo>
                  <a:lnTo>
                    <a:pt x="155" y="236"/>
                  </a:lnTo>
                  <a:lnTo>
                    <a:pt x="156" y="241"/>
                  </a:lnTo>
                  <a:lnTo>
                    <a:pt x="156" y="434"/>
                  </a:lnTo>
                  <a:lnTo>
                    <a:pt x="238" y="434"/>
                  </a:lnTo>
                  <a:lnTo>
                    <a:pt x="238" y="434"/>
                  </a:lnTo>
                  <a:lnTo>
                    <a:pt x="239" y="435"/>
                  </a:lnTo>
                  <a:lnTo>
                    <a:pt x="239" y="434"/>
                  </a:lnTo>
                  <a:lnTo>
                    <a:pt x="240" y="434"/>
                  </a:lnTo>
                  <a:lnTo>
                    <a:pt x="246" y="435"/>
                  </a:lnTo>
                  <a:lnTo>
                    <a:pt x="249" y="437"/>
                  </a:lnTo>
                  <a:lnTo>
                    <a:pt x="252" y="441"/>
                  </a:lnTo>
                  <a:lnTo>
                    <a:pt x="253" y="446"/>
                  </a:lnTo>
                  <a:lnTo>
                    <a:pt x="253" y="481"/>
                  </a:lnTo>
                  <a:lnTo>
                    <a:pt x="325" y="481"/>
                  </a:lnTo>
                  <a:lnTo>
                    <a:pt x="325" y="324"/>
                  </a:lnTo>
                  <a:lnTo>
                    <a:pt x="326" y="320"/>
                  </a:lnTo>
                  <a:lnTo>
                    <a:pt x="328" y="316"/>
                  </a:lnTo>
                  <a:lnTo>
                    <a:pt x="332" y="314"/>
                  </a:lnTo>
                  <a:lnTo>
                    <a:pt x="337" y="313"/>
                  </a:lnTo>
                  <a:lnTo>
                    <a:pt x="433" y="313"/>
                  </a:lnTo>
                  <a:lnTo>
                    <a:pt x="438" y="314"/>
                  </a:lnTo>
                  <a:lnTo>
                    <a:pt x="441" y="316"/>
                  </a:lnTo>
                  <a:lnTo>
                    <a:pt x="444" y="320"/>
                  </a:lnTo>
                  <a:lnTo>
                    <a:pt x="445" y="324"/>
                  </a:lnTo>
                  <a:lnTo>
                    <a:pt x="445" y="590"/>
                  </a:lnTo>
                  <a:close/>
                  <a:moveTo>
                    <a:pt x="550" y="196"/>
                  </a:moveTo>
                  <a:lnTo>
                    <a:pt x="358" y="3"/>
                  </a:lnTo>
                  <a:lnTo>
                    <a:pt x="354" y="0"/>
                  </a:lnTo>
                  <a:lnTo>
                    <a:pt x="349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710"/>
                  </a:lnTo>
                  <a:lnTo>
                    <a:pt x="1" y="715"/>
                  </a:lnTo>
                  <a:lnTo>
                    <a:pt x="3" y="719"/>
                  </a:lnTo>
                  <a:lnTo>
                    <a:pt x="7" y="721"/>
                  </a:lnTo>
                  <a:lnTo>
                    <a:pt x="12" y="722"/>
                  </a:lnTo>
                  <a:lnTo>
                    <a:pt x="541" y="722"/>
                  </a:lnTo>
                  <a:lnTo>
                    <a:pt x="546" y="721"/>
                  </a:lnTo>
                  <a:lnTo>
                    <a:pt x="550" y="719"/>
                  </a:lnTo>
                  <a:lnTo>
                    <a:pt x="552" y="715"/>
                  </a:lnTo>
                  <a:lnTo>
                    <a:pt x="553" y="710"/>
                  </a:lnTo>
                  <a:lnTo>
                    <a:pt x="553" y="204"/>
                  </a:lnTo>
                  <a:lnTo>
                    <a:pt x="552" y="200"/>
                  </a:lnTo>
                  <a:lnTo>
                    <a:pt x="55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906F3D1-2DAB-4132-B660-9E4FB46FC0A4}"/>
              </a:ext>
            </a:extLst>
          </p:cNvPr>
          <p:cNvGrpSpPr/>
          <p:nvPr/>
        </p:nvGrpSpPr>
        <p:grpSpPr>
          <a:xfrm>
            <a:off x="7698977" y="2238682"/>
            <a:ext cx="285750" cy="285750"/>
            <a:chOff x="11028363" y="771525"/>
            <a:chExt cx="285750" cy="285750"/>
          </a:xfrm>
          <a:solidFill>
            <a:schemeClr val="bg1"/>
          </a:solidFill>
        </p:grpSpPr>
        <p:sp>
          <p:nvSpPr>
            <p:cNvPr id="62" name="Freeform 3620">
              <a:extLst>
                <a:ext uri="{FF2B5EF4-FFF2-40B4-BE49-F238E27FC236}">
                  <a16:creationId xmlns:a16="http://schemas.microsoft.com/office/drawing/2014/main" id="{75BC46BC-4B96-4B22-8BD3-14D94214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33125" y="776288"/>
              <a:ext cx="277812" cy="276225"/>
            </a:xfrm>
            <a:custGeom>
              <a:avLst/>
              <a:gdLst>
                <a:gd name="T0" fmla="*/ 158 w 697"/>
                <a:gd name="T1" fmla="*/ 510 h 698"/>
                <a:gd name="T2" fmla="*/ 133 w 697"/>
                <a:gd name="T3" fmla="*/ 481 h 698"/>
                <a:gd name="T4" fmla="*/ 136 w 697"/>
                <a:gd name="T5" fmla="*/ 237 h 698"/>
                <a:gd name="T6" fmla="*/ 167 w 697"/>
                <a:gd name="T7" fmla="*/ 208 h 698"/>
                <a:gd name="T8" fmla="*/ 517 w 697"/>
                <a:gd name="T9" fmla="*/ 206 h 698"/>
                <a:gd name="T10" fmla="*/ 555 w 697"/>
                <a:gd name="T11" fmla="*/ 225 h 698"/>
                <a:gd name="T12" fmla="*/ 565 w 697"/>
                <a:gd name="T13" fmla="*/ 469 h 698"/>
                <a:gd name="T14" fmla="*/ 548 w 697"/>
                <a:gd name="T15" fmla="*/ 504 h 698"/>
                <a:gd name="T16" fmla="*/ 505 w 697"/>
                <a:gd name="T17" fmla="*/ 518 h 698"/>
                <a:gd name="T18" fmla="*/ 550 w 697"/>
                <a:gd name="T19" fmla="*/ 533 h 698"/>
                <a:gd name="T20" fmla="*/ 571 w 697"/>
                <a:gd name="T21" fmla="*/ 533 h 698"/>
                <a:gd name="T22" fmla="*/ 633 w 697"/>
                <a:gd name="T23" fmla="*/ 550 h 698"/>
                <a:gd name="T24" fmla="*/ 669 w 697"/>
                <a:gd name="T25" fmla="*/ 484 h 698"/>
                <a:gd name="T26" fmla="*/ 688 w 697"/>
                <a:gd name="T27" fmla="*/ 427 h 698"/>
                <a:gd name="T28" fmla="*/ 696 w 697"/>
                <a:gd name="T29" fmla="*/ 365 h 698"/>
                <a:gd name="T30" fmla="*/ 693 w 697"/>
                <a:gd name="T31" fmla="*/ 302 h 698"/>
                <a:gd name="T32" fmla="*/ 681 w 697"/>
                <a:gd name="T33" fmla="*/ 242 h 698"/>
                <a:gd name="T34" fmla="*/ 656 w 697"/>
                <a:gd name="T35" fmla="*/ 187 h 698"/>
                <a:gd name="T36" fmla="*/ 582 w 697"/>
                <a:gd name="T37" fmla="*/ 158 h 698"/>
                <a:gd name="T38" fmla="*/ 560 w 697"/>
                <a:gd name="T39" fmla="*/ 167 h 698"/>
                <a:gd name="T40" fmla="*/ 539 w 697"/>
                <a:gd name="T41" fmla="*/ 158 h 698"/>
                <a:gd name="T42" fmla="*/ 530 w 697"/>
                <a:gd name="T43" fmla="*/ 136 h 698"/>
                <a:gd name="T44" fmla="*/ 539 w 697"/>
                <a:gd name="T45" fmla="*/ 116 h 698"/>
                <a:gd name="T46" fmla="*/ 511 w 697"/>
                <a:gd name="T47" fmla="*/ 41 h 698"/>
                <a:gd name="T48" fmla="*/ 456 w 697"/>
                <a:gd name="T49" fmla="*/ 17 h 698"/>
                <a:gd name="T50" fmla="*/ 395 w 697"/>
                <a:gd name="T51" fmla="*/ 4 h 698"/>
                <a:gd name="T52" fmla="*/ 333 w 697"/>
                <a:gd name="T53" fmla="*/ 2 h 698"/>
                <a:gd name="T54" fmla="*/ 271 w 697"/>
                <a:gd name="T55" fmla="*/ 9 h 698"/>
                <a:gd name="T56" fmla="*/ 213 w 697"/>
                <a:gd name="T57" fmla="*/ 29 h 698"/>
                <a:gd name="T58" fmla="*/ 148 w 697"/>
                <a:gd name="T59" fmla="*/ 65 h 698"/>
                <a:gd name="T60" fmla="*/ 164 w 697"/>
                <a:gd name="T61" fmla="*/ 126 h 698"/>
                <a:gd name="T62" fmla="*/ 164 w 697"/>
                <a:gd name="T63" fmla="*/ 148 h 698"/>
                <a:gd name="T64" fmla="*/ 148 w 697"/>
                <a:gd name="T65" fmla="*/ 165 h 698"/>
                <a:gd name="T66" fmla="*/ 124 w 697"/>
                <a:gd name="T67" fmla="*/ 165 h 698"/>
                <a:gd name="T68" fmla="*/ 63 w 697"/>
                <a:gd name="T69" fmla="*/ 148 h 698"/>
                <a:gd name="T70" fmla="*/ 27 w 697"/>
                <a:gd name="T71" fmla="*/ 214 h 698"/>
                <a:gd name="T72" fmla="*/ 9 w 697"/>
                <a:gd name="T73" fmla="*/ 271 h 698"/>
                <a:gd name="T74" fmla="*/ 0 w 697"/>
                <a:gd name="T75" fmla="*/ 333 h 698"/>
                <a:gd name="T76" fmla="*/ 2 w 697"/>
                <a:gd name="T77" fmla="*/ 396 h 698"/>
                <a:gd name="T78" fmla="*/ 17 w 697"/>
                <a:gd name="T79" fmla="*/ 456 h 698"/>
                <a:gd name="T80" fmla="*/ 40 w 697"/>
                <a:gd name="T81" fmla="*/ 511 h 698"/>
                <a:gd name="T82" fmla="*/ 115 w 697"/>
                <a:gd name="T83" fmla="*/ 540 h 698"/>
                <a:gd name="T84" fmla="*/ 136 w 697"/>
                <a:gd name="T85" fmla="*/ 532 h 698"/>
                <a:gd name="T86" fmla="*/ 158 w 697"/>
                <a:gd name="T87" fmla="*/ 540 h 698"/>
                <a:gd name="T88" fmla="*/ 167 w 697"/>
                <a:gd name="T89" fmla="*/ 562 h 698"/>
                <a:gd name="T90" fmla="*/ 158 w 697"/>
                <a:gd name="T91" fmla="*/ 582 h 698"/>
                <a:gd name="T92" fmla="*/ 186 w 697"/>
                <a:gd name="T93" fmla="*/ 658 h 698"/>
                <a:gd name="T94" fmla="*/ 241 w 697"/>
                <a:gd name="T95" fmla="*/ 681 h 698"/>
                <a:gd name="T96" fmla="*/ 302 w 697"/>
                <a:gd name="T97" fmla="*/ 695 h 698"/>
                <a:gd name="T98" fmla="*/ 365 w 697"/>
                <a:gd name="T99" fmla="*/ 698 h 698"/>
                <a:gd name="T100" fmla="*/ 426 w 697"/>
                <a:gd name="T101" fmla="*/ 689 h 698"/>
                <a:gd name="T102" fmla="*/ 484 w 697"/>
                <a:gd name="T103" fmla="*/ 671 h 698"/>
                <a:gd name="T104" fmla="*/ 550 w 697"/>
                <a:gd name="T105" fmla="*/ 635 h 698"/>
                <a:gd name="T106" fmla="*/ 533 w 697"/>
                <a:gd name="T107" fmla="*/ 573 h 698"/>
                <a:gd name="T108" fmla="*/ 533 w 697"/>
                <a:gd name="T109" fmla="*/ 55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97" h="698">
                  <a:moveTo>
                    <a:pt x="193" y="518"/>
                  </a:moveTo>
                  <a:lnTo>
                    <a:pt x="180" y="517"/>
                  </a:lnTo>
                  <a:lnTo>
                    <a:pt x="168" y="514"/>
                  </a:lnTo>
                  <a:lnTo>
                    <a:pt x="158" y="510"/>
                  </a:lnTo>
                  <a:lnTo>
                    <a:pt x="149" y="504"/>
                  </a:lnTo>
                  <a:lnTo>
                    <a:pt x="141" y="497"/>
                  </a:lnTo>
                  <a:lnTo>
                    <a:pt x="136" y="490"/>
                  </a:lnTo>
                  <a:lnTo>
                    <a:pt x="133" y="481"/>
                  </a:lnTo>
                  <a:lnTo>
                    <a:pt x="132" y="470"/>
                  </a:lnTo>
                  <a:lnTo>
                    <a:pt x="132" y="258"/>
                  </a:lnTo>
                  <a:lnTo>
                    <a:pt x="133" y="247"/>
                  </a:lnTo>
                  <a:lnTo>
                    <a:pt x="136" y="237"/>
                  </a:lnTo>
                  <a:lnTo>
                    <a:pt x="141" y="228"/>
                  </a:lnTo>
                  <a:lnTo>
                    <a:pt x="149" y="220"/>
                  </a:lnTo>
                  <a:lnTo>
                    <a:pt x="157" y="214"/>
                  </a:lnTo>
                  <a:lnTo>
                    <a:pt x="167" y="208"/>
                  </a:lnTo>
                  <a:lnTo>
                    <a:pt x="178" y="206"/>
                  </a:lnTo>
                  <a:lnTo>
                    <a:pt x="193" y="205"/>
                  </a:lnTo>
                  <a:lnTo>
                    <a:pt x="505" y="205"/>
                  </a:lnTo>
                  <a:lnTo>
                    <a:pt x="517" y="206"/>
                  </a:lnTo>
                  <a:lnTo>
                    <a:pt x="529" y="208"/>
                  </a:lnTo>
                  <a:lnTo>
                    <a:pt x="539" y="212"/>
                  </a:lnTo>
                  <a:lnTo>
                    <a:pt x="548" y="219"/>
                  </a:lnTo>
                  <a:lnTo>
                    <a:pt x="555" y="225"/>
                  </a:lnTo>
                  <a:lnTo>
                    <a:pt x="560" y="234"/>
                  </a:lnTo>
                  <a:lnTo>
                    <a:pt x="564" y="243"/>
                  </a:lnTo>
                  <a:lnTo>
                    <a:pt x="565" y="253"/>
                  </a:lnTo>
                  <a:lnTo>
                    <a:pt x="565" y="469"/>
                  </a:lnTo>
                  <a:lnTo>
                    <a:pt x="564" y="479"/>
                  </a:lnTo>
                  <a:lnTo>
                    <a:pt x="560" y="490"/>
                  </a:lnTo>
                  <a:lnTo>
                    <a:pt x="555" y="497"/>
                  </a:lnTo>
                  <a:lnTo>
                    <a:pt x="548" y="504"/>
                  </a:lnTo>
                  <a:lnTo>
                    <a:pt x="539" y="510"/>
                  </a:lnTo>
                  <a:lnTo>
                    <a:pt x="529" y="514"/>
                  </a:lnTo>
                  <a:lnTo>
                    <a:pt x="517" y="517"/>
                  </a:lnTo>
                  <a:lnTo>
                    <a:pt x="505" y="518"/>
                  </a:lnTo>
                  <a:lnTo>
                    <a:pt x="193" y="518"/>
                  </a:lnTo>
                  <a:close/>
                  <a:moveTo>
                    <a:pt x="539" y="540"/>
                  </a:moveTo>
                  <a:lnTo>
                    <a:pt x="544" y="536"/>
                  </a:lnTo>
                  <a:lnTo>
                    <a:pt x="550" y="533"/>
                  </a:lnTo>
                  <a:lnTo>
                    <a:pt x="555" y="532"/>
                  </a:lnTo>
                  <a:lnTo>
                    <a:pt x="560" y="532"/>
                  </a:lnTo>
                  <a:lnTo>
                    <a:pt x="566" y="532"/>
                  </a:lnTo>
                  <a:lnTo>
                    <a:pt x="571" y="533"/>
                  </a:lnTo>
                  <a:lnTo>
                    <a:pt x="577" y="536"/>
                  </a:lnTo>
                  <a:lnTo>
                    <a:pt x="582" y="540"/>
                  </a:lnTo>
                  <a:lnTo>
                    <a:pt x="615" y="573"/>
                  </a:lnTo>
                  <a:lnTo>
                    <a:pt x="633" y="550"/>
                  </a:lnTo>
                  <a:lnTo>
                    <a:pt x="650" y="524"/>
                  </a:lnTo>
                  <a:lnTo>
                    <a:pt x="656" y="511"/>
                  </a:lnTo>
                  <a:lnTo>
                    <a:pt x="664" y="499"/>
                  </a:lnTo>
                  <a:lnTo>
                    <a:pt x="669" y="484"/>
                  </a:lnTo>
                  <a:lnTo>
                    <a:pt x="675" y="470"/>
                  </a:lnTo>
                  <a:lnTo>
                    <a:pt x="681" y="456"/>
                  </a:lnTo>
                  <a:lnTo>
                    <a:pt x="684" y="442"/>
                  </a:lnTo>
                  <a:lnTo>
                    <a:pt x="688" y="427"/>
                  </a:lnTo>
                  <a:lnTo>
                    <a:pt x="691" y="411"/>
                  </a:lnTo>
                  <a:lnTo>
                    <a:pt x="693" y="396"/>
                  </a:lnTo>
                  <a:lnTo>
                    <a:pt x="696" y="380"/>
                  </a:lnTo>
                  <a:lnTo>
                    <a:pt x="696" y="365"/>
                  </a:lnTo>
                  <a:lnTo>
                    <a:pt x="697" y="350"/>
                  </a:lnTo>
                  <a:lnTo>
                    <a:pt x="696" y="333"/>
                  </a:lnTo>
                  <a:lnTo>
                    <a:pt x="696" y="318"/>
                  </a:lnTo>
                  <a:lnTo>
                    <a:pt x="693" y="302"/>
                  </a:lnTo>
                  <a:lnTo>
                    <a:pt x="691" y="287"/>
                  </a:lnTo>
                  <a:lnTo>
                    <a:pt x="688" y="271"/>
                  </a:lnTo>
                  <a:lnTo>
                    <a:pt x="684" y="257"/>
                  </a:lnTo>
                  <a:lnTo>
                    <a:pt x="681" y="242"/>
                  </a:lnTo>
                  <a:lnTo>
                    <a:pt x="675" y="228"/>
                  </a:lnTo>
                  <a:lnTo>
                    <a:pt x="669" y="214"/>
                  </a:lnTo>
                  <a:lnTo>
                    <a:pt x="664" y="201"/>
                  </a:lnTo>
                  <a:lnTo>
                    <a:pt x="656" y="187"/>
                  </a:lnTo>
                  <a:lnTo>
                    <a:pt x="650" y="174"/>
                  </a:lnTo>
                  <a:lnTo>
                    <a:pt x="633" y="148"/>
                  </a:lnTo>
                  <a:lnTo>
                    <a:pt x="615" y="125"/>
                  </a:lnTo>
                  <a:lnTo>
                    <a:pt x="582" y="158"/>
                  </a:lnTo>
                  <a:lnTo>
                    <a:pt x="577" y="162"/>
                  </a:lnTo>
                  <a:lnTo>
                    <a:pt x="571" y="165"/>
                  </a:lnTo>
                  <a:lnTo>
                    <a:pt x="566" y="167"/>
                  </a:lnTo>
                  <a:lnTo>
                    <a:pt x="560" y="167"/>
                  </a:lnTo>
                  <a:lnTo>
                    <a:pt x="555" y="166"/>
                  </a:lnTo>
                  <a:lnTo>
                    <a:pt x="550" y="165"/>
                  </a:lnTo>
                  <a:lnTo>
                    <a:pt x="544" y="162"/>
                  </a:lnTo>
                  <a:lnTo>
                    <a:pt x="539" y="158"/>
                  </a:lnTo>
                  <a:lnTo>
                    <a:pt x="535" y="153"/>
                  </a:lnTo>
                  <a:lnTo>
                    <a:pt x="533" y="148"/>
                  </a:lnTo>
                  <a:lnTo>
                    <a:pt x="532" y="143"/>
                  </a:lnTo>
                  <a:lnTo>
                    <a:pt x="530" y="136"/>
                  </a:lnTo>
                  <a:lnTo>
                    <a:pt x="532" y="131"/>
                  </a:lnTo>
                  <a:lnTo>
                    <a:pt x="533" y="126"/>
                  </a:lnTo>
                  <a:lnTo>
                    <a:pt x="535" y="121"/>
                  </a:lnTo>
                  <a:lnTo>
                    <a:pt x="539" y="116"/>
                  </a:lnTo>
                  <a:lnTo>
                    <a:pt x="573" y="83"/>
                  </a:lnTo>
                  <a:lnTo>
                    <a:pt x="550" y="65"/>
                  </a:lnTo>
                  <a:lnTo>
                    <a:pt x="524" y="48"/>
                  </a:lnTo>
                  <a:lnTo>
                    <a:pt x="511" y="41"/>
                  </a:lnTo>
                  <a:lnTo>
                    <a:pt x="497" y="34"/>
                  </a:lnTo>
                  <a:lnTo>
                    <a:pt x="484" y="29"/>
                  </a:lnTo>
                  <a:lnTo>
                    <a:pt x="470" y="22"/>
                  </a:lnTo>
                  <a:lnTo>
                    <a:pt x="456" y="17"/>
                  </a:lnTo>
                  <a:lnTo>
                    <a:pt x="440" y="13"/>
                  </a:lnTo>
                  <a:lnTo>
                    <a:pt x="426" y="9"/>
                  </a:lnTo>
                  <a:lnTo>
                    <a:pt x="411" y="7"/>
                  </a:lnTo>
                  <a:lnTo>
                    <a:pt x="395" y="4"/>
                  </a:lnTo>
                  <a:lnTo>
                    <a:pt x="380" y="2"/>
                  </a:lnTo>
                  <a:lnTo>
                    <a:pt x="365" y="2"/>
                  </a:lnTo>
                  <a:lnTo>
                    <a:pt x="348" y="0"/>
                  </a:lnTo>
                  <a:lnTo>
                    <a:pt x="333" y="2"/>
                  </a:lnTo>
                  <a:lnTo>
                    <a:pt x="317" y="2"/>
                  </a:lnTo>
                  <a:lnTo>
                    <a:pt x="302" y="4"/>
                  </a:lnTo>
                  <a:lnTo>
                    <a:pt x="286" y="7"/>
                  </a:lnTo>
                  <a:lnTo>
                    <a:pt x="271" y="9"/>
                  </a:lnTo>
                  <a:lnTo>
                    <a:pt x="255" y="13"/>
                  </a:lnTo>
                  <a:lnTo>
                    <a:pt x="241" y="17"/>
                  </a:lnTo>
                  <a:lnTo>
                    <a:pt x="227" y="22"/>
                  </a:lnTo>
                  <a:lnTo>
                    <a:pt x="213" y="29"/>
                  </a:lnTo>
                  <a:lnTo>
                    <a:pt x="199" y="34"/>
                  </a:lnTo>
                  <a:lnTo>
                    <a:pt x="186" y="41"/>
                  </a:lnTo>
                  <a:lnTo>
                    <a:pt x="173" y="48"/>
                  </a:lnTo>
                  <a:lnTo>
                    <a:pt x="148" y="65"/>
                  </a:lnTo>
                  <a:lnTo>
                    <a:pt x="124" y="83"/>
                  </a:lnTo>
                  <a:lnTo>
                    <a:pt x="158" y="116"/>
                  </a:lnTo>
                  <a:lnTo>
                    <a:pt x="162" y="121"/>
                  </a:lnTo>
                  <a:lnTo>
                    <a:pt x="164" y="126"/>
                  </a:lnTo>
                  <a:lnTo>
                    <a:pt x="166" y="131"/>
                  </a:lnTo>
                  <a:lnTo>
                    <a:pt x="167" y="136"/>
                  </a:lnTo>
                  <a:lnTo>
                    <a:pt x="166" y="143"/>
                  </a:lnTo>
                  <a:lnTo>
                    <a:pt x="164" y="148"/>
                  </a:lnTo>
                  <a:lnTo>
                    <a:pt x="162" y="153"/>
                  </a:lnTo>
                  <a:lnTo>
                    <a:pt x="158" y="158"/>
                  </a:lnTo>
                  <a:lnTo>
                    <a:pt x="153" y="162"/>
                  </a:lnTo>
                  <a:lnTo>
                    <a:pt x="148" y="165"/>
                  </a:lnTo>
                  <a:lnTo>
                    <a:pt x="142" y="167"/>
                  </a:lnTo>
                  <a:lnTo>
                    <a:pt x="136" y="167"/>
                  </a:lnTo>
                  <a:lnTo>
                    <a:pt x="131" y="166"/>
                  </a:lnTo>
                  <a:lnTo>
                    <a:pt x="124" y="165"/>
                  </a:lnTo>
                  <a:lnTo>
                    <a:pt x="119" y="162"/>
                  </a:lnTo>
                  <a:lnTo>
                    <a:pt x="115" y="158"/>
                  </a:lnTo>
                  <a:lnTo>
                    <a:pt x="82" y="125"/>
                  </a:lnTo>
                  <a:lnTo>
                    <a:pt x="63" y="148"/>
                  </a:lnTo>
                  <a:lnTo>
                    <a:pt x="47" y="174"/>
                  </a:lnTo>
                  <a:lnTo>
                    <a:pt x="40" y="187"/>
                  </a:lnTo>
                  <a:lnTo>
                    <a:pt x="33" y="201"/>
                  </a:lnTo>
                  <a:lnTo>
                    <a:pt x="27" y="214"/>
                  </a:lnTo>
                  <a:lnTo>
                    <a:pt x="22" y="228"/>
                  </a:lnTo>
                  <a:lnTo>
                    <a:pt x="17" y="242"/>
                  </a:lnTo>
                  <a:lnTo>
                    <a:pt x="13" y="257"/>
                  </a:lnTo>
                  <a:lnTo>
                    <a:pt x="9" y="271"/>
                  </a:lnTo>
                  <a:lnTo>
                    <a:pt x="5" y="287"/>
                  </a:lnTo>
                  <a:lnTo>
                    <a:pt x="2" y="302"/>
                  </a:lnTo>
                  <a:lnTo>
                    <a:pt x="1" y="318"/>
                  </a:lnTo>
                  <a:lnTo>
                    <a:pt x="0" y="333"/>
                  </a:lnTo>
                  <a:lnTo>
                    <a:pt x="0" y="350"/>
                  </a:lnTo>
                  <a:lnTo>
                    <a:pt x="0" y="365"/>
                  </a:lnTo>
                  <a:lnTo>
                    <a:pt x="1" y="380"/>
                  </a:lnTo>
                  <a:lnTo>
                    <a:pt x="2" y="396"/>
                  </a:lnTo>
                  <a:lnTo>
                    <a:pt x="5" y="411"/>
                  </a:lnTo>
                  <a:lnTo>
                    <a:pt x="9" y="427"/>
                  </a:lnTo>
                  <a:lnTo>
                    <a:pt x="13" y="442"/>
                  </a:lnTo>
                  <a:lnTo>
                    <a:pt x="17" y="456"/>
                  </a:lnTo>
                  <a:lnTo>
                    <a:pt x="22" y="470"/>
                  </a:lnTo>
                  <a:lnTo>
                    <a:pt x="27" y="484"/>
                  </a:lnTo>
                  <a:lnTo>
                    <a:pt x="33" y="499"/>
                  </a:lnTo>
                  <a:lnTo>
                    <a:pt x="40" y="511"/>
                  </a:lnTo>
                  <a:lnTo>
                    <a:pt x="47" y="524"/>
                  </a:lnTo>
                  <a:lnTo>
                    <a:pt x="63" y="550"/>
                  </a:lnTo>
                  <a:lnTo>
                    <a:pt x="82" y="573"/>
                  </a:lnTo>
                  <a:lnTo>
                    <a:pt x="115" y="540"/>
                  </a:lnTo>
                  <a:lnTo>
                    <a:pt x="119" y="536"/>
                  </a:lnTo>
                  <a:lnTo>
                    <a:pt x="124" y="533"/>
                  </a:lnTo>
                  <a:lnTo>
                    <a:pt x="131" y="532"/>
                  </a:lnTo>
                  <a:lnTo>
                    <a:pt x="136" y="532"/>
                  </a:lnTo>
                  <a:lnTo>
                    <a:pt x="142" y="532"/>
                  </a:lnTo>
                  <a:lnTo>
                    <a:pt x="148" y="533"/>
                  </a:lnTo>
                  <a:lnTo>
                    <a:pt x="153" y="536"/>
                  </a:lnTo>
                  <a:lnTo>
                    <a:pt x="158" y="540"/>
                  </a:lnTo>
                  <a:lnTo>
                    <a:pt x="162" y="545"/>
                  </a:lnTo>
                  <a:lnTo>
                    <a:pt x="164" y="550"/>
                  </a:lnTo>
                  <a:lnTo>
                    <a:pt x="166" y="555"/>
                  </a:lnTo>
                  <a:lnTo>
                    <a:pt x="167" y="562"/>
                  </a:lnTo>
                  <a:lnTo>
                    <a:pt x="166" y="567"/>
                  </a:lnTo>
                  <a:lnTo>
                    <a:pt x="164" y="573"/>
                  </a:lnTo>
                  <a:lnTo>
                    <a:pt x="162" y="578"/>
                  </a:lnTo>
                  <a:lnTo>
                    <a:pt x="158" y="582"/>
                  </a:lnTo>
                  <a:lnTo>
                    <a:pt x="124" y="615"/>
                  </a:lnTo>
                  <a:lnTo>
                    <a:pt x="148" y="635"/>
                  </a:lnTo>
                  <a:lnTo>
                    <a:pt x="173" y="650"/>
                  </a:lnTo>
                  <a:lnTo>
                    <a:pt x="186" y="658"/>
                  </a:lnTo>
                  <a:lnTo>
                    <a:pt x="199" y="664"/>
                  </a:lnTo>
                  <a:lnTo>
                    <a:pt x="213" y="671"/>
                  </a:lnTo>
                  <a:lnTo>
                    <a:pt x="227" y="676"/>
                  </a:lnTo>
                  <a:lnTo>
                    <a:pt x="241" y="681"/>
                  </a:lnTo>
                  <a:lnTo>
                    <a:pt x="255" y="685"/>
                  </a:lnTo>
                  <a:lnTo>
                    <a:pt x="271" y="689"/>
                  </a:lnTo>
                  <a:lnTo>
                    <a:pt x="286" y="693"/>
                  </a:lnTo>
                  <a:lnTo>
                    <a:pt x="302" y="695"/>
                  </a:lnTo>
                  <a:lnTo>
                    <a:pt x="317" y="696"/>
                  </a:lnTo>
                  <a:lnTo>
                    <a:pt x="333" y="698"/>
                  </a:lnTo>
                  <a:lnTo>
                    <a:pt x="348" y="698"/>
                  </a:lnTo>
                  <a:lnTo>
                    <a:pt x="365" y="698"/>
                  </a:lnTo>
                  <a:lnTo>
                    <a:pt x="380" y="696"/>
                  </a:lnTo>
                  <a:lnTo>
                    <a:pt x="395" y="695"/>
                  </a:lnTo>
                  <a:lnTo>
                    <a:pt x="411" y="693"/>
                  </a:lnTo>
                  <a:lnTo>
                    <a:pt x="426" y="689"/>
                  </a:lnTo>
                  <a:lnTo>
                    <a:pt x="440" y="685"/>
                  </a:lnTo>
                  <a:lnTo>
                    <a:pt x="456" y="681"/>
                  </a:lnTo>
                  <a:lnTo>
                    <a:pt x="470" y="676"/>
                  </a:lnTo>
                  <a:lnTo>
                    <a:pt x="484" y="671"/>
                  </a:lnTo>
                  <a:lnTo>
                    <a:pt x="497" y="664"/>
                  </a:lnTo>
                  <a:lnTo>
                    <a:pt x="511" y="658"/>
                  </a:lnTo>
                  <a:lnTo>
                    <a:pt x="524" y="650"/>
                  </a:lnTo>
                  <a:lnTo>
                    <a:pt x="550" y="635"/>
                  </a:lnTo>
                  <a:lnTo>
                    <a:pt x="573" y="615"/>
                  </a:lnTo>
                  <a:lnTo>
                    <a:pt x="539" y="582"/>
                  </a:lnTo>
                  <a:lnTo>
                    <a:pt x="535" y="578"/>
                  </a:lnTo>
                  <a:lnTo>
                    <a:pt x="533" y="573"/>
                  </a:lnTo>
                  <a:lnTo>
                    <a:pt x="532" y="567"/>
                  </a:lnTo>
                  <a:lnTo>
                    <a:pt x="530" y="562"/>
                  </a:lnTo>
                  <a:lnTo>
                    <a:pt x="532" y="555"/>
                  </a:lnTo>
                  <a:lnTo>
                    <a:pt x="533" y="550"/>
                  </a:lnTo>
                  <a:lnTo>
                    <a:pt x="535" y="545"/>
                  </a:lnTo>
                  <a:lnTo>
                    <a:pt x="539" y="5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621">
              <a:extLst>
                <a:ext uri="{FF2B5EF4-FFF2-40B4-BE49-F238E27FC236}">
                  <a16:creationId xmlns:a16="http://schemas.microsoft.com/office/drawing/2014/main" id="{C369D2D5-90C8-4499-9115-250E7F430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9325" y="885825"/>
              <a:ext cx="123825" cy="71438"/>
            </a:xfrm>
            <a:custGeom>
              <a:avLst/>
              <a:gdLst>
                <a:gd name="T0" fmla="*/ 220 w 312"/>
                <a:gd name="T1" fmla="*/ 82 h 180"/>
                <a:gd name="T2" fmla="*/ 295 w 312"/>
                <a:gd name="T3" fmla="*/ 20 h 180"/>
                <a:gd name="T4" fmla="*/ 299 w 312"/>
                <a:gd name="T5" fmla="*/ 16 h 180"/>
                <a:gd name="T6" fmla="*/ 300 w 312"/>
                <a:gd name="T7" fmla="*/ 13 h 180"/>
                <a:gd name="T8" fmla="*/ 299 w 312"/>
                <a:gd name="T9" fmla="*/ 7 h 180"/>
                <a:gd name="T10" fmla="*/ 296 w 312"/>
                <a:gd name="T11" fmla="*/ 4 h 180"/>
                <a:gd name="T12" fmla="*/ 294 w 312"/>
                <a:gd name="T13" fmla="*/ 1 h 180"/>
                <a:gd name="T14" fmla="*/ 288 w 312"/>
                <a:gd name="T15" fmla="*/ 0 h 180"/>
                <a:gd name="T16" fmla="*/ 285 w 312"/>
                <a:gd name="T17" fmla="*/ 0 h 180"/>
                <a:gd name="T18" fmla="*/ 279 w 312"/>
                <a:gd name="T19" fmla="*/ 2 h 180"/>
                <a:gd name="T20" fmla="*/ 155 w 312"/>
                <a:gd name="T21" fmla="*/ 104 h 180"/>
                <a:gd name="T22" fmla="*/ 30 w 312"/>
                <a:gd name="T23" fmla="*/ 2 h 180"/>
                <a:gd name="T24" fmla="*/ 26 w 312"/>
                <a:gd name="T25" fmla="*/ 0 h 180"/>
                <a:gd name="T26" fmla="*/ 21 w 312"/>
                <a:gd name="T27" fmla="*/ 0 h 180"/>
                <a:gd name="T28" fmla="*/ 18 w 312"/>
                <a:gd name="T29" fmla="*/ 1 h 180"/>
                <a:gd name="T30" fmla="*/ 14 w 312"/>
                <a:gd name="T31" fmla="*/ 4 h 180"/>
                <a:gd name="T32" fmla="*/ 11 w 312"/>
                <a:gd name="T33" fmla="*/ 7 h 180"/>
                <a:gd name="T34" fmla="*/ 11 w 312"/>
                <a:gd name="T35" fmla="*/ 13 h 180"/>
                <a:gd name="T36" fmla="*/ 12 w 312"/>
                <a:gd name="T37" fmla="*/ 16 h 180"/>
                <a:gd name="T38" fmla="*/ 15 w 312"/>
                <a:gd name="T39" fmla="*/ 20 h 180"/>
                <a:gd name="T40" fmla="*/ 91 w 312"/>
                <a:gd name="T41" fmla="*/ 82 h 180"/>
                <a:gd name="T42" fmla="*/ 3 w 312"/>
                <a:gd name="T43" fmla="*/ 159 h 180"/>
                <a:gd name="T44" fmla="*/ 1 w 312"/>
                <a:gd name="T45" fmla="*/ 162 h 180"/>
                <a:gd name="T46" fmla="*/ 0 w 312"/>
                <a:gd name="T47" fmla="*/ 167 h 180"/>
                <a:gd name="T48" fmla="*/ 0 w 312"/>
                <a:gd name="T49" fmla="*/ 172 h 180"/>
                <a:gd name="T50" fmla="*/ 2 w 312"/>
                <a:gd name="T51" fmla="*/ 176 h 180"/>
                <a:gd name="T52" fmla="*/ 6 w 312"/>
                <a:gd name="T53" fmla="*/ 178 h 180"/>
                <a:gd name="T54" fmla="*/ 11 w 312"/>
                <a:gd name="T55" fmla="*/ 180 h 180"/>
                <a:gd name="T56" fmla="*/ 15 w 312"/>
                <a:gd name="T57" fmla="*/ 178 h 180"/>
                <a:gd name="T58" fmla="*/ 19 w 312"/>
                <a:gd name="T59" fmla="*/ 177 h 180"/>
                <a:gd name="T60" fmla="*/ 110 w 312"/>
                <a:gd name="T61" fmla="*/ 97 h 180"/>
                <a:gd name="T62" fmla="*/ 147 w 312"/>
                <a:gd name="T63" fmla="*/ 128 h 180"/>
                <a:gd name="T64" fmla="*/ 151 w 312"/>
                <a:gd name="T65" fmla="*/ 131 h 180"/>
                <a:gd name="T66" fmla="*/ 155 w 312"/>
                <a:gd name="T67" fmla="*/ 132 h 180"/>
                <a:gd name="T68" fmla="*/ 159 w 312"/>
                <a:gd name="T69" fmla="*/ 131 h 180"/>
                <a:gd name="T70" fmla="*/ 163 w 312"/>
                <a:gd name="T71" fmla="*/ 128 h 180"/>
                <a:gd name="T72" fmla="*/ 201 w 312"/>
                <a:gd name="T73" fmla="*/ 97 h 180"/>
                <a:gd name="T74" fmla="*/ 291 w 312"/>
                <a:gd name="T75" fmla="*/ 177 h 180"/>
                <a:gd name="T76" fmla="*/ 295 w 312"/>
                <a:gd name="T77" fmla="*/ 178 h 180"/>
                <a:gd name="T78" fmla="*/ 300 w 312"/>
                <a:gd name="T79" fmla="*/ 180 h 180"/>
                <a:gd name="T80" fmla="*/ 304 w 312"/>
                <a:gd name="T81" fmla="*/ 178 h 180"/>
                <a:gd name="T82" fmla="*/ 309 w 312"/>
                <a:gd name="T83" fmla="*/ 176 h 180"/>
                <a:gd name="T84" fmla="*/ 310 w 312"/>
                <a:gd name="T85" fmla="*/ 172 h 180"/>
                <a:gd name="T86" fmla="*/ 312 w 312"/>
                <a:gd name="T87" fmla="*/ 167 h 180"/>
                <a:gd name="T88" fmla="*/ 310 w 312"/>
                <a:gd name="T89" fmla="*/ 162 h 180"/>
                <a:gd name="T90" fmla="*/ 308 w 312"/>
                <a:gd name="T91" fmla="*/ 159 h 180"/>
                <a:gd name="T92" fmla="*/ 220 w 312"/>
                <a:gd name="T93" fmla="*/ 8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2" h="180">
                  <a:moveTo>
                    <a:pt x="220" y="82"/>
                  </a:moveTo>
                  <a:lnTo>
                    <a:pt x="295" y="20"/>
                  </a:lnTo>
                  <a:lnTo>
                    <a:pt x="299" y="16"/>
                  </a:lnTo>
                  <a:lnTo>
                    <a:pt x="300" y="13"/>
                  </a:lnTo>
                  <a:lnTo>
                    <a:pt x="299" y="7"/>
                  </a:lnTo>
                  <a:lnTo>
                    <a:pt x="296" y="4"/>
                  </a:lnTo>
                  <a:lnTo>
                    <a:pt x="294" y="1"/>
                  </a:lnTo>
                  <a:lnTo>
                    <a:pt x="288" y="0"/>
                  </a:lnTo>
                  <a:lnTo>
                    <a:pt x="285" y="0"/>
                  </a:lnTo>
                  <a:lnTo>
                    <a:pt x="279" y="2"/>
                  </a:lnTo>
                  <a:lnTo>
                    <a:pt x="155" y="104"/>
                  </a:lnTo>
                  <a:lnTo>
                    <a:pt x="30" y="2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18" y="1"/>
                  </a:lnTo>
                  <a:lnTo>
                    <a:pt x="14" y="4"/>
                  </a:lnTo>
                  <a:lnTo>
                    <a:pt x="11" y="7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5" y="20"/>
                  </a:lnTo>
                  <a:lnTo>
                    <a:pt x="91" y="82"/>
                  </a:lnTo>
                  <a:lnTo>
                    <a:pt x="3" y="159"/>
                  </a:lnTo>
                  <a:lnTo>
                    <a:pt x="1" y="162"/>
                  </a:lnTo>
                  <a:lnTo>
                    <a:pt x="0" y="167"/>
                  </a:lnTo>
                  <a:lnTo>
                    <a:pt x="0" y="172"/>
                  </a:lnTo>
                  <a:lnTo>
                    <a:pt x="2" y="176"/>
                  </a:lnTo>
                  <a:lnTo>
                    <a:pt x="6" y="178"/>
                  </a:lnTo>
                  <a:lnTo>
                    <a:pt x="11" y="180"/>
                  </a:lnTo>
                  <a:lnTo>
                    <a:pt x="15" y="178"/>
                  </a:lnTo>
                  <a:lnTo>
                    <a:pt x="19" y="177"/>
                  </a:lnTo>
                  <a:lnTo>
                    <a:pt x="110" y="97"/>
                  </a:lnTo>
                  <a:lnTo>
                    <a:pt x="147" y="128"/>
                  </a:lnTo>
                  <a:lnTo>
                    <a:pt x="151" y="131"/>
                  </a:lnTo>
                  <a:lnTo>
                    <a:pt x="155" y="132"/>
                  </a:lnTo>
                  <a:lnTo>
                    <a:pt x="159" y="131"/>
                  </a:lnTo>
                  <a:lnTo>
                    <a:pt x="163" y="128"/>
                  </a:lnTo>
                  <a:lnTo>
                    <a:pt x="201" y="97"/>
                  </a:lnTo>
                  <a:lnTo>
                    <a:pt x="291" y="177"/>
                  </a:lnTo>
                  <a:lnTo>
                    <a:pt x="295" y="178"/>
                  </a:lnTo>
                  <a:lnTo>
                    <a:pt x="300" y="180"/>
                  </a:lnTo>
                  <a:lnTo>
                    <a:pt x="304" y="178"/>
                  </a:lnTo>
                  <a:lnTo>
                    <a:pt x="309" y="176"/>
                  </a:lnTo>
                  <a:lnTo>
                    <a:pt x="310" y="172"/>
                  </a:lnTo>
                  <a:lnTo>
                    <a:pt x="312" y="167"/>
                  </a:lnTo>
                  <a:lnTo>
                    <a:pt x="310" y="162"/>
                  </a:lnTo>
                  <a:lnTo>
                    <a:pt x="308" y="159"/>
                  </a:lnTo>
                  <a:lnTo>
                    <a:pt x="220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622">
              <a:extLst>
                <a:ext uri="{FF2B5EF4-FFF2-40B4-BE49-F238E27FC236}">
                  <a16:creationId xmlns:a16="http://schemas.microsoft.com/office/drawing/2014/main" id="{B8880B07-E307-4634-BED5-74F777D83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0613" y="993775"/>
              <a:ext cx="63500" cy="63500"/>
            </a:xfrm>
            <a:custGeom>
              <a:avLst/>
              <a:gdLst>
                <a:gd name="T0" fmla="*/ 21 w 161"/>
                <a:gd name="T1" fmla="*/ 3 h 159"/>
                <a:gd name="T2" fmla="*/ 17 w 161"/>
                <a:gd name="T3" fmla="*/ 0 h 159"/>
                <a:gd name="T4" fmla="*/ 13 w 161"/>
                <a:gd name="T5" fmla="*/ 0 h 159"/>
                <a:gd name="T6" fmla="*/ 8 w 161"/>
                <a:gd name="T7" fmla="*/ 0 h 159"/>
                <a:gd name="T8" fmla="*/ 4 w 161"/>
                <a:gd name="T9" fmla="*/ 3 h 159"/>
                <a:gd name="T10" fmla="*/ 2 w 161"/>
                <a:gd name="T11" fmla="*/ 6 h 159"/>
                <a:gd name="T12" fmla="*/ 0 w 161"/>
                <a:gd name="T13" fmla="*/ 12 h 159"/>
                <a:gd name="T14" fmla="*/ 2 w 161"/>
                <a:gd name="T15" fmla="*/ 15 h 159"/>
                <a:gd name="T16" fmla="*/ 4 w 161"/>
                <a:gd name="T17" fmla="*/ 21 h 159"/>
                <a:gd name="T18" fmla="*/ 140 w 161"/>
                <a:gd name="T19" fmla="*/ 157 h 159"/>
                <a:gd name="T20" fmla="*/ 144 w 161"/>
                <a:gd name="T21" fmla="*/ 159 h 159"/>
                <a:gd name="T22" fmla="*/ 149 w 161"/>
                <a:gd name="T23" fmla="*/ 159 h 159"/>
                <a:gd name="T24" fmla="*/ 153 w 161"/>
                <a:gd name="T25" fmla="*/ 159 h 159"/>
                <a:gd name="T26" fmla="*/ 157 w 161"/>
                <a:gd name="T27" fmla="*/ 157 h 159"/>
                <a:gd name="T28" fmla="*/ 160 w 161"/>
                <a:gd name="T29" fmla="*/ 153 h 159"/>
                <a:gd name="T30" fmla="*/ 161 w 161"/>
                <a:gd name="T31" fmla="*/ 148 h 159"/>
                <a:gd name="T32" fmla="*/ 160 w 161"/>
                <a:gd name="T33" fmla="*/ 144 h 159"/>
                <a:gd name="T34" fmla="*/ 157 w 161"/>
                <a:gd name="T35" fmla="*/ 139 h 159"/>
                <a:gd name="T36" fmla="*/ 21 w 161"/>
                <a:gd name="T37" fmla="*/ 3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" h="159">
                  <a:moveTo>
                    <a:pt x="21" y="3"/>
                  </a:moveTo>
                  <a:lnTo>
                    <a:pt x="17" y="0"/>
                  </a:ln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4" y="21"/>
                  </a:lnTo>
                  <a:lnTo>
                    <a:pt x="140" y="157"/>
                  </a:lnTo>
                  <a:lnTo>
                    <a:pt x="144" y="159"/>
                  </a:lnTo>
                  <a:lnTo>
                    <a:pt x="149" y="159"/>
                  </a:lnTo>
                  <a:lnTo>
                    <a:pt x="153" y="159"/>
                  </a:lnTo>
                  <a:lnTo>
                    <a:pt x="157" y="157"/>
                  </a:lnTo>
                  <a:lnTo>
                    <a:pt x="160" y="153"/>
                  </a:lnTo>
                  <a:lnTo>
                    <a:pt x="161" y="148"/>
                  </a:lnTo>
                  <a:lnTo>
                    <a:pt x="160" y="144"/>
                  </a:lnTo>
                  <a:lnTo>
                    <a:pt x="157" y="139"/>
                  </a:lnTo>
                  <a:lnTo>
                    <a:pt x="21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623">
              <a:extLst>
                <a:ext uri="{FF2B5EF4-FFF2-40B4-BE49-F238E27FC236}">
                  <a16:creationId xmlns:a16="http://schemas.microsoft.com/office/drawing/2014/main" id="{6266EEED-90A2-4C3D-81B6-C1D62FB16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8363" y="993775"/>
              <a:ext cx="63500" cy="63500"/>
            </a:xfrm>
            <a:custGeom>
              <a:avLst/>
              <a:gdLst>
                <a:gd name="T0" fmla="*/ 157 w 160"/>
                <a:gd name="T1" fmla="*/ 3 h 159"/>
                <a:gd name="T2" fmla="*/ 153 w 160"/>
                <a:gd name="T3" fmla="*/ 0 h 159"/>
                <a:gd name="T4" fmla="*/ 148 w 160"/>
                <a:gd name="T5" fmla="*/ 0 h 159"/>
                <a:gd name="T6" fmla="*/ 144 w 160"/>
                <a:gd name="T7" fmla="*/ 0 h 159"/>
                <a:gd name="T8" fmla="*/ 139 w 160"/>
                <a:gd name="T9" fmla="*/ 3 h 159"/>
                <a:gd name="T10" fmla="*/ 3 w 160"/>
                <a:gd name="T11" fmla="*/ 139 h 159"/>
                <a:gd name="T12" fmla="*/ 0 w 160"/>
                <a:gd name="T13" fmla="*/ 144 h 159"/>
                <a:gd name="T14" fmla="*/ 0 w 160"/>
                <a:gd name="T15" fmla="*/ 148 h 159"/>
                <a:gd name="T16" fmla="*/ 0 w 160"/>
                <a:gd name="T17" fmla="*/ 153 h 159"/>
                <a:gd name="T18" fmla="*/ 3 w 160"/>
                <a:gd name="T19" fmla="*/ 157 h 159"/>
                <a:gd name="T20" fmla="*/ 7 w 160"/>
                <a:gd name="T21" fmla="*/ 159 h 159"/>
                <a:gd name="T22" fmla="*/ 12 w 160"/>
                <a:gd name="T23" fmla="*/ 159 h 159"/>
                <a:gd name="T24" fmla="*/ 16 w 160"/>
                <a:gd name="T25" fmla="*/ 159 h 159"/>
                <a:gd name="T26" fmla="*/ 21 w 160"/>
                <a:gd name="T27" fmla="*/ 157 h 159"/>
                <a:gd name="T28" fmla="*/ 157 w 160"/>
                <a:gd name="T29" fmla="*/ 21 h 159"/>
                <a:gd name="T30" fmla="*/ 160 w 160"/>
                <a:gd name="T31" fmla="*/ 15 h 159"/>
                <a:gd name="T32" fmla="*/ 160 w 160"/>
                <a:gd name="T33" fmla="*/ 12 h 159"/>
                <a:gd name="T34" fmla="*/ 160 w 160"/>
                <a:gd name="T35" fmla="*/ 6 h 159"/>
                <a:gd name="T36" fmla="*/ 157 w 160"/>
                <a:gd name="T37" fmla="*/ 3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0" h="159">
                  <a:moveTo>
                    <a:pt x="157" y="3"/>
                  </a:moveTo>
                  <a:lnTo>
                    <a:pt x="153" y="0"/>
                  </a:lnTo>
                  <a:lnTo>
                    <a:pt x="148" y="0"/>
                  </a:lnTo>
                  <a:lnTo>
                    <a:pt x="144" y="0"/>
                  </a:lnTo>
                  <a:lnTo>
                    <a:pt x="139" y="3"/>
                  </a:lnTo>
                  <a:lnTo>
                    <a:pt x="3" y="139"/>
                  </a:lnTo>
                  <a:lnTo>
                    <a:pt x="0" y="144"/>
                  </a:lnTo>
                  <a:lnTo>
                    <a:pt x="0" y="148"/>
                  </a:lnTo>
                  <a:lnTo>
                    <a:pt x="0" y="153"/>
                  </a:lnTo>
                  <a:lnTo>
                    <a:pt x="3" y="157"/>
                  </a:lnTo>
                  <a:lnTo>
                    <a:pt x="7" y="159"/>
                  </a:lnTo>
                  <a:lnTo>
                    <a:pt x="12" y="159"/>
                  </a:lnTo>
                  <a:lnTo>
                    <a:pt x="16" y="159"/>
                  </a:lnTo>
                  <a:lnTo>
                    <a:pt x="21" y="157"/>
                  </a:lnTo>
                  <a:lnTo>
                    <a:pt x="157" y="21"/>
                  </a:lnTo>
                  <a:lnTo>
                    <a:pt x="160" y="15"/>
                  </a:lnTo>
                  <a:lnTo>
                    <a:pt x="160" y="12"/>
                  </a:lnTo>
                  <a:lnTo>
                    <a:pt x="160" y="6"/>
                  </a:lnTo>
                  <a:lnTo>
                    <a:pt x="157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24">
              <a:extLst>
                <a:ext uri="{FF2B5EF4-FFF2-40B4-BE49-F238E27FC236}">
                  <a16:creationId xmlns:a16="http://schemas.microsoft.com/office/drawing/2014/main" id="{433975A3-2AE4-48DB-BA3F-81C43C9CA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0613" y="771525"/>
              <a:ext cx="63500" cy="63500"/>
            </a:xfrm>
            <a:custGeom>
              <a:avLst/>
              <a:gdLst>
                <a:gd name="T0" fmla="*/ 4 w 161"/>
                <a:gd name="T1" fmla="*/ 156 h 160"/>
                <a:gd name="T2" fmla="*/ 8 w 161"/>
                <a:gd name="T3" fmla="*/ 159 h 160"/>
                <a:gd name="T4" fmla="*/ 12 w 161"/>
                <a:gd name="T5" fmla="*/ 160 h 160"/>
                <a:gd name="T6" fmla="*/ 17 w 161"/>
                <a:gd name="T7" fmla="*/ 159 h 160"/>
                <a:gd name="T8" fmla="*/ 21 w 161"/>
                <a:gd name="T9" fmla="*/ 156 h 160"/>
                <a:gd name="T10" fmla="*/ 157 w 161"/>
                <a:gd name="T11" fmla="*/ 20 h 160"/>
                <a:gd name="T12" fmla="*/ 160 w 161"/>
                <a:gd name="T13" fmla="*/ 16 h 160"/>
                <a:gd name="T14" fmla="*/ 161 w 161"/>
                <a:gd name="T15" fmla="*/ 11 h 160"/>
                <a:gd name="T16" fmla="*/ 160 w 161"/>
                <a:gd name="T17" fmla="*/ 7 h 160"/>
                <a:gd name="T18" fmla="*/ 157 w 161"/>
                <a:gd name="T19" fmla="*/ 4 h 160"/>
                <a:gd name="T20" fmla="*/ 153 w 161"/>
                <a:gd name="T21" fmla="*/ 1 h 160"/>
                <a:gd name="T22" fmla="*/ 149 w 161"/>
                <a:gd name="T23" fmla="*/ 0 h 160"/>
                <a:gd name="T24" fmla="*/ 144 w 161"/>
                <a:gd name="T25" fmla="*/ 1 h 160"/>
                <a:gd name="T26" fmla="*/ 140 w 161"/>
                <a:gd name="T27" fmla="*/ 4 h 160"/>
                <a:gd name="T28" fmla="*/ 4 w 161"/>
                <a:gd name="T29" fmla="*/ 140 h 160"/>
                <a:gd name="T30" fmla="*/ 2 w 161"/>
                <a:gd name="T31" fmla="*/ 144 h 160"/>
                <a:gd name="T32" fmla="*/ 0 w 161"/>
                <a:gd name="T33" fmla="*/ 147 h 160"/>
                <a:gd name="T34" fmla="*/ 2 w 161"/>
                <a:gd name="T35" fmla="*/ 153 h 160"/>
                <a:gd name="T36" fmla="*/ 4 w 161"/>
                <a:gd name="T37" fmla="*/ 15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" h="160">
                  <a:moveTo>
                    <a:pt x="4" y="156"/>
                  </a:moveTo>
                  <a:lnTo>
                    <a:pt x="8" y="159"/>
                  </a:lnTo>
                  <a:lnTo>
                    <a:pt x="12" y="160"/>
                  </a:lnTo>
                  <a:lnTo>
                    <a:pt x="17" y="159"/>
                  </a:lnTo>
                  <a:lnTo>
                    <a:pt x="21" y="156"/>
                  </a:lnTo>
                  <a:lnTo>
                    <a:pt x="157" y="20"/>
                  </a:lnTo>
                  <a:lnTo>
                    <a:pt x="160" y="16"/>
                  </a:lnTo>
                  <a:lnTo>
                    <a:pt x="161" y="11"/>
                  </a:lnTo>
                  <a:lnTo>
                    <a:pt x="160" y="7"/>
                  </a:lnTo>
                  <a:lnTo>
                    <a:pt x="157" y="4"/>
                  </a:lnTo>
                  <a:lnTo>
                    <a:pt x="153" y="1"/>
                  </a:lnTo>
                  <a:lnTo>
                    <a:pt x="149" y="0"/>
                  </a:lnTo>
                  <a:lnTo>
                    <a:pt x="144" y="1"/>
                  </a:lnTo>
                  <a:lnTo>
                    <a:pt x="140" y="4"/>
                  </a:lnTo>
                  <a:lnTo>
                    <a:pt x="4" y="140"/>
                  </a:lnTo>
                  <a:lnTo>
                    <a:pt x="2" y="144"/>
                  </a:lnTo>
                  <a:lnTo>
                    <a:pt x="0" y="147"/>
                  </a:lnTo>
                  <a:lnTo>
                    <a:pt x="2" y="153"/>
                  </a:lnTo>
                  <a:lnTo>
                    <a:pt x="4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625">
              <a:extLst>
                <a:ext uri="{FF2B5EF4-FFF2-40B4-BE49-F238E27FC236}">
                  <a16:creationId xmlns:a16="http://schemas.microsoft.com/office/drawing/2014/main" id="{BDC469DA-107E-4C27-9B5C-67AF7E3738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8363" y="771525"/>
              <a:ext cx="63500" cy="63500"/>
            </a:xfrm>
            <a:custGeom>
              <a:avLst/>
              <a:gdLst>
                <a:gd name="T0" fmla="*/ 139 w 160"/>
                <a:gd name="T1" fmla="*/ 156 h 160"/>
                <a:gd name="T2" fmla="*/ 144 w 160"/>
                <a:gd name="T3" fmla="*/ 159 h 160"/>
                <a:gd name="T4" fmla="*/ 148 w 160"/>
                <a:gd name="T5" fmla="*/ 160 h 160"/>
                <a:gd name="T6" fmla="*/ 153 w 160"/>
                <a:gd name="T7" fmla="*/ 159 h 160"/>
                <a:gd name="T8" fmla="*/ 157 w 160"/>
                <a:gd name="T9" fmla="*/ 156 h 160"/>
                <a:gd name="T10" fmla="*/ 160 w 160"/>
                <a:gd name="T11" fmla="*/ 153 h 160"/>
                <a:gd name="T12" fmla="*/ 160 w 160"/>
                <a:gd name="T13" fmla="*/ 149 h 160"/>
                <a:gd name="T14" fmla="*/ 160 w 160"/>
                <a:gd name="T15" fmla="*/ 144 h 160"/>
                <a:gd name="T16" fmla="*/ 157 w 160"/>
                <a:gd name="T17" fmla="*/ 140 h 160"/>
                <a:gd name="T18" fmla="*/ 21 w 160"/>
                <a:gd name="T19" fmla="*/ 4 h 160"/>
                <a:gd name="T20" fmla="*/ 16 w 160"/>
                <a:gd name="T21" fmla="*/ 1 h 160"/>
                <a:gd name="T22" fmla="*/ 12 w 160"/>
                <a:gd name="T23" fmla="*/ 0 h 160"/>
                <a:gd name="T24" fmla="*/ 7 w 160"/>
                <a:gd name="T25" fmla="*/ 1 h 160"/>
                <a:gd name="T26" fmla="*/ 3 w 160"/>
                <a:gd name="T27" fmla="*/ 4 h 160"/>
                <a:gd name="T28" fmla="*/ 0 w 160"/>
                <a:gd name="T29" fmla="*/ 7 h 160"/>
                <a:gd name="T30" fmla="*/ 0 w 160"/>
                <a:gd name="T31" fmla="*/ 11 h 160"/>
                <a:gd name="T32" fmla="*/ 0 w 160"/>
                <a:gd name="T33" fmla="*/ 16 h 160"/>
                <a:gd name="T34" fmla="*/ 3 w 160"/>
                <a:gd name="T35" fmla="*/ 20 h 160"/>
                <a:gd name="T36" fmla="*/ 139 w 160"/>
                <a:gd name="T37" fmla="*/ 15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0" h="160">
                  <a:moveTo>
                    <a:pt x="139" y="156"/>
                  </a:moveTo>
                  <a:lnTo>
                    <a:pt x="144" y="159"/>
                  </a:lnTo>
                  <a:lnTo>
                    <a:pt x="148" y="160"/>
                  </a:lnTo>
                  <a:lnTo>
                    <a:pt x="153" y="159"/>
                  </a:lnTo>
                  <a:lnTo>
                    <a:pt x="157" y="156"/>
                  </a:lnTo>
                  <a:lnTo>
                    <a:pt x="160" y="153"/>
                  </a:lnTo>
                  <a:lnTo>
                    <a:pt x="160" y="149"/>
                  </a:lnTo>
                  <a:lnTo>
                    <a:pt x="160" y="144"/>
                  </a:lnTo>
                  <a:lnTo>
                    <a:pt x="157" y="140"/>
                  </a:lnTo>
                  <a:lnTo>
                    <a:pt x="21" y="4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3" y="20"/>
                  </a:lnTo>
                  <a:lnTo>
                    <a:pt x="139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CF8C246-956B-491B-BAB7-248E7C863613}"/>
              </a:ext>
            </a:extLst>
          </p:cNvPr>
          <p:cNvGrpSpPr/>
          <p:nvPr/>
        </p:nvGrpSpPr>
        <p:grpSpPr>
          <a:xfrm>
            <a:off x="11058919" y="2238682"/>
            <a:ext cx="287337" cy="285750"/>
            <a:chOff x="5465763" y="3068638"/>
            <a:chExt cx="287337" cy="285750"/>
          </a:xfrm>
          <a:solidFill>
            <a:schemeClr val="bg1"/>
          </a:solidFill>
        </p:grpSpPr>
        <p:sp>
          <p:nvSpPr>
            <p:cNvPr id="70" name="Freeform 617">
              <a:extLst>
                <a:ext uri="{FF2B5EF4-FFF2-40B4-BE49-F238E27FC236}">
                  <a16:creationId xmlns:a16="http://schemas.microsoft.com/office/drawing/2014/main" id="{0CEB9F88-8C42-42C6-B689-54AE5393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188" y="3068638"/>
              <a:ext cx="119063" cy="38100"/>
            </a:xfrm>
            <a:custGeom>
              <a:avLst/>
              <a:gdLst>
                <a:gd name="T0" fmla="*/ 375 w 375"/>
                <a:gd name="T1" fmla="*/ 62 h 120"/>
                <a:gd name="T2" fmla="*/ 374 w 375"/>
                <a:gd name="T3" fmla="*/ 62 h 120"/>
                <a:gd name="T4" fmla="*/ 373 w 375"/>
                <a:gd name="T5" fmla="*/ 61 h 120"/>
                <a:gd name="T6" fmla="*/ 193 w 375"/>
                <a:gd name="T7" fmla="*/ 1 h 120"/>
                <a:gd name="T8" fmla="*/ 188 w 375"/>
                <a:gd name="T9" fmla="*/ 0 h 120"/>
                <a:gd name="T10" fmla="*/ 183 w 375"/>
                <a:gd name="T11" fmla="*/ 1 h 120"/>
                <a:gd name="T12" fmla="*/ 2 w 375"/>
                <a:gd name="T13" fmla="*/ 61 h 120"/>
                <a:gd name="T14" fmla="*/ 1 w 375"/>
                <a:gd name="T15" fmla="*/ 62 h 120"/>
                <a:gd name="T16" fmla="*/ 0 w 375"/>
                <a:gd name="T17" fmla="*/ 62 h 120"/>
                <a:gd name="T18" fmla="*/ 188 w 375"/>
                <a:gd name="T19" fmla="*/ 120 h 120"/>
                <a:gd name="T20" fmla="*/ 375 w 375"/>
                <a:gd name="T21" fmla="*/ 6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" h="120">
                  <a:moveTo>
                    <a:pt x="375" y="62"/>
                  </a:moveTo>
                  <a:lnTo>
                    <a:pt x="374" y="62"/>
                  </a:lnTo>
                  <a:lnTo>
                    <a:pt x="373" y="61"/>
                  </a:lnTo>
                  <a:lnTo>
                    <a:pt x="193" y="1"/>
                  </a:lnTo>
                  <a:lnTo>
                    <a:pt x="188" y="0"/>
                  </a:lnTo>
                  <a:lnTo>
                    <a:pt x="183" y="1"/>
                  </a:lnTo>
                  <a:lnTo>
                    <a:pt x="2" y="61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188" y="120"/>
                  </a:lnTo>
                  <a:lnTo>
                    <a:pt x="37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18">
              <a:extLst>
                <a:ext uri="{FF2B5EF4-FFF2-40B4-BE49-F238E27FC236}">
                  <a16:creationId xmlns:a16="http://schemas.microsoft.com/office/drawing/2014/main" id="{DD546A1D-6C36-4ED4-9C3D-DAA9C29CE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275" y="3097213"/>
              <a:ext cx="57150" cy="93663"/>
            </a:xfrm>
            <a:custGeom>
              <a:avLst/>
              <a:gdLst>
                <a:gd name="T0" fmla="*/ 181 w 181"/>
                <a:gd name="T1" fmla="*/ 210 h 295"/>
                <a:gd name="T2" fmla="*/ 181 w 181"/>
                <a:gd name="T3" fmla="*/ 0 h 295"/>
                <a:gd name="T4" fmla="*/ 0 w 181"/>
                <a:gd name="T5" fmla="*/ 56 h 295"/>
                <a:gd name="T6" fmla="*/ 0 w 181"/>
                <a:gd name="T7" fmla="*/ 295 h 295"/>
                <a:gd name="T8" fmla="*/ 171 w 181"/>
                <a:gd name="T9" fmla="*/ 224 h 295"/>
                <a:gd name="T10" fmla="*/ 174 w 181"/>
                <a:gd name="T11" fmla="*/ 222 h 295"/>
                <a:gd name="T12" fmla="*/ 178 w 181"/>
                <a:gd name="T13" fmla="*/ 219 h 295"/>
                <a:gd name="T14" fmla="*/ 180 w 181"/>
                <a:gd name="T15" fmla="*/ 215 h 295"/>
                <a:gd name="T16" fmla="*/ 181 w 181"/>
                <a:gd name="T17" fmla="*/ 21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181" y="210"/>
                  </a:moveTo>
                  <a:lnTo>
                    <a:pt x="181" y="0"/>
                  </a:lnTo>
                  <a:lnTo>
                    <a:pt x="0" y="56"/>
                  </a:lnTo>
                  <a:lnTo>
                    <a:pt x="0" y="295"/>
                  </a:lnTo>
                  <a:lnTo>
                    <a:pt x="171" y="224"/>
                  </a:lnTo>
                  <a:lnTo>
                    <a:pt x="174" y="222"/>
                  </a:lnTo>
                  <a:lnTo>
                    <a:pt x="178" y="219"/>
                  </a:lnTo>
                  <a:lnTo>
                    <a:pt x="180" y="215"/>
                  </a:lnTo>
                  <a:lnTo>
                    <a:pt x="181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19">
              <a:extLst>
                <a:ext uri="{FF2B5EF4-FFF2-40B4-BE49-F238E27FC236}">
                  <a16:creationId xmlns:a16="http://schemas.microsoft.com/office/drawing/2014/main" id="{B8B4A74C-7202-485D-9CB6-D23242AA9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097213"/>
              <a:ext cx="57150" cy="93663"/>
            </a:xfrm>
            <a:custGeom>
              <a:avLst/>
              <a:gdLst>
                <a:gd name="T0" fmla="*/ 9 w 181"/>
                <a:gd name="T1" fmla="*/ 224 h 295"/>
                <a:gd name="T2" fmla="*/ 181 w 181"/>
                <a:gd name="T3" fmla="*/ 295 h 295"/>
                <a:gd name="T4" fmla="*/ 181 w 181"/>
                <a:gd name="T5" fmla="*/ 56 h 295"/>
                <a:gd name="T6" fmla="*/ 0 w 181"/>
                <a:gd name="T7" fmla="*/ 0 h 295"/>
                <a:gd name="T8" fmla="*/ 0 w 181"/>
                <a:gd name="T9" fmla="*/ 210 h 295"/>
                <a:gd name="T10" fmla="*/ 0 w 181"/>
                <a:gd name="T11" fmla="*/ 215 h 295"/>
                <a:gd name="T12" fmla="*/ 2 w 181"/>
                <a:gd name="T13" fmla="*/ 219 h 295"/>
                <a:gd name="T14" fmla="*/ 6 w 181"/>
                <a:gd name="T15" fmla="*/ 222 h 295"/>
                <a:gd name="T16" fmla="*/ 9 w 181"/>
                <a:gd name="T17" fmla="*/ 2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9" y="224"/>
                  </a:moveTo>
                  <a:lnTo>
                    <a:pt x="181" y="295"/>
                  </a:lnTo>
                  <a:lnTo>
                    <a:pt x="181" y="56"/>
                  </a:lnTo>
                  <a:lnTo>
                    <a:pt x="0" y="0"/>
                  </a:lnTo>
                  <a:lnTo>
                    <a:pt x="0" y="210"/>
                  </a:lnTo>
                  <a:lnTo>
                    <a:pt x="0" y="215"/>
                  </a:lnTo>
                  <a:lnTo>
                    <a:pt x="2" y="219"/>
                  </a:lnTo>
                  <a:lnTo>
                    <a:pt x="6" y="222"/>
                  </a:lnTo>
                  <a:lnTo>
                    <a:pt x="9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20">
              <a:extLst>
                <a:ext uri="{FF2B5EF4-FFF2-40B4-BE49-F238E27FC236}">
                  <a16:creationId xmlns:a16="http://schemas.microsoft.com/office/drawing/2014/main" id="{75958BF9-27F0-4CFF-896A-EF3EDCB74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75" y="3217863"/>
              <a:ext cx="47625" cy="77788"/>
            </a:xfrm>
            <a:custGeom>
              <a:avLst/>
              <a:gdLst>
                <a:gd name="T0" fmla="*/ 0 w 150"/>
                <a:gd name="T1" fmla="*/ 67 h 249"/>
                <a:gd name="T2" fmla="*/ 0 w 150"/>
                <a:gd name="T3" fmla="*/ 249 h 249"/>
                <a:gd name="T4" fmla="*/ 141 w 150"/>
                <a:gd name="T5" fmla="*/ 177 h 249"/>
                <a:gd name="T6" fmla="*/ 146 w 150"/>
                <a:gd name="T7" fmla="*/ 175 h 249"/>
                <a:gd name="T8" fmla="*/ 148 w 150"/>
                <a:gd name="T9" fmla="*/ 171 h 249"/>
                <a:gd name="T10" fmla="*/ 149 w 150"/>
                <a:gd name="T11" fmla="*/ 168 h 249"/>
                <a:gd name="T12" fmla="*/ 150 w 150"/>
                <a:gd name="T13" fmla="*/ 164 h 249"/>
                <a:gd name="T14" fmla="*/ 150 w 150"/>
                <a:gd name="T15" fmla="*/ 0 h 249"/>
                <a:gd name="T16" fmla="*/ 0 w 150"/>
                <a:gd name="T17" fmla="*/ 6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249">
                  <a:moveTo>
                    <a:pt x="0" y="67"/>
                  </a:moveTo>
                  <a:lnTo>
                    <a:pt x="0" y="249"/>
                  </a:lnTo>
                  <a:lnTo>
                    <a:pt x="141" y="177"/>
                  </a:lnTo>
                  <a:lnTo>
                    <a:pt x="146" y="175"/>
                  </a:lnTo>
                  <a:lnTo>
                    <a:pt x="148" y="171"/>
                  </a:lnTo>
                  <a:lnTo>
                    <a:pt x="149" y="168"/>
                  </a:lnTo>
                  <a:lnTo>
                    <a:pt x="150" y="164"/>
                  </a:lnTo>
                  <a:lnTo>
                    <a:pt x="150" y="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21">
              <a:extLst>
                <a:ext uri="{FF2B5EF4-FFF2-40B4-BE49-F238E27FC236}">
                  <a16:creationId xmlns:a16="http://schemas.microsoft.com/office/drawing/2014/main" id="{F4554D1F-E30C-4A70-9C4C-B68D87442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263" y="3192463"/>
              <a:ext cx="88900" cy="38100"/>
            </a:xfrm>
            <a:custGeom>
              <a:avLst/>
              <a:gdLst>
                <a:gd name="T0" fmla="*/ 146 w 281"/>
                <a:gd name="T1" fmla="*/ 2 h 120"/>
                <a:gd name="T2" fmla="*/ 143 w 281"/>
                <a:gd name="T3" fmla="*/ 0 h 120"/>
                <a:gd name="T4" fmla="*/ 141 w 281"/>
                <a:gd name="T5" fmla="*/ 0 h 120"/>
                <a:gd name="T6" fmla="*/ 138 w 281"/>
                <a:gd name="T7" fmla="*/ 0 h 120"/>
                <a:gd name="T8" fmla="*/ 134 w 281"/>
                <a:gd name="T9" fmla="*/ 2 h 120"/>
                <a:gd name="T10" fmla="*/ 0 w 281"/>
                <a:gd name="T11" fmla="*/ 55 h 120"/>
                <a:gd name="T12" fmla="*/ 141 w 281"/>
                <a:gd name="T13" fmla="*/ 120 h 120"/>
                <a:gd name="T14" fmla="*/ 281 w 281"/>
                <a:gd name="T15" fmla="*/ 55 h 120"/>
                <a:gd name="T16" fmla="*/ 146 w 281"/>
                <a:gd name="T17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1" h="120">
                  <a:moveTo>
                    <a:pt x="146" y="2"/>
                  </a:moveTo>
                  <a:lnTo>
                    <a:pt x="143" y="0"/>
                  </a:lnTo>
                  <a:lnTo>
                    <a:pt x="141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0" y="55"/>
                  </a:lnTo>
                  <a:lnTo>
                    <a:pt x="141" y="120"/>
                  </a:lnTo>
                  <a:lnTo>
                    <a:pt x="281" y="55"/>
                  </a:lnTo>
                  <a:lnTo>
                    <a:pt x="14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22">
              <a:extLst>
                <a:ext uri="{FF2B5EF4-FFF2-40B4-BE49-F238E27FC236}">
                  <a16:creationId xmlns:a16="http://schemas.microsoft.com/office/drawing/2014/main" id="{23A0F0EA-EB7E-4885-84AB-32B8453A5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325" y="3217863"/>
              <a:ext cx="47625" cy="77788"/>
            </a:xfrm>
            <a:custGeom>
              <a:avLst/>
              <a:gdLst>
                <a:gd name="T0" fmla="*/ 0 w 151"/>
                <a:gd name="T1" fmla="*/ 164 h 249"/>
                <a:gd name="T2" fmla="*/ 1 w 151"/>
                <a:gd name="T3" fmla="*/ 167 h 249"/>
                <a:gd name="T4" fmla="*/ 2 w 151"/>
                <a:gd name="T5" fmla="*/ 171 h 249"/>
                <a:gd name="T6" fmla="*/ 5 w 151"/>
                <a:gd name="T7" fmla="*/ 175 h 249"/>
                <a:gd name="T8" fmla="*/ 8 w 151"/>
                <a:gd name="T9" fmla="*/ 177 h 249"/>
                <a:gd name="T10" fmla="*/ 151 w 151"/>
                <a:gd name="T11" fmla="*/ 249 h 249"/>
                <a:gd name="T12" fmla="*/ 151 w 151"/>
                <a:gd name="T13" fmla="*/ 67 h 249"/>
                <a:gd name="T14" fmla="*/ 0 w 151"/>
                <a:gd name="T15" fmla="*/ 0 h 249"/>
                <a:gd name="T16" fmla="*/ 0 w 151"/>
                <a:gd name="T17" fmla="*/ 16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249">
                  <a:moveTo>
                    <a:pt x="0" y="164"/>
                  </a:moveTo>
                  <a:lnTo>
                    <a:pt x="1" y="167"/>
                  </a:lnTo>
                  <a:lnTo>
                    <a:pt x="2" y="171"/>
                  </a:lnTo>
                  <a:lnTo>
                    <a:pt x="5" y="175"/>
                  </a:lnTo>
                  <a:lnTo>
                    <a:pt x="8" y="177"/>
                  </a:lnTo>
                  <a:lnTo>
                    <a:pt x="151" y="249"/>
                  </a:lnTo>
                  <a:lnTo>
                    <a:pt x="151" y="67"/>
                  </a:lnTo>
                  <a:lnTo>
                    <a:pt x="0" y="0"/>
                  </a:lnTo>
                  <a:lnTo>
                    <a:pt x="0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23">
              <a:extLst>
                <a:ext uri="{FF2B5EF4-FFF2-40B4-BE49-F238E27FC236}">
                  <a16:creationId xmlns:a16="http://schemas.microsoft.com/office/drawing/2014/main" id="{BB02DD6F-DA69-4602-9827-2EFFAF7FD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3201988"/>
              <a:ext cx="144463" cy="47625"/>
            </a:xfrm>
            <a:custGeom>
              <a:avLst/>
              <a:gdLst>
                <a:gd name="T0" fmla="*/ 231 w 452"/>
                <a:gd name="T1" fmla="*/ 2 h 151"/>
                <a:gd name="T2" fmla="*/ 225 w 452"/>
                <a:gd name="T3" fmla="*/ 0 h 151"/>
                <a:gd name="T4" fmla="*/ 221 w 452"/>
                <a:gd name="T5" fmla="*/ 2 h 151"/>
                <a:gd name="T6" fmla="*/ 0 w 452"/>
                <a:gd name="T7" fmla="*/ 70 h 151"/>
                <a:gd name="T8" fmla="*/ 225 w 452"/>
                <a:gd name="T9" fmla="*/ 151 h 151"/>
                <a:gd name="T10" fmla="*/ 452 w 452"/>
                <a:gd name="T11" fmla="*/ 70 h 151"/>
                <a:gd name="T12" fmla="*/ 231 w 452"/>
                <a:gd name="T13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2" h="151">
                  <a:moveTo>
                    <a:pt x="231" y="2"/>
                  </a:moveTo>
                  <a:lnTo>
                    <a:pt x="225" y="0"/>
                  </a:lnTo>
                  <a:lnTo>
                    <a:pt x="221" y="2"/>
                  </a:lnTo>
                  <a:lnTo>
                    <a:pt x="0" y="70"/>
                  </a:lnTo>
                  <a:lnTo>
                    <a:pt x="225" y="151"/>
                  </a:lnTo>
                  <a:lnTo>
                    <a:pt x="452" y="70"/>
                  </a:lnTo>
                  <a:lnTo>
                    <a:pt x="23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24">
              <a:extLst>
                <a:ext uri="{FF2B5EF4-FFF2-40B4-BE49-F238E27FC236}">
                  <a16:creationId xmlns:a16="http://schemas.microsoft.com/office/drawing/2014/main" id="{B92340F4-B54A-488D-A5C8-98121BDE7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3230563"/>
              <a:ext cx="76200" cy="123825"/>
            </a:xfrm>
            <a:custGeom>
              <a:avLst/>
              <a:gdLst>
                <a:gd name="T0" fmla="*/ 0 w 240"/>
                <a:gd name="T1" fmla="*/ 285 h 386"/>
                <a:gd name="T2" fmla="*/ 1 w 240"/>
                <a:gd name="T3" fmla="*/ 289 h 386"/>
                <a:gd name="T4" fmla="*/ 2 w 240"/>
                <a:gd name="T5" fmla="*/ 294 h 386"/>
                <a:gd name="T6" fmla="*/ 5 w 240"/>
                <a:gd name="T7" fmla="*/ 297 h 386"/>
                <a:gd name="T8" fmla="*/ 10 w 240"/>
                <a:gd name="T9" fmla="*/ 299 h 386"/>
                <a:gd name="T10" fmla="*/ 240 w 240"/>
                <a:gd name="T11" fmla="*/ 386 h 386"/>
                <a:gd name="T12" fmla="*/ 240 w 240"/>
                <a:gd name="T13" fmla="*/ 84 h 386"/>
                <a:gd name="T14" fmla="*/ 0 w 240"/>
                <a:gd name="T15" fmla="*/ 0 h 386"/>
                <a:gd name="T16" fmla="*/ 0 w 240"/>
                <a:gd name="T17" fmla="*/ 2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386">
                  <a:moveTo>
                    <a:pt x="0" y="285"/>
                  </a:moveTo>
                  <a:lnTo>
                    <a:pt x="1" y="289"/>
                  </a:lnTo>
                  <a:lnTo>
                    <a:pt x="2" y="294"/>
                  </a:lnTo>
                  <a:lnTo>
                    <a:pt x="5" y="297"/>
                  </a:lnTo>
                  <a:lnTo>
                    <a:pt x="10" y="299"/>
                  </a:lnTo>
                  <a:lnTo>
                    <a:pt x="240" y="386"/>
                  </a:lnTo>
                  <a:lnTo>
                    <a:pt x="240" y="84"/>
                  </a:lnTo>
                  <a:lnTo>
                    <a:pt x="0" y="0"/>
                  </a:lnTo>
                  <a:lnTo>
                    <a:pt x="0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25">
              <a:extLst>
                <a:ext uri="{FF2B5EF4-FFF2-40B4-BE49-F238E27FC236}">
                  <a16:creationId xmlns:a16="http://schemas.microsoft.com/office/drawing/2014/main" id="{718BFD84-5AA9-4CDA-A31F-759BC1FE0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230563"/>
              <a:ext cx="76200" cy="123825"/>
            </a:xfrm>
            <a:custGeom>
              <a:avLst/>
              <a:gdLst>
                <a:gd name="T0" fmla="*/ 0 w 241"/>
                <a:gd name="T1" fmla="*/ 386 h 386"/>
                <a:gd name="T2" fmla="*/ 231 w 241"/>
                <a:gd name="T3" fmla="*/ 299 h 386"/>
                <a:gd name="T4" fmla="*/ 235 w 241"/>
                <a:gd name="T5" fmla="*/ 297 h 386"/>
                <a:gd name="T6" fmla="*/ 238 w 241"/>
                <a:gd name="T7" fmla="*/ 294 h 386"/>
                <a:gd name="T8" fmla="*/ 239 w 241"/>
                <a:gd name="T9" fmla="*/ 289 h 386"/>
                <a:gd name="T10" fmla="*/ 241 w 241"/>
                <a:gd name="T11" fmla="*/ 285 h 386"/>
                <a:gd name="T12" fmla="*/ 241 w 241"/>
                <a:gd name="T13" fmla="*/ 0 h 386"/>
                <a:gd name="T14" fmla="*/ 0 w 241"/>
                <a:gd name="T15" fmla="*/ 84 h 386"/>
                <a:gd name="T16" fmla="*/ 0 w 241"/>
                <a:gd name="T17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" h="386">
                  <a:moveTo>
                    <a:pt x="0" y="386"/>
                  </a:moveTo>
                  <a:lnTo>
                    <a:pt x="231" y="299"/>
                  </a:lnTo>
                  <a:lnTo>
                    <a:pt x="235" y="297"/>
                  </a:lnTo>
                  <a:lnTo>
                    <a:pt x="238" y="294"/>
                  </a:lnTo>
                  <a:lnTo>
                    <a:pt x="239" y="289"/>
                  </a:lnTo>
                  <a:lnTo>
                    <a:pt x="241" y="285"/>
                  </a:lnTo>
                  <a:lnTo>
                    <a:pt x="241" y="0"/>
                  </a:lnTo>
                  <a:lnTo>
                    <a:pt x="0" y="8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CCEF7448-1E54-49CF-AFF1-C5A3F8A93006}"/>
              </a:ext>
            </a:extLst>
          </p:cNvPr>
          <p:cNvGrpSpPr/>
          <p:nvPr/>
        </p:nvGrpSpPr>
        <p:grpSpPr>
          <a:xfrm>
            <a:off x="9918300" y="2238682"/>
            <a:ext cx="284163" cy="285751"/>
            <a:chOff x="3171788" y="779462"/>
            <a:chExt cx="284163" cy="285751"/>
          </a:xfrm>
          <a:solidFill>
            <a:schemeClr val="bg1"/>
          </a:solidFill>
        </p:grpSpPr>
        <p:sp>
          <p:nvSpPr>
            <p:cNvPr id="86" name="Freeform 2993">
              <a:extLst>
                <a:ext uri="{FF2B5EF4-FFF2-40B4-BE49-F238E27FC236}">
                  <a16:creationId xmlns:a16="http://schemas.microsoft.com/office/drawing/2014/main" id="{D9B98528-AB24-4517-9C3D-E7F01CAB4A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0851" y="779462"/>
              <a:ext cx="165100" cy="196850"/>
            </a:xfrm>
            <a:custGeom>
              <a:avLst/>
              <a:gdLst>
                <a:gd name="T0" fmla="*/ 291 w 416"/>
                <a:gd name="T1" fmla="*/ 221 h 493"/>
                <a:gd name="T2" fmla="*/ 339 w 416"/>
                <a:gd name="T3" fmla="*/ 173 h 493"/>
                <a:gd name="T4" fmla="*/ 242 w 416"/>
                <a:gd name="T5" fmla="*/ 221 h 493"/>
                <a:gd name="T6" fmla="*/ 195 w 416"/>
                <a:gd name="T7" fmla="*/ 173 h 493"/>
                <a:gd name="T8" fmla="*/ 242 w 416"/>
                <a:gd name="T9" fmla="*/ 221 h 493"/>
                <a:gd name="T10" fmla="*/ 99 w 416"/>
                <a:gd name="T11" fmla="*/ 221 h 493"/>
                <a:gd name="T12" fmla="*/ 147 w 416"/>
                <a:gd name="T13" fmla="*/ 173 h 493"/>
                <a:gd name="T14" fmla="*/ 208 w 416"/>
                <a:gd name="T15" fmla="*/ 0 h 493"/>
                <a:gd name="T16" fmla="*/ 166 w 416"/>
                <a:gd name="T17" fmla="*/ 3 h 493"/>
                <a:gd name="T18" fmla="*/ 127 w 416"/>
                <a:gd name="T19" fmla="*/ 15 h 493"/>
                <a:gd name="T20" fmla="*/ 92 w 416"/>
                <a:gd name="T21" fmla="*/ 33 h 493"/>
                <a:gd name="T22" fmla="*/ 61 w 416"/>
                <a:gd name="T23" fmla="*/ 57 h 493"/>
                <a:gd name="T24" fmla="*/ 35 w 416"/>
                <a:gd name="T25" fmla="*/ 85 h 493"/>
                <a:gd name="T26" fmla="*/ 16 w 416"/>
                <a:gd name="T27" fmla="*/ 117 h 493"/>
                <a:gd name="T28" fmla="*/ 4 w 416"/>
                <a:gd name="T29" fmla="*/ 153 h 493"/>
                <a:gd name="T30" fmla="*/ 0 w 416"/>
                <a:gd name="T31" fmla="*/ 192 h 493"/>
                <a:gd name="T32" fmla="*/ 0 w 416"/>
                <a:gd name="T33" fmla="*/ 194 h 493"/>
                <a:gd name="T34" fmla="*/ 26 w 416"/>
                <a:gd name="T35" fmla="*/ 204 h 493"/>
                <a:gd name="T36" fmla="*/ 47 w 416"/>
                <a:gd name="T37" fmla="*/ 220 h 493"/>
                <a:gd name="T38" fmla="*/ 64 w 416"/>
                <a:gd name="T39" fmla="*/ 238 h 493"/>
                <a:gd name="T40" fmla="*/ 72 w 416"/>
                <a:gd name="T41" fmla="*/ 260 h 493"/>
                <a:gd name="T42" fmla="*/ 76 w 416"/>
                <a:gd name="T43" fmla="*/ 277 h 493"/>
                <a:gd name="T44" fmla="*/ 76 w 416"/>
                <a:gd name="T45" fmla="*/ 293 h 493"/>
                <a:gd name="T46" fmla="*/ 73 w 416"/>
                <a:gd name="T47" fmla="*/ 311 h 493"/>
                <a:gd name="T48" fmla="*/ 67 w 416"/>
                <a:gd name="T49" fmla="*/ 330 h 493"/>
                <a:gd name="T50" fmla="*/ 70 w 416"/>
                <a:gd name="T51" fmla="*/ 333 h 493"/>
                <a:gd name="T52" fmla="*/ 77 w 416"/>
                <a:gd name="T53" fmla="*/ 349 h 493"/>
                <a:gd name="T54" fmla="*/ 94 w 416"/>
                <a:gd name="T55" fmla="*/ 361 h 493"/>
                <a:gd name="T56" fmla="*/ 114 w 416"/>
                <a:gd name="T57" fmla="*/ 371 h 493"/>
                <a:gd name="T58" fmla="*/ 132 w 416"/>
                <a:gd name="T59" fmla="*/ 378 h 493"/>
                <a:gd name="T60" fmla="*/ 153 w 416"/>
                <a:gd name="T61" fmla="*/ 383 h 493"/>
                <a:gd name="T62" fmla="*/ 153 w 416"/>
                <a:gd name="T63" fmla="*/ 428 h 493"/>
                <a:gd name="T64" fmla="*/ 153 w 416"/>
                <a:gd name="T65" fmla="*/ 465 h 493"/>
                <a:gd name="T66" fmla="*/ 173 w 416"/>
                <a:gd name="T67" fmla="*/ 473 h 493"/>
                <a:gd name="T68" fmla="*/ 203 w 416"/>
                <a:gd name="T69" fmla="*/ 446 h 493"/>
                <a:gd name="T70" fmla="*/ 249 w 416"/>
                <a:gd name="T71" fmla="*/ 406 h 493"/>
                <a:gd name="T72" fmla="*/ 274 w 416"/>
                <a:gd name="T73" fmla="*/ 385 h 493"/>
                <a:gd name="T74" fmla="*/ 290 w 416"/>
                <a:gd name="T75" fmla="*/ 371 h 493"/>
                <a:gd name="T76" fmla="*/ 317 w 416"/>
                <a:gd name="T77" fmla="*/ 358 h 493"/>
                <a:gd name="T78" fmla="*/ 342 w 416"/>
                <a:gd name="T79" fmla="*/ 341 h 493"/>
                <a:gd name="T80" fmla="*/ 364 w 416"/>
                <a:gd name="T81" fmla="*/ 321 h 493"/>
                <a:gd name="T82" fmla="*/ 383 w 416"/>
                <a:gd name="T83" fmla="*/ 299 h 493"/>
                <a:gd name="T84" fmla="*/ 397 w 416"/>
                <a:gd name="T85" fmla="*/ 276 h 493"/>
                <a:gd name="T86" fmla="*/ 408 w 416"/>
                <a:gd name="T87" fmla="*/ 249 h 493"/>
                <a:gd name="T88" fmla="*/ 415 w 416"/>
                <a:gd name="T89" fmla="*/ 222 h 493"/>
                <a:gd name="T90" fmla="*/ 416 w 416"/>
                <a:gd name="T91" fmla="*/ 192 h 493"/>
                <a:gd name="T92" fmla="*/ 412 w 416"/>
                <a:gd name="T93" fmla="*/ 154 h 493"/>
                <a:gd name="T94" fmla="*/ 400 w 416"/>
                <a:gd name="T95" fmla="*/ 117 h 493"/>
                <a:gd name="T96" fmla="*/ 381 w 416"/>
                <a:gd name="T97" fmla="*/ 85 h 493"/>
                <a:gd name="T98" fmla="*/ 355 w 416"/>
                <a:gd name="T99" fmla="*/ 57 h 493"/>
                <a:gd name="T100" fmla="*/ 324 w 416"/>
                <a:gd name="T101" fmla="*/ 33 h 493"/>
                <a:gd name="T102" fmla="*/ 289 w 416"/>
                <a:gd name="T103" fmla="*/ 15 h 493"/>
                <a:gd name="T104" fmla="*/ 251 w 416"/>
                <a:gd name="T105" fmla="*/ 3 h 493"/>
                <a:gd name="T106" fmla="*/ 208 w 416"/>
                <a:gd name="T107" fmla="*/ 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6" h="493">
                  <a:moveTo>
                    <a:pt x="339" y="221"/>
                  </a:moveTo>
                  <a:lnTo>
                    <a:pt x="291" y="221"/>
                  </a:lnTo>
                  <a:lnTo>
                    <a:pt x="291" y="173"/>
                  </a:lnTo>
                  <a:lnTo>
                    <a:pt x="339" y="173"/>
                  </a:lnTo>
                  <a:lnTo>
                    <a:pt x="339" y="221"/>
                  </a:lnTo>
                  <a:close/>
                  <a:moveTo>
                    <a:pt x="242" y="221"/>
                  </a:moveTo>
                  <a:lnTo>
                    <a:pt x="195" y="221"/>
                  </a:lnTo>
                  <a:lnTo>
                    <a:pt x="195" y="173"/>
                  </a:lnTo>
                  <a:lnTo>
                    <a:pt x="242" y="173"/>
                  </a:lnTo>
                  <a:lnTo>
                    <a:pt x="242" y="221"/>
                  </a:lnTo>
                  <a:close/>
                  <a:moveTo>
                    <a:pt x="147" y="221"/>
                  </a:moveTo>
                  <a:lnTo>
                    <a:pt x="99" y="221"/>
                  </a:lnTo>
                  <a:lnTo>
                    <a:pt x="99" y="173"/>
                  </a:lnTo>
                  <a:lnTo>
                    <a:pt x="147" y="173"/>
                  </a:lnTo>
                  <a:lnTo>
                    <a:pt x="147" y="221"/>
                  </a:lnTo>
                  <a:close/>
                  <a:moveTo>
                    <a:pt x="208" y="0"/>
                  </a:moveTo>
                  <a:lnTo>
                    <a:pt x="186" y="1"/>
                  </a:lnTo>
                  <a:lnTo>
                    <a:pt x="166" y="3"/>
                  </a:lnTo>
                  <a:lnTo>
                    <a:pt x="146" y="8"/>
                  </a:lnTo>
                  <a:lnTo>
                    <a:pt x="127" y="15"/>
                  </a:lnTo>
                  <a:lnTo>
                    <a:pt x="109" y="23"/>
                  </a:lnTo>
                  <a:lnTo>
                    <a:pt x="92" y="33"/>
                  </a:lnTo>
                  <a:lnTo>
                    <a:pt x="76" y="44"/>
                  </a:lnTo>
                  <a:lnTo>
                    <a:pt x="61" y="57"/>
                  </a:lnTo>
                  <a:lnTo>
                    <a:pt x="47" y="70"/>
                  </a:lnTo>
                  <a:lnTo>
                    <a:pt x="35" y="85"/>
                  </a:lnTo>
                  <a:lnTo>
                    <a:pt x="25" y="101"/>
                  </a:lnTo>
                  <a:lnTo>
                    <a:pt x="16" y="117"/>
                  </a:lnTo>
                  <a:lnTo>
                    <a:pt x="9" y="135"/>
                  </a:lnTo>
                  <a:lnTo>
                    <a:pt x="4" y="153"/>
                  </a:lnTo>
                  <a:lnTo>
                    <a:pt x="1" y="173"/>
                  </a:lnTo>
                  <a:lnTo>
                    <a:pt x="0" y="192"/>
                  </a:lnTo>
                  <a:lnTo>
                    <a:pt x="0" y="192"/>
                  </a:lnTo>
                  <a:lnTo>
                    <a:pt x="0" y="194"/>
                  </a:lnTo>
                  <a:lnTo>
                    <a:pt x="14" y="198"/>
                  </a:lnTo>
                  <a:lnTo>
                    <a:pt x="26" y="204"/>
                  </a:lnTo>
                  <a:lnTo>
                    <a:pt x="38" y="211"/>
                  </a:lnTo>
                  <a:lnTo>
                    <a:pt x="47" y="220"/>
                  </a:lnTo>
                  <a:lnTo>
                    <a:pt x="57" y="228"/>
                  </a:lnTo>
                  <a:lnTo>
                    <a:pt x="64" y="238"/>
                  </a:lnTo>
                  <a:lnTo>
                    <a:pt x="69" y="248"/>
                  </a:lnTo>
                  <a:lnTo>
                    <a:pt x="72" y="260"/>
                  </a:lnTo>
                  <a:lnTo>
                    <a:pt x="74" y="268"/>
                  </a:lnTo>
                  <a:lnTo>
                    <a:pt x="76" y="277"/>
                  </a:lnTo>
                  <a:lnTo>
                    <a:pt x="76" y="285"/>
                  </a:lnTo>
                  <a:lnTo>
                    <a:pt x="76" y="293"/>
                  </a:lnTo>
                  <a:lnTo>
                    <a:pt x="74" y="303"/>
                  </a:lnTo>
                  <a:lnTo>
                    <a:pt x="73" y="311"/>
                  </a:lnTo>
                  <a:lnTo>
                    <a:pt x="71" y="321"/>
                  </a:lnTo>
                  <a:lnTo>
                    <a:pt x="67" y="330"/>
                  </a:lnTo>
                  <a:lnTo>
                    <a:pt x="69" y="332"/>
                  </a:lnTo>
                  <a:lnTo>
                    <a:pt x="70" y="333"/>
                  </a:lnTo>
                  <a:lnTo>
                    <a:pt x="73" y="341"/>
                  </a:lnTo>
                  <a:lnTo>
                    <a:pt x="77" y="349"/>
                  </a:lnTo>
                  <a:lnTo>
                    <a:pt x="85" y="355"/>
                  </a:lnTo>
                  <a:lnTo>
                    <a:pt x="94" y="361"/>
                  </a:lnTo>
                  <a:lnTo>
                    <a:pt x="104" y="366"/>
                  </a:lnTo>
                  <a:lnTo>
                    <a:pt x="114" y="371"/>
                  </a:lnTo>
                  <a:lnTo>
                    <a:pt x="123" y="374"/>
                  </a:lnTo>
                  <a:lnTo>
                    <a:pt x="132" y="378"/>
                  </a:lnTo>
                  <a:lnTo>
                    <a:pt x="142" y="380"/>
                  </a:lnTo>
                  <a:lnTo>
                    <a:pt x="153" y="383"/>
                  </a:lnTo>
                  <a:lnTo>
                    <a:pt x="153" y="403"/>
                  </a:lnTo>
                  <a:lnTo>
                    <a:pt x="153" y="428"/>
                  </a:lnTo>
                  <a:lnTo>
                    <a:pt x="153" y="449"/>
                  </a:lnTo>
                  <a:lnTo>
                    <a:pt x="153" y="465"/>
                  </a:lnTo>
                  <a:lnTo>
                    <a:pt x="153" y="493"/>
                  </a:lnTo>
                  <a:lnTo>
                    <a:pt x="173" y="473"/>
                  </a:lnTo>
                  <a:lnTo>
                    <a:pt x="185" y="462"/>
                  </a:lnTo>
                  <a:lnTo>
                    <a:pt x="203" y="446"/>
                  </a:lnTo>
                  <a:lnTo>
                    <a:pt x="227" y="427"/>
                  </a:lnTo>
                  <a:lnTo>
                    <a:pt x="249" y="406"/>
                  </a:lnTo>
                  <a:lnTo>
                    <a:pt x="262" y="395"/>
                  </a:lnTo>
                  <a:lnTo>
                    <a:pt x="274" y="385"/>
                  </a:lnTo>
                  <a:lnTo>
                    <a:pt x="284" y="377"/>
                  </a:lnTo>
                  <a:lnTo>
                    <a:pt x="290" y="371"/>
                  </a:lnTo>
                  <a:lnTo>
                    <a:pt x="304" y="365"/>
                  </a:lnTo>
                  <a:lnTo>
                    <a:pt x="317" y="358"/>
                  </a:lnTo>
                  <a:lnTo>
                    <a:pt x="330" y="349"/>
                  </a:lnTo>
                  <a:lnTo>
                    <a:pt x="342" y="341"/>
                  </a:lnTo>
                  <a:lnTo>
                    <a:pt x="353" y="332"/>
                  </a:lnTo>
                  <a:lnTo>
                    <a:pt x="364" y="321"/>
                  </a:lnTo>
                  <a:lnTo>
                    <a:pt x="373" y="310"/>
                  </a:lnTo>
                  <a:lnTo>
                    <a:pt x="383" y="299"/>
                  </a:lnTo>
                  <a:lnTo>
                    <a:pt x="390" y="288"/>
                  </a:lnTo>
                  <a:lnTo>
                    <a:pt x="397" y="276"/>
                  </a:lnTo>
                  <a:lnTo>
                    <a:pt x="403" y="263"/>
                  </a:lnTo>
                  <a:lnTo>
                    <a:pt x="408" y="249"/>
                  </a:lnTo>
                  <a:lnTo>
                    <a:pt x="411" y="235"/>
                  </a:lnTo>
                  <a:lnTo>
                    <a:pt x="415" y="222"/>
                  </a:lnTo>
                  <a:lnTo>
                    <a:pt x="416" y="208"/>
                  </a:lnTo>
                  <a:lnTo>
                    <a:pt x="416" y="192"/>
                  </a:lnTo>
                  <a:lnTo>
                    <a:pt x="416" y="173"/>
                  </a:lnTo>
                  <a:lnTo>
                    <a:pt x="412" y="154"/>
                  </a:lnTo>
                  <a:lnTo>
                    <a:pt x="408" y="135"/>
                  </a:lnTo>
                  <a:lnTo>
                    <a:pt x="400" y="117"/>
                  </a:lnTo>
                  <a:lnTo>
                    <a:pt x="391" y="101"/>
                  </a:lnTo>
                  <a:lnTo>
                    <a:pt x="381" y="85"/>
                  </a:lnTo>
                  <a:lnTo>
                    <a:pt x="368" y="70"/>
                  </a:lnTo>
                  <a:lnTo>
                    <a:pt x="355" y="57"/>
                  </a:lnTo>
                  <a:lnTo>
                    <a:pt x="341" y="44"/>
                  </a:lnTo>
                  <a:lnTo>
                    <a:pt x="324" y="33"/>
                  </a:lnTo>
                  <a:lnTo>
                    <a:pt x="308" y="23"/>
                  </a:lnTo>
                  <a:lnTo>
                    <a:pt x="289" y="15"/>
                  </a:lnTo>
                  <a:lnTo>
                    <a:pt x="270" y="8"/>
                  </a:lnTo>
                  <a:lnTo>
                    <a:pt x="251" y="3"/>
                  </a:lnTo>
                  <a:lnTo>
                    <a:pt x="229" y="1"/>
                  </a:lnTo>
                  <a:lnTo>
                    <a:pt x="2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994">
              <a:extLst>
                <a:ext uri="{FF2B5EF4-FFF2-40B4-BE49-F238E27FC236}">
                  <a16:creationId xmlns:a16="http://schemas.microsoft.com/office/drawing/2014/main" id="{5BCBDFBA-3EDE-4463-BEFE-5D87DE309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788" y="863600"/>
              <a:ext cx="190500" cy="201613"/>
            </a:xfrm>
            <a:custGeom>
              <a:avLst/>
              <a:gdLst>
                <a:gd name="T0" fmla="*/ 393 w 480"/>
                <a:gd name="T1" fmla="*/ 357 h 507"/>
                <a:gd name="T2" fmla="*/ 312 w 480"/>
                <a:gd name="T3" fmla="*/ 312 h 507"/>
                <a:gd name="T4" fmla="*/ 320 w 480"/>
                <a:gd name="T5" fmla="*/ 267 h 507"/>
                <a:gd name="T6" fmla="*/ 324 w 480"/>
                <a:gd name="T7" fmla="*/ 261 h 507"/>
                <a:gd name="T8" fmla="*/ 329 w 480"/>
                <a:gd name="T9" fmla="*/ 254 h 507"/>
                <a:gd name="T10" fmla="*/ 332 w 480"/>
                <a:gd name="T11" fmla="*/ 244 h 507"/>
                <a:gd name="T12" fmla="*/ 336 w 480"/>
                <a:gd name="T13" fmla="*/ 231 h 507"/>
                <a:gd name="T14" fmla="*/ 338 w 480"/>
                <a:gd name="T15" fmla="*/ 219 h 507"/>
                <a:gd name="T16" fmla="*/ 339 w 480"/>
                <a:gd name="T17" fmla="*/ 203 h 507"/>
                <a:gd name="T18" fmla="*/ 350 w 480"/>
                <a:gd name="T19" fmla="*/ 190 h 507"/>
                <a:gd name="T20" fmla="*/ 354 w 480"/>
                <a:gd name="T21" fmla="*/ 185 h 507"/>
                <a:gd name="T22" fmla="*/ 356 w 480"/>
                <a:gd name="T23" fmla="*/ 179 h 507"/>
                <a:gd name="T24" fmla="*/ 357 w 480"/>
                <a:gd name="T25" fmla="*/ 173 h 507"/>
                <a:gd name="T26" fmla="*/ 358 w 480"/>
                <a:gd name="T27" fmla="*/ 166 h 507"/>
                <a:gd name="T28" fmla="*/ 357 w 480"/>
                <a:gd name="T29" fmla="*/ 149 h 507"/>
                <a:gd name="T30" fmla="*/ 354 w 480"/>
                <a:gd name="T31" fmla="*/ 140 h 507"/>
                <a:gd name="T32" fmla="*/ 350 w 480"/>
                <a:gd name="T33" fmla="*/ 131 h 507"/>
                <a:gd name="T34" fmla="*/ 343 w 480"/>
                <a:gd name="T35" fmla="*/ 125 h 507"/>
                <a:gd name="T36" fmla="*/ 355 w 480"/>
                <a:gd name="T37" fmla="*/ 84 h 507"/>
                <a:gd name="T38" fmla="*/ 353 w 480"/>
                <a:gd name="T39" fmla="*/ 54 h 507"/>
                <a:gd name="T40" fmla="*/ 336 w 480"/>
                <a:gd name="T41" fmla="*/ 28 h 507"/>
                <a:gd name="T42" fmla="*/ 305 w 480"/>
                <a:gd name="T43" fmla="*/ 9 h 507"/>
                <a:gd name="T44" fmla="*/ 286 w 480"/>
                <a:gd name="T45" fmla="*/ 4 h 507"/>
                <a:gd name="T46" fmla="*/ 267 w 480"/>
                <a:gd name="T47" fmla="*/ 0 h 507"/>
                <a:gd name="T48" fmla="*/ 251 w 480"/>
                <a:gd name="T49" fmla="*/ 0 h 507"/>
                <a:gd name="T50" fmla="*/ 232 w 480"/>
                <a:gd name="T51" fmla="*/ 2 h 507"/>
                <a:gd name="T52" fmla="*/ 217 w 480"/>
                <a:gd name="T53" fmla="*/ 4 h 507"/>
                <a:gd name="T54" fmla="*/ 203 w 480"/>
                <a:gd name="T55" fmla="*/ 8 h 507"/>
                <a:gd name="T56" fmla="*/ 192 w 480"/>
                <a:gd name="T57" fmla="*/ 11 h 507"/>
                <a:gd name="T58" fmla="*/ 157 w 480"/>
                <a:gd name="T59" fmla="*/ 38 h 507"/>
                <a:gd name="T60" fmla="*/ 154 w 480"/>
                <a:gd name="T61" fmla="*/ 44 h 507"/>
                <a:gd name="T62" fmla="*/ 140 w 480"/>
                <a:gd name="T63" fmla="*/ 46 h 507"/>
                <a:gd name="T64" fmla="*/ 131 w 480"/>
                <a:gd name="T65" fmla="*/ 48 h 507"/>
                <a:gd name="T66" fmla="*/ 126 w 480"/>
                <a:gd name="T67" fmla="*/ 53 h 507"/>
                <a:gd name="T68" fmla="*/ 123 w 480"/>
                <a:gd name="T69" fmla="*/ 56 h 507"/>
                <a:gd name="T70" fmla="*/ 118 w 480"/>
                <a:gd name="T71" fmla="*/ 66 h 507"/>
                <a:gd name="T72" fmla="*/ 118 w 480"/>
                <a:gd name="T73" fmla="*/ 75 h 507"/>
                <a:gd name="T74" fmla="*/ 118 w 480"/>
                <a:gd name="T75" fmla="*/ 84 h 507"/>
                <a:gd name="T76" fmla="*/ 121 w 480"/>
                <a:gd name="T77" fmla="*/ 92 h 507"/>
                <a:gd name="T78" fmla="*/ 123 w 480"/>
                <a:gd name="T79" fmla="*/ 100 h 507"/>
                <a:gd name="T80" fmla="*/ 125 w 480"/>
                <a:gd name="T81" fmla="*/ 109 h 507"/>
                <a:gd name="T82" fmla="*/ 132 w 480"/>
                <a:gd name="T83" fmla="*/ 125 h 507"/>
                <a:gd name="T84" fmla="*/ 116 w 480"/>
                <a:gd name="T85" fmla="*/ 148 h 507"/>
                <a:gd name="T86" fmla="*/ 115 w 480"/>
                <a:gd name="T87" fmla="*/ 174 h 507"/>
                <a:gd name="T88" fmla="*/ 118 w 480"/>
                <a:gd name="T89" fmla="*/ 185 h 507"/>
                <a:gd name="T90" fmla="*/ 124 w 480"/>
                <a:gd name="T91" fmla="*/ 193 h 507"/>
                <a:gd name="T92" fmla="*/ 130 w 480"/>
                <a:gd name="T93" fmla="*/ 199 h 507"/>
                <a:gd name="T94" fmla="*/ 138 w 480"/>
                <a:gd name="T95" fmla="*/ 216 h 507"/>
                <a:gd name="T96" fmla="*/ 144 w 480"/>
                <a:gd name="T97" fmla="*/ 242 h 507"/>
                <a:gd name="T98" fmla="*/ 161 w 480"/>
                <a:gd name="T99" fmla="*/ 268 h 507"/>
                <a:gd name="T100" fmla="*/ 168 w 480"/>
                <a:gd name="T101" fmla="*/ 312 h 507"/>
                <a:gd name="T102" fmla="*/ 87 w 480"/>
                <a:gd name="T103" fmla="*/ 357 h 507"/>
                <a:gd name="T104" fmla="*/ 19 w 480"/>
                <a:gd name="T105" fmla="*/ 399 h 507"/>
                <a:gd name="T106" fmla="*/ 2 w 480"/>
                <a:gd name="T107" fmla="*/ 420 h 507"/>
                <a:gd name="T108" fmla="*/ 4 w 480"/>
                <a:gd name="T109" fmla="*/ 504 h 507"/>
                <a:gd name="T110" fmla="*/ 473 w 480"/>
                <a:gd name="T111" fmla="*/ 506 h 507"/>
                <a:gd name="T112" fmla="*/ 480 w 480"/>
                <a:gd name="T113" fmla="*/ 424 h 507"/>
                <a:gd name="T114" fmla="*/ 471 w 480"/>
                <a:gd name="T115" fmla="*/ 408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0" h="507">
                  <a:moveTo>
                    <a:pt x="446" y="388"/>
                  </a:moveTo>
                  <a:lnTo>
                    <a:pt x="435" y="380"/>
                  </a:lnTo>
                  <a:lnTo>
                    <a:pt x="418" y="370"/>
                  </a:lnTo>
                  <a:lnTo>
                    <a:pt x="393" y="357"/>
                  </a:lnTo>
                  <a:lnTo>
                    <a:pt x="367" y="344"/>
                  </a:lnTo>
                  <a:lnTo>
                    <a:pt x="339" y="331"/>
                  </a:lnTo>
                  <a:lnTo>
                    <a:pt x="312" y="319"/>
                  </a:lnTo>
                  <a:lnTo>
                    <a:pt x="312" y="312"/>
                  </a:lnTo>
                  <a:lnTo>
                    <a:pt x="312" y="280"/>
                  </a:lnTo>
                  <a:lnTo>
                    <a:pt x="312" y="274"/>
                  </a:lnTo>
                  <a:lnTo>
                    <a:pt x="316" y="272"/>
                  </a:lnTo>
                  <a:lnTo>
                    <a:pt x="320" y="267"/>
                  </a:lnTo>
                  <a:lnTo>
                    <a:pt x="320" y="266"/>
                  </a:lnTo>
                  <a:lnTo>
                    <a:pt x="320" y="266"/>
                  </a:lnTo>
                  <a:lnTo>
                    <a:pt x="323" y="263"/>
                  </a:lnTo>
                  <a:lnTo>
                    <a:pt x="324" y="261"/>
                  </a:lnTo>
                  <a:lnTo>
                    <a:pt x="325" y="260"/>
                  </a:lnTo>
                  <a:lnTo>
                    <a:pt x="325" y="260"/>
                  </a:lnTo>
                  <a:lnTo>
                    <a:pt x="326" y="256"/>
                  </a:lnTo>
                  <a:lnTo>
                    <a:pt x="329" y="254"/>
                  </a:lnTo>
                  <a:lnTo>
                    <a:pt x="329" y="253"/>
                  </a:lnTo>
                  <a:lnTo>
                    <a:pt x="329" y="251"/>
                  </a:lnTo>
                  <a:lnTo>
                    <a:pt x="331" y="248"/>
                  </a:lnTo>
                  <a:lnTo>
                    <a:pt x="332" y="244"/>
                  </a:lnTo>
                  <a:lnTo>
                    <a:pt x="332" y="243"/>
                  </a:lnTo>
                  <a:lnTo>
                    <a:pt x="332" y="243"/>
                  </a:lnTo>
                  <a:lnTo>
                    <a:pt x="335" y="237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7" y="225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8" y="215"/>
                  </a:lnTo>
                  <a:lnTo>
                    <a:pt x="339" y="209"/>
                  </a:lnTo>
                  <a:lnTo>
                    <a:pt x="339" y="203"/>
                  </a:lnTo>
                  <a:lnTo>
                    <a:pt x="345" y="197"/>
                  </a:lnTo>
                  <a:lnTo>
                    <a:pt x="350" y="191"/>
                  </a:lnTo>
                  <a:lnTo>
                    <a:pt x="350" y="190"/>
                  </a:lnTo>
                  <a:lnTo>
                    <a:pt x="350" y="190"/>
                  </a:lnTo>
                  <a:lnTo>
                    <a:pt x="353" y="187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5" y="182"/>
                  </a:lnTo>
                  <a:lnTo>
                    <a:pt x="355" y="180"/>
                  </a:lnTo>
                  <a:lnTo>
                    <a:pt x="355" y="179"/>
                  </a:lnTo>
                  <a:lnTo>
                    <a:pt x="356" y="179"/>
                  </a:lnTo>
                  <a:lnTo>
                    <a:pt x="356" y="176"/>
                  </a:lnTo>
                  <a:lnTo>
                    <a:pt x="357" y="174"/>
                  </a:lnTo>
                  <a:lnTo>
                    <a:pt x="357" y="173"/>
                  </a:lnTo>
                  <a:lnTo>
                    <a:pt x="357" y="173"/>
                  </a:lnTo>
                  <a:lnTo>
                    <a:pt x="357" y="169"/>
                  </a:lnTo>
                  <a:lnTo>
                    <a:pt x="357" y="167"/>
                  </a:lnTo>
                  <a:lnTo>
                    <a:pt x="358" y="167"/>
                  </a:lnTo>
                  <a:lnTo>
                    <a:pt x="358" y="166"/>
                  </a:lnTo>
                  <a:lnTo>
                    <a:pt x="358" y="163"/>
                  </a:lnTo>
                  <a:lnTo>
                    <a:pt x="358" y="160"/>
                  </a:lnTo>
                  <a:lnTo>
                    <a:pt x="358" y="155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8"/>
                  </a:lnTo>
                  <a:lnTo>
                    <a:pt x="356" y="143"/>
                  </a:lnTo>
                  <a:lnTo>
                    <a:pt x="354" y="140"/>
                  </a:lnTo>
                  <a:lnTo>
                    <a:pt x="354" y="138"/>
                  </a:lnTo>
                  <a:lnTo>
                    <a:pt x="354" y="138"/>
                  </a:lnTo>
                  <a:lnTo>
                    <a:pt x="353" y="135"/>
                  </a:lnTo>
                  <a:lnTo>
                    <a:pt x="350" y="131"/>
                  </a:lnTo>
                  <a:lnTo>
                    <a:pt x="349" y="131"/>
                  </a:lnTo>
                  <a:lnTo>
                    <a:pt x="349" y="131"/>
                  </a:lnTo>
                  <a:lnTo>
                    <a:pt x="347" y="128"/>
                  </a:lnTo>
                  <a:lnTo>
                    <a:pt x="343" y="125"/>
                  </a:lnTo>
                  <a:lnTo>
                    <a:pt x="344" y="122"/>
                  </a:lnTo>
                  <a:lnTo>
                    <a:pt x="347" y="117"/>
                  </a:lnTo>
                  <a:lnTo>
                    <a:pt x="351" y="100"/>
                  </a:lnTo>
                  <a:lnTo>
                    <a:pt x="355" y="84"/>
                  </a:lnTo>
                  <a:lnTo>
                    <a:pt x="355" y="77"/>
                  </a:lnTo>
                  <a:lnTo>
                    <a:pt x="355" y="69"/>
                  </a:lnTo>
                  <a:lnTo>
                    <a:pt x="354" y="61"/>
                  </a:lnTo>
                  <a:lnTo>
                    <a:pt x="353" y="54"/>
                  </a:lnTo>
                  <a:lnTo>
                    <a:pt x="350" y="47"/>
                  </a:lnTo>
                  <a:lnTo>
                    <a:pt x="347" y="40"/>
                  </a:lnTo>
                  <a:lnTo>
                    <a:pt x="342" y="34"/>
                  </a:lnTo>
                  <a:lnTo>
                    <a:pt x="336" y="28"/>
                  </a:lnTo>
                  <a:lnTo>
                    <a:pt x="330" y="22"/>
                  </a:lnTo>
                  <a:lnTo>
                    <a:pt x="323" y="17"/>
                  </a:lnTo>
                  <a:lnTo>
                    <a:pt x="314" y="12"/>
                  </a:lnTo>
                  <a:lnTo>
                    <a:pt x="305" y="9"/>
                  </a:lnTo>
                  <a:lnTo>
                    <a:pt x="305" y="9"/>
                  </a:lnTo>
                  <a:lnTo>
                    <a:pt x="305" y="9"/>
                  </a:lnTo>
                  <a:lnTo>
                    <a:pt x="295" y="6"/>
                  </a:lnTo>
                  <a:lnTo>
                    <a:pt x="286" y="4"/>
                  </a:lnTo>
                  <a:lnTo>
                    <a:pt x="276" y="2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63" y="0"/>
                  </a:lnTo>
                  <a:lnTo>
                    <a:pt x="260" y="0"/>
                  </a:lnTo>
                  <a:lnTo>
                    <a:pt x="255" y="0"/>
                  </a:lnTo>
                  <a:lnTo>
                    <a:pt x="251" y="0"/>
                  </a:lnTo>
                  <a:lnTo>
                    <a:pt x="244" y="0"/>
                  </a:lnTo>
                  <a:lnTo>
                    <a:pt x="237" y="0"/>
                  </a:lnTo>
                  <a:lnTo>
                    <a:pt x="235" y="0"/>
                  </a:lnTo>
                  <a:lnTo>
                    <a:pt x="232" y="2"/>
                  </a:lnTo>
                  <a:lnTo>
                    <a:pt x="229" y="2"/>
                  </a:lnTo>
                  <a:lnTo>
                    <a:pt x="224" y="3"/>
                  </a:lnTo>
                  <a:lnTo>
                    <a:pt x="220" y="3"/>
                  </a:lnTo>
                  <a:lnTo>
                    <a:pt x="217" y="4"/>
                  </a:lnTo>
                  <a:lnTo>
                    <a:pt x="215" y="4"/>
                  </a:lnTo>
                  <a:lnTo>
                    <a:pt x="212" y="5"/>
                  </a:lnTo>
                  <a:lnTo>
                    <a:pt x="207" y="6"/>
                  </a:lnTo>
                  <a:lnTo>
                    <a:pt x="203" y="8"/>
                  </a:lnTo>
                  <a:lnTo>
                    <a:pt x="199" y="9"/>
                  </a:lnTo>
                  <a:lnTo>
                    <a:pt x="195" y="10"/>
                  </a:lnTo>
                  <a:lnTo>
                    <a:pt x="193" y="10"/>
                  </a:lnTo>
                  <a:lnTo>
                    <a:pt x="192" y="11"/>
                  </a:lnTo>
                  <a:lnTo>
                    <a:pt x="181" y="16"/>
                  </a:lnTo>
                  <a:lnTo>
                    <a:pt x="172" y="23"/>
                  </a:lnTo>
                  <a:lnTo>
                    <a:pt x="163" y="30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6" y="38"/>
                  </a:lnTo>
                  <a:lnTo>
                    <a:pt x="155" y="42"/>
                  </a:lnTo>
                  <a:lnTo>
                    <a:pt x="154" y="44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3" y="44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7" y="46"/>
                  </a:lnTo>
                  <a:lnTo>
                    <a:pt x="135" y="47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0" y="49"/>
                  </a:lnTo>
                  <a:lnTo>
                    <a:pt x="128" y="50"/>
                  </a:lnTo>
                  <a:lnTo>
                    <a:pt x="126" y="53"/>
                  </a:lnTo>
                  <a:lnTo>
                    <a:pt x="125" y="53"/>
                  </a:lnTo>
                  <a:lnTo>
                    <a:pt x="125" y="53"/>
                  </a:lnTo>
                  <a:lnTo>
                    <a:pt x="124" y="55"/>
                  </a:lnTo>
                  <a:lnTo>
                    <a:pt x="123" y="56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18" y="66"/>
                  </a:lnTo>
                  <a:lnTo>
                    <a:pt x="118" y="68"/>
                  </a:lnTo>
                  <a:lnTo>
                    <a:pt x="118" y="71"/>
                  </a:lnTo>
                  <a:lnTo>
                    <a:pt x="118" y="73"/>
                  </a:lnTo>
                  <a:lnTo>
                    <a:pt x="118" y="75"/>
                  </a:lnTo>
                  <a:lnTo>
                    <a:pt x="118" y="77"/>
                  </a:lnTo>
                  <a:lnTo>
                    <a:pt x="118" y="79"/>
                  </a:lnTo>
                  <a:lnTo>
                    <a:pt x="118" y="81"/>
                  </a:lnTo>
                  <a:lnTo>
                    <a:pt x="118" y="84"/>
                  </a:lnTo>
                  <a:lnTo>
                    <a:pt x="119" y="85"/>
                  </a:lnTo>
                  <a:lnTo>
                    <a:pt x="119" y="87"/>
                  </a:lnTo>
                  <a:lnTo>
                    <a:pt x="119" y="90"/>
                  </a:lnTo>
                  <a:lnTo>
                    <a:pt x="121" y="92"/>
                  </a:lnTo>
                  <a:lnTo>
                    <a:pt x="121" y="94"/>
                  </a:lnTo>
                  <a:lnTo>
                    <a:pt x="122" y="96"/>
                  </a:lnTo>
                  <a:lnTo>
                    <a:pt x="122" y="98"/>
                  </a:lnTo>
                  <a:lnTo>
                    <a:pt x="123" y="100"/>
                  </a:lnTo>
                  <a:lnTo>
                    <a:pt x="124" y="103"/>
                  </a:lnTo>
                  <a:lnTo>
                    <a:pt x="125" y="106"/>
                  </a:lnTo>
                  <a:lnTo>
                    <a:pt x="125" y="107"/>
                  </a:lnTo>
                  <a:lnTo>
                    <a:pt x="125" y="109"/>
                  </a:lnTo>
                  <a:lnTo>
                    <a:pt x="129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6" y="130"/>
                  </a:lnTo>
                  <a:lnTo>
                    <a:pt x="122" y="136"/>
                  </a:lnTo>
                  <a:lnTo>
                    <a:pt x="118" y="142"/>
                  </a:lnTo>
                  <a:lnTo>
                    <a:pt x="116" y="148"/>
                  </a:lnTo>
                  <a:lnTo>
                    <a:pt x="115" y="155"/>
                  </a:lnTo>
                  <a:lnTo>
                    <a:pt x="115" y="163"/>
                  </a:lnTo>
                  <a:lnTo>
                    <a:pt x="115" y="168"/>
                  </a:lnTo>
                  <a:lnTo>
                    <a:pt x="115" y="174"/>
                  </a:lnTo>
                  <a:lnTo>
                    <a:pt x="116" y="175"/>
                  </a:lnTo>
                  <a:lnTo>
                    <a:pt x="116" y="175"/>
                  </a:lnTo>
                  <a:lnTo>
                    <a:pt x="117" y="180"/>
                  </a:lnTo>
                  <a:lnTo>
                    <a:pt x="118" y="185"/>
                  </a:lnTo>
                  <a:lnTo>
                    <a:pt x="119" y="186"/>
                  </a:lnTo>
                  <a:lnTo>
                    <a:pt x="119" y="187"/>
                  </a:lnTo>
                  <a:lnTo>
                    <a:pt x="122" y="190"/>
                  </a:lnTo>
                  <a:lnTo>
                    <a:pt x="124" y="193"/>
                  </a:lnTo>
                  <a:lnTo>
                    <a:pt x="125" y="194"/>
                  </a:lnTo>
                  <a:lnTo>
                    <a:pt x="125" y="195"/>
                  </a:lnTo>
                  <a:lnTo>
                    <a:pt x="128" y="198"/>
                  </a:lnTo>
                  <a:lnTo>
                    <a:pt x="130" y="199"/>
                  </a:lnTo>
                  <a:lnTo>
                    <a:pt x="134" y="201"/>
                  </a:lnTo>
                  <a:lnTo>
                    <a:pt x="137" y="203"/>
                  </a:lnTo>
                  <a:lnTo>
                    <a:pt x="137" y="210"/>
                  </a:lnTo>
                  <a:lnTo>
                    <a:pt x="138" y="216"/>
                  </a:lnTo>
                  <a:lnTo>
                    <a:pt x="138" y="218"/>
                  </a:lnTo>
                  <a:lnTo>
                    <a:pt x="138" y="220"/>
                  </a:lnTo>
                  <a:lnTo>
                    <a:pt x="141" y="231"/>
                  </a:lnTo>
                  <a:lnTo>
                    <a:pt x="144" y="242"/>
                  </a:lnTo>
                  <a:lnTo>
                    <a:pt x="148" y="250"/>
                  </a:lnTo>
                  <a:lnTo>
                    <a:pt x="151" y="257"/>
                  </a:lnTo>
                  <a:lnTo>
                    <a:pt x="156" y="263"/>
                  </a:lnTo>
                  <a:lnTo>
                    <a:pt x="161" y="268"/>
                  </a:lnTo>
                  <a:lnTo>
                    <a:pt x="165" y="272"/>
                  </a:lnTo>
                  <a:lnTo>
                    <a:pt x="168" y="275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19"/>
                  </a:lnTo>
                  <a:lnTo>
                    <a:pt x="142" y="331"/>
                  </a:lnTo>
                  <a:lnTo>
                    <a:pt x="115" y="344"/>
                  </a:lnTo>
                  <a:lnTo>
                    <a:pt x="87" y="357"/>
                  </a:lnTo>
                  <a:lnTo>
                    <a:pt x="62" y="370"/>
                  </a:lnTo>
                  <a:lnTo>
                    <a:pt x="47" y="380"/>
                  </a:lnTo>
                  <a:lnTo>
                    <a:pt x="34" y="388"/>
                  </a:lnTo>
                  <a:lnTo>
                    <a:pt x="19" y="399"/>
                  </a:lnTo>
                  <a:lnTo>
                    <a:pt x="9" y="408"/>
                  </a:lnTo>
                  <a:lnTo>
                    <a:pt x="5" y="413"/>
                  </a:lnTo>
                  <a:lnTo>
                    <a:pt x="3" y="417"/>
                  </a:lnTo>
                  <a:lnTo>
                    <a:pt x="2" y="420"/>
                  </a:lnTo>
                  <a:lnTo>
                    <a:pt x="0" y="424"/>
                  </a:lnTo>
                  <a:lnTo>
                    <a:pt x="0" y="495"/>
                  </a:lnTo>
                  <a:lnTo>
                    <a:pt x="2" y="500"/>
                  </a:lnTo>
                  <a:lnTo>
                    <a:pt x="4" y="504"/>
                  </a:lnTo>
                  <a:lnTo>
                    <a:pt x="8" y="506"/>
                  </a:lnTo>
                  <a:lnTo>
                    <a:pt x="12" y="507"/>
                  </a:lnTo>
                  <a:lnTo>
                    <a:pt x="468" y="507"/>
                  </a:lnTo>
                  <a:lnTo>
                    <a:pt x="473" y="506"/>
                  </a:lnTo>
                  <a:lnTo>
                    <a:pt x="476" y="504"/>
                  </a:lnTo>
                  <a:lnTo>
                    <a:pt x="479" y="500"/>
                  </a:lnTo>
                  <a:lnTo>
                    <a:pt x="480" y="495"/>
                  </a:lnTo>
                  <a:lnTo>
                    <a:pt x="480" y="424"/>
                  </a:lnTo>
                  <a:lnTo>
                    <a:pt x="480" y="420"/>
                  </a:lnTo>
                  <a:lnTo>
                    <a:pt x="477" y="417"/>
                  </a:lnTo>
                  <a:lnTo>
                    <a:pt x="475" y="413"/>
                  </a:lnTo>
                  <a:lnTo>
                    <a:pt x="471" y="408"/>
                  </a:lnTo>
                  <a:lnTo>
                    <a:pt x="462" y="399"/>
                  </a:lnTo>
                  <a:lnTo>
                    <a:pt x="446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8" name="Freeform 1837">
            <a:extLst>
              <a:ext uri="{FF2B5EF4-FFF2-40B4-BE49-F238E27FC236}">
                <a16:creationId xmlns:a16="http://schemas.microsoft.com/office/drawing/2014/main" id="{9C73115A-5BB1-4CF5-91B0-8426B1E9ACE4}"/>
              </a:ext>
            </a:extLst>
          </p:cNvPr>
          <p:cNvSpPr>
            <a:spLocks noEditPoints="1"/>
          </p:cNvSpPr>
          <p:nvPr/>
        </p:nvSpPr>
        <p:spPr bwMode="auto">
          <a:xfrm>
            <a:off x="845745" y="2746686"/>
            <a:ext cx="274638" cy="276225"/>
          </a:xfrm>
          <a:custGeom>
            <a:avLst/>
            <a:gdLst>
              <a:gd name="T0" fmla="*/ 526 w 695"/>
              <a:gd name="T1" fmla="*/ 362 h 695"/>
              <a:gd name="T2" fmla="*/ 359 w 695"/>
              <a:gd name="T3" fmla="*/ 362 h 695"/>
              <a:gd name="T4" fmla="*/ 359 w 695"/>
              <a:gd name="T5" fmla="*/ 531 h 695"/>
              <a:gd name="T6" fmla="*/ 359 w 695"/>
              <a:gd name="T7" fmla="*/ 537 h 695"/>
              <a:gd name="T8" fmla="*/ 356 w 695"/>
              <a:gd name="T9" fmla="*/ 540 h 695"/>
              <a:gd name="T10" fmla="*/ 353 w 695"/>
              <a:gd name="T11" fmla="*/ 542 h 695"/>
              <a:gd name="T12" fmla="*/ 348 w 695"/>
              <a:gd name="T13" fmla="*/ 543 h 695"/>
              <a:gd name="T14" fmla="*/ 343 w 695"/>
              <a:gd name="T15" fmla="*/ 542 h 695"/>
              <a:gd name="T16" fmla="*/ 339 w 695"/>
              <a:gd name="T17" fmla="*/ 540 h 695"/>
              <a:gd name="T18" fmla="*/ 337 w 695"/>
              <a:gd name="T19" fmla="*/ 537 h 695"/>
              <a:gd name="T20" fmla="*/ 336 w 695"/>
              <a:gd name="T21" fmla="*/ 531 h 695"/>
              <a:gd name="T22" fmla="*/ 336 w 695"/>
              <a:gd name="T23" fmla="*/ 362 h 695"/>
              <a:gd name="T24" fmla="*/ 164 w 695"/>
              <a:gd name="T25" fmla="*/ 362 h 695"/>
              <a:gd name="T26" fmla="*/ 158 w 695"/>
              <a:gd name="T27" fmla="*/ 361 h 695"/>
              <a:gd name="T28" fmla="*/ 155 w 695"/>
              <a:gd name="T29" fmla="*/ 359 h 695"/>
              <a:gd name="T30" fmla="*/ 153 w 695"/>
              <a:gd name="T31" fmla="*/ 356 h 695"/>
              <a:gd name="T32" fmla="*/ 152 w 695"/>
              <a:gd name="T33" fmla="*/ 350 h 695"/>
              <a:gd name="T34" fmla="*/ 153 w 695"/>
              <a:gd name="T35" fmla="*/ 346 h 695"/>
              <a:gd name="T36" fmla="*/ 155 w 695"/>
              <a:gd name="T37" fmla="*/ 342 h 695"/>
              <a:gd name="T38" fmla="*/ 158 w 695"/>
              <a:gd name="T39" fmla="*/ 339 h 695"/>
              <a:gd name="T40" fmla="*/ 164 w 695"/>
              <a:gd name="T41" fmla="*/ 339 h 695"/>
              <a:gd name="T42" fmla="*/ 336 w 695"/>
              <a:gd name="T43" fmla="*/ 339 h 695"/>
              <a:gd name="T44" fmla="*/ 336 w 695"/>
              <a:gd name="T45" fmla="*/ 170 h 695"/>
              <a:gd name="T46" fmla="*/ 337 w 695"/>
              <a:gd name="T47" fmla="*/ 165 h 695"/>
              <a:gd name="T48" fmla="*/ 339 w 695"/>
              <a:gd name="T49" fmla="*/ 161 h 695"/>
              <a:gd name="T50" fmla="*/ 343 w 695"/>
              <a:gd name="T51" fmla="*/ 159 h 695"/>
              <a:gd name="T52" fmla="*/ 348 w 695"/>
              <a:gd name="T53" fmla="*/ 158 h 695"/>
              <a:gd name="T54" fmla="*/ 353 w 695"/>
              <a:gd name="T55" fmla="*/ 159 h 695"/>
              <a:gd name="T56" fmla="*/ 356 w 695"/>
              <a:gd name="T57" fmla="*/ 161 h 695"/>
              <a:gd name="T58" fmla="*/ 359 w 695"/>
              <a:gd name="T59" fmla="*/ 165 h 695"/>
              <a:gd name="T60" fmla="*/ 359 w 695"/>
              <a:gd name="T61" fmla="*/ 170 h 695"/>
              <a:gd name="T62" fmla="*/ 359 w 695"/>
              <a:gd name="T63" fmla="*/ 339 h 695"/>
              <a:gd name="T64" fmla="*/ 526 w 695"/>
              <a:gd name="T65" fmla="*/ 339 h 695"/>
              <a:gd name="T66" fmla="*/ 530 w 695"/>
              <a:gd name="T67" fmla="*/ 339 h 695"/>
              <a:gd name="T68" fmla="*/ 535 w 695"/>
              <a:gd name="T69" fmla="*/ 342 h 695"/>
              <a:gd name="T70" fmla="*/ 537 w 695"/>
              <a:gd name="T71" fmla="*/ 346 h 695"/>
              <a:gd name="T72" fmla="*/ 538 w 695"/>
              <a:gd name="T73" fmla="*/ 350 h 695"/>
              <a:gd name="T74" fmla="*/ 537 w 695"/>
              <a:gd name="T75" fmla="*/ 356 h 695"/>
              <a:gd name="T76" fmla="*/ 535 w 695"/>
              <a:gd name="T77" fmla="*/ 359 h 695"/>
              <a:gd name="T78" fmla="*/ 530 w 695"/>
              <a:gd name="T79" fmla="*/ 361 h 695"/>
              <a:gd name="T80" fmla="*/ 526 w 695"/>
              <a:gd name="T81" fmla="*/ 362 h 695"/>
              <a:gd name="T82" fmla="*/ 683 w 695"/>
              <a:gd name="T83" fmla="*/ 0 h 695"/>
              <a:gd name="T84" fmla="*/ 12 w 695"/>
              <a:gd name="T85" fmla="*/ 0 h 695"/>
              <a:gd name="T86" fmla="*/ 8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8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2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2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359" y="362"/>
                </a:lnTo>
                <a:lnTo>
                  <a:pt x="359" y="531"/>
                </a:lnTo>
                <a:lnTo>
                  <a:pt x="359" y="537"/>
                </a:lnTo>
                <a:lnTo>
                  <a:pt x="356" y="540"/>
                </a:lnTo>
                <a:lnTo>
                  <a:pt x="353" y="542"/>
                </a:lnTo>
                <a:lnTo>
                  <a:pt x="348" y="543"/>
                </a:lnTo>
                <a:lnTo>
                  <a:pt x="343" y="542"/>
                </a:lnTo>
                <a:lnTo>
                  <a:pt x="339" y="540"/>
                </a:lnTo>
                <a:lnTo>
                  <a:pt x="337" y="537"/>
                </a:lnTo>
                <a:lnTo>
                  <a:pt x="336" y="531"/>
                </a:lnTo>
                <a:lnTo>
                  <a:pt x="336" y="362"/>
                </a:lnTo>
                <a:lnTo>
                  <a:pt x="164" y="362"/>
                </a:lnTo>
                <a:lnTo>
                  <a:pt x="158" y="361"/>
                </a:lnTo>
                <a:lnTo>
                  <a:pt x="155" y="359"/>
                </a:lnTo>
                <a:lnTo>
                  <a:pt x="153" y="356"/>
                </a:lnTo>
                <a:lnTo>
                  <a:pt x="152" y="350"/>
                </a:lnTo>
                <a:lnTo>
                  <a:pt x="153" y="346"/>
                </a:lnTo>
                <a:lnTo>
                  <a:pt x="155" y="342"/>
                </a:lnTo>
                <a:lnTo>
                  <a:pt x="158" y="339"/>
                </a:lnTo>
                <a:lnTo>
                  <a:pt x="164" y="339"/>
                </a:lnTo>
                <a:lnTo>
                  <a:pt x="336" y="339"/>
                </a:lnTo>
                <a:lnTo>
                  <a:pt x="336" y="170"/>
                </a:lnTo>
                <a:lnTo>
                  <a:pt x="337" y="165"/>
                </a:lnTo>
                <a:lnTo>
                  <a:pt x="339" y="161"/>
                </a:lnTo>
                <a:lnTo>
                  <a:pt x="343" y="159"/>
                </a:lnTo>
                <a:lnTo>
                  <a:pt x="348" y="158"/>
                </a:lnTo>
                <a:lnTo>
                  <a:pt x="353" y="159"/>
                </a:lnTo>
                <a:lnTo>
                  <a:pt x="356" y="161"/>
                </a:lnTo>
                <a:lnTo>
                  <a:pt x="359" y="165"/>
                </a:lnTo>
                <a:lnTo>
                  <a:pt x="359" y="170"/>
                </a:lnTo>
                <a:lnTo>
                  <a:pt x="359" y="339"/>
                </a:lnTo>
                <a:lnTo>
                  <a:pt x="526" y="339"/>
                </a:lnTo>
                <a:lnTo>
                  <a:pt x="530" y="339"/>
                </a:lnTo>
                <a:lnTo>
                  <a:pt x="535" y="342"/>
                </a:lnTo>
                <a:lnTo>
                  <a:pt x="537" y="346"/>
                </a:lnTo>
                <a:lnTo>
                  <a:pt x="538" y="350"/>
                </a:lnTo>
                <a:lnTo>
                  <a:pt x="537" y="356"/>
                </a:lnTo>
                <a:lnTo>
                  <a:pt x="535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8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8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2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2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Freeform 1838">
            <a:extLst>
              <a:ext uri="{FF2B5EF4-FFF2-40B4-BE49-F238E27FC236}">
                <a16:creationId xmlns:a16="http://schemas.microsoft.com/office/drawing/2014/main" id="{671CE6F9-DF11-4762-A040-4E9132A77ABC}"/>
              </a:ext>
            </a:extLst>
          </p:cNvPr>
          <p:cNvSpPr>
            <a:spLocks noEditPoints="1"/>
          </p:cNvSpPr>
          <p:nvPr/>
        </p:nvSpPr>
        <p:spPr bwMode="auto">
          <a:xfrm>
            <a:off x="1989538" y="3254922"/>
            <a:ext cx="276225" cy="276225"/>
          </a:xfrm>
          <a:custGeom>
            <a:avLst/>
            <a:gdLst>
              <a:gd name="T0" fmla="*/ 526 w 695"/>
              <a:gd name="T1" fmla="*/ 362 h 695"/>
              <a:gd name="T2" fmla="*/ 162 w 695"/>
              <a:gd name="T3" fmla="*/ 362 h 695"/>
              <a:gd name="T4" fmla="*/ 158 w 695"/>
              <a:gd name="T5" fmla="*/ 361 h 695"/>
              <a:gd name="T6" fmla="*/ 155 w 695"/>
              <a:gd name="T7" fmla="*/ 359 h 695"/>
              <a:gd name="T8" fmla="*/ 151 w 695"/>
              <a:gd name="T9" fmla="*/ 356 h 695"/>
              <a:gd name="T10" fmla="*/ 151 w 695"/>
              <a:gd name="T11" fmla="*/ 350 h 695"/>
              <a:gd name="T12" fmla="*/ 151 w 695"/>
              <a:gd name="T13" fmla="*/ 346 h 695"/>
              <a:gd name="T14" fmla="*/ 155 w 695"/>
              <a:gd name="T15" fmla="*/ 342 h 695"/>
              <a:gd name="T16" fmla="*/ 158 w 695"/>
              <a:gd name="T17" fmla="*/ 339 h 695"/>
              <a:gd name="T18" fmla="*/ 162 w 695"/>
              <a:gd name="T19" fmla="*/ 339 h 695"/>
              <a:gd name="T20" fmla="*/ 526 w 695"/>
              <a:gd name="T21" fmla="*/ 339 h 695"/>
              <a:gd name="T22" fmla="*/ 530 w 695"/>
              <a:gd name="T23" fmla="*/ 339 h 695"/>
              <a:gd name="T24" fmla="*/ 533 w 695"/>
              <a:gd name="T25" fmla="*/ 342 h 695"/>
              <a:gd name="T26" fmla="*/ 537 w 695"/>
              <a:gd name="T27" fmla="*/ 346 h 695"/>
              <a:gd name="T28" fmla="*/ 537 w 695"/>
              <a:gd name="T29" fmla="*/ 350 h 695"/>
              <a:gd name="T30" fmla="*/ 537 w 695"/>
              <a:gd name="T31" fmla="*/ 356 h 695"/>
              <a:gd name="T32" fmla="*/ 533 w 695"/>
              <a:gd name="T33" fmla="*/ 359 h 695"/>
              <a:gd name="T34" fmla="*/ 530 w 695"/>
              <a:gd name="T35" fmla="*/ 361 h 695"/>
              <a:gd name="T36" fmla="*/ 526 w 695"/>
              <a:gd name="T37" fmla="*/ 362 h 695"/>
              <a:gd name="T38" fmla="*/ 682 w 695"/>
              <a:gd name="T39" fmla="*/ 0 h 695"/>
              <a:gd name="T40" fmla="*/ 12 w 695"/>
              <a:gd name="T41" fmla="*/ 0 h 695"/>
              <a:gd name="T42" fmla="*/ 7 w 695"/>
              <a:gd name="T43" fmla="*/ 1 h 695"/>
              <a:gd name="T44" fmla="*/ 3 w 695"/>
              <a:gd name="T45" fmla="*/ 3 h 695"/>
              <a:gd name="T46" fmla="*/ 1 w 695"/>
              <a:gd name="T47" fmla="*/ 7 h 695"/>
              <a:gd name="T48" fmla="*/ 0 w 695"/>
              <a:gd name="T49" fmla="*/ 11 h 695"/>
              <a:gd name="T50" fmla="*/ 0 w 695"/>
              <a:gd name="T51" fmla="*/ 683 h 695"/>
              <a:gd name="T52" fmla="*/ 1 w 695"/>
              <a:gd name="T53" fmla="*/ 687 h 695"/>
              <a:gd name="T54" fmla="*/ 3 w 695"/>
              <a:gd name="T55" fmla="*/ 691 h 695"/>
              <a:gd name="T56" fmla="*/ 7 w 695"/>
              <a:gd name="T57" fmla="*/ 694 h 695"/>
              <a:gd name="T58" fmla="*/ 12 w 695"/>
              <a:gd name="T59" fmla="*/ 695 h 695"/>
              <a:gd name="T60" fmla="*/ 682 w 695"/>
              <a:gd name="T61" fmla="*/ 695 h 695"/>
              <a:gd name="T62" fmla="*/ 687 w 695"/>
              <a:gd name="T63" fmla="*/ 694 h 695"/>
              <a:gd name="T64" fmla="*/ 691 w 695"/>
              <a:gd name="T65" fmla="*/ 691 h 695"/>
              <a:gd name="T66" fmla="*/ 694 w 695"/>
              <a:gd name="T67" fmla="*/ 687 h 695"/>
              <a:gd name="T68" fmla="*/ 695 w 695"/>
              <a:gd name="T69" fmla="*/ 683 h 695"/>
              <a:gd name="T70" fmla="*/ 695 w 695"/>
              <a:gd name="T71" fmla="*/ 11 h 695"/>
              <a:gd name="T72" fmla="*/ 694 w 695"/>
              <a:gd name="T73" fmla="*/ 7 h 695"/>
              <a:gd name="T74" fmla="*/ 691 w 695"/>
              <a:gd name="T75" fmla="*/ 3 h 695"/>
              <a:gd name="T76" fmla="*/ 687 w 695"/>
              <a:gd name="T77" fmla="*/ 1 h 695"/>
              <a:gd name="T78" fmla="*/ 682 w 695"/>
              <a:gd name="T79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162" y="362"/>
                </a:lnTo>
                <a:lnTo>
                  <a:pt x="158" y="361"/>
                </a:lnTo>
                <a:lnTo>
                  <a:pt x="155" y="359"/>
                </a:lnTo>
                <a:lnTo>
                  <a:pt x="151" y="356"/>
                </a:lnTo>
                <a:lnTo>
                  <a:pt x="151" y="350"/>
                </a:lnTo>
                <a:lnTo>
                  <a:pt x="151" y="346"/>
                </a:lnTo>
                <a:lnTo>
                  <a:pt x="155" y="342"/>
                </a:lnTo>
                <a:lnTo>
                  <a:pt x="158" y="339"/>
                </a:lnTo>
                <a:lnTo>
                  <a:pt x="162" y="339"/>
                </a:lnTo>
                <a:lnTo>
                  <a:pt x="526" y="339"/>
                </a:lnTo>
                <a:lnTo>
                  <a:pt x="530" y="339"/>
                </a:lnTo>
                <a:lnTo>
                  <a:pt x="533" y="342"/>
                </a:lnTo>
                <a:lnTo>
                  <a:pt x="537" y="346"/>
                </a:lnTo>
                <a:lnTo>
                  <a:pt x="537" y="350"/>
                </a:lnTo>
                <a:lnTo>
                  <a:pt x="537" y="356"/>
                </a:lnTo>
                <a:lnTo>
                  <a:pt x="533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2" y="0"/>
                </a:move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3" y="691"/>
                </a:lnTo>
                <a:lnTo>
                  <a:pt x="7" y="694"/>
                </a:lnTo>
                <a:lnTo>
                  <a:pt x="12" y="695"/>
                </a:lnTo>
                <a:lnTo>
                  <a:pt x="682" y="695"/>
                </a:lnTo>
                <a:lnTo>
                  <a:pt x="687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7" y="1"/>
                </a:lnTo>
                <a:lnTo>
                  <a:pt x="682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Freeform 1839">
            <a:extLst>
              <a:ext uri="{FF2B5EF4-FFF2-40B4-BE49-F238E27FC236}">
                <a16:creationId xmlns:a16="http://schemas.microsoft.com/office/drawing/2014/main" id="{F930D1E9-0156-446F-A6BA-449B2749B8DE}"/>
              </a:ext>
            </a:extLst>
          </p:cNvPr>
          <p:cNvSpPr>
            <a:spLocks noEditPoints="1"/>
          </p:cNvSpPr>
          <p:nvPr/>
        </p:nvSpPr>
        <p:spPr bwMode="auto">
          <a:xfrm>
            <a:off x="1978823" y="4255063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Freeform 1839">
            <a:extLst>
              <a:ext uri="{FF2B5EF4-FFF2-40B4-BE49-F238E27FC236}">
                <a16:creationId xmlns:a16="http://schemas.microsoft.com/office/drawing/2014/main" id="{EC73D564-4678-4DE1-A74F-A430CF5D6949}"/>
              </a:ext>
            </a:extLst>
          </p:cNvPr>
          <p:cNvSpPr>
            <a:spLocks noEditPoints="1"/>
          </p:cNvSpPr>
          <p:nvPr/>
        </p:nvSpPr>
        <p:spPr bwMode="auto">
          <a:xfrm>
            <a:off x="1978823" y="5251729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Freeform 1837">
            <a:extLst>
              <a:ext uri="{FF2B5EF4-FFF2-40B4-BE49-F238E27FC236}">
                <a16:creationId xmlns:a16="http://schemas.microsoft.com/office/drawing/2014/main" id="{E3393433-51DB-48C2-A397-43F7EE1C7BCD}"/>
              </a:ext>
            </a:extLst>
          </p:cNvPr>
          <p:cNvSpPr>
            <a:spLocks noEditPoints="1"/>
          </p:cNvSpPr>
          <p:nvPr/>
        </p:nvSpPr>
        <p:spPr bwMode="auto">
          <a:xfrm>
            <a:off x="3139680" y="4255063"/>
            <a:ext cx="274638" cy="276225"/>
          </a:xfrm>
          <a:custGeom>
            <a:avLst/>
            <a:gdLst>
              <a:gd name="T0" fmla="*/ 526 w 695"/>
              <a:gd name="T1" fmla="*/ 362 h 695"/>
              <a:gd name="T2" fmla="*/ 359 w 695"/>
              <a:gd name="T3" fmla="*/ 362 h 695"/>
              <a:gd name="T4" fmla="*/ 359 w 695"/>
              <a:gd name="T5" fmla="*/ 531 h 695"/>
              <a:gd name="T6" fmla="*/ 359 w 695"/>
              <a:gd name="T7" fmla="*/ 537 h 695"/>
              <a:gd name="T8" fmla="*/ 356 w 695"/>
              <a:gd name="T9" fmla="*/ 540 h 695"/>
              <a:gd name="T10" fmla="*/ 353 w 695"/>
              <a:gd name="T11" fmla="*/ 542 h 695"/>
              <a:gd name="T12" fmla="*/ 348 w 695"/>
              <a:gd name="T13" fmla="*/ 543 h 695"/>
              <a:gd name="T14" fmla="*/ 343 w 695"/>
              <a:gd name="T15" fmla="*/ 542 h 695"/>
              <a:gd name="T16" fmla="*/ 339 w 695"/>
              <a:gd name="T17" fmla="*/ 540 h 695"/>
              <a:gd name="T18" fmla="*/ 337 w 695"/>
              <a:gd name="T19" fmla="*/ 537 h 695"/>
              <a:gd name="T20" fmla="*/ 336 w 695"/>
              <a:gd name="T21" fmla="*/ 531 h 695"/>
              <a:gd name="T22" fmla="*/ 336 w 695"/>
              <a:gd name="T23" fmla="*/ 362 h 695"/>
              <a:gd name="T24" fmla="*/ 164 w 695"/>
              <a:gd name="T25" fmla="*/ 362 h 695"/>
              <a:gd name="T26" fmla="*/ 158 w 695"/>
              <a:gd name="T27" fmla="*/ 361 h 695"/>
              <a:gd name="T28" fmla="*/ 155 w 695"/>
              <a:gd name="T29" fmla="*/ 359 h 695"/>
              <a:gd name="T30" fmla="*/ 153 w 695"/>
              <a:gd name="T31" fmla="*/ 356 h 695"/>
              <a:gd name="T32" fmla="*/ 152 w 695"/>
              <a:gd name="T33" fmla="*/ 350 h 695"/>
              <a:gd name="T34" fmla="*/ 153 w 695"/>
              <a:gd name="T35" fmla="*/ 346 h 695"/>
              <a:gd name="T36" fmla="*/ 155 w 695"/>
              <a:gd name="T37" fmla="*/ 342 h 695"/>
              <a:gd name="T38" fmla="*/ 158 w 695"/>
              <a:gd name="T39" fmla="*/ 339 h 695"/>
              <a:gd name="T40" fmla="*/ 164 w 695"/>
              <a:gd name="T41" fmla="*/ 339 h 695"/>
              <a:gd name="T42" fmla="*/ 336 w 695"/>
              <a:gd name="T43" fmla="*/ 339 h 695"/>
              <a:gd name="T44" fmla="*/ 336 w 695"/>
              <a:gd name="T45" fmla="*/ 170 h 695"/>
              <a:gd name="T46" fmla="*/ 337 w 695"/>
              <a:gd name="T47" fmla="*/ 165 h 695"/>
              <a:gd name="T48" fmla="*/ 339 w 695"/>
              <a:gd name="T49" fmla="*/ 161 h 695"/>
              <a:gd name="T50" fmla="*/ 343 w 695"/>
              <a:gd name="T51" fmla="*/ 159 h 695"/>
              <a:gd name="T52" fmla="*/ 348 w 695"/>
              <a:gd name="T53" fmla="*/ 158 h 695"/>
              <a:gd name="T54" fmla="*/ 353 w 695"/>
              <a:gd name="T55" fmla="*/ 159 h 695"/>
              <a:gd name="T56" fmla="*/ 356 w 695"/>
              <a:gd name="T57" fmla="*/ 161 h 695"/>
              <a:gd name="T58" fmla="*/ 359 w 695"/>
              <a:gd name="T59" fmla="*/ 165 h 695"/>
              <a:gd name="T60" fmla="*/ 359 w 695"/>
              <a:gd name="T61" fmla="*/ 170 h 695"/>
              <a:gd name="T62" fmla="*/ 359 w 695"/>
              <a:gd name="T63" fmla="*/ 339 h 695"/>
              <a:gd name="T64" fmla="*/ 526 w 695"/>
              <a:gd name="T65" fmla="*/ 339 h 695"/>
              <a:gd name="T66" fmla="*/ 530 w 695"/>
              <a:gd name="T67" fmla="*/ 339 h 695"/>
              <a:gd name="T68" fmla="*/ 535 w 695"/>
              <a:gd name="T69" fmla="*/ 342 h 695"/>
              <a:gd name="T70" fmla="*/ 537 w 695"/>
              <a:gd name="T71" fmla="*/ 346 h 695"/>
              <a:gd name="T72" fmla="*/ 538 w 695"/>
              <a:gd name="T73" fmla="*/ 350 h 695"/>
              <a:gd name="T74" fmla="*/ 537 w 695"/>
              <a:gd name="T75" fmla="*/ 356 h 695"/>
              <a:gd name="T76" fmla="*/ 535 w 695"/>
              <a:gd name="T77" fmla="*/ 359 h 695"/>
              <a:gd name="T78" fmla="*/ 530 w 695"/>
              <a:gd name="T79" fmla="*/ 361 h 695"/>
              <a:gd name="T80" fmla="*/ 526 w 695"/>
              <a:gd name="T81" fmla="*/ 362 h 695"/>
              <a:gd name="T82" fmla="*/ 683 w 695"/>
              <a:gd name="T83" fmla="*/ 0 h 695"/>
              <a:gd name="T84" fmla="*/ 12 w 695"/>
              <a:gd name="T85" fmla="*/ 0 h 695"/>
              <a:gd name="T86" fmla="*/ 8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8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2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2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359" y="362"/>
                </a:lnTo>
                <a:lnTo>
                  <a:pt x="359" y="531"/>
                </a:lnTo>
                <a:lnTo>
                  <a:pt x="359" y="537"/>
                </a:lnTo>
                <a:lnTo>
                  <a:pt x="356" y="540"/>
                </a:lnTo>
                <a:lnTo>
                  <a:pt x="353" y="542"/>
                </a:lnTo>
                <a:lnTo>
                  <a:pt x="348" y="543"/>
                </a:lnTo>
                <a:lnTo>
                  <a:pt x="343" y="542"/>
                </a:lnTo>
                <a:lnTo>
                  <a:pt x="339" y="540"/>
                </a:lnTo>
                <a:lnTo>
                  <a:pt x="337" y="537"/>
                </a:lnTo>
                <a:lnTo>
                  <a:pt x="336" y="531"/>
                </a:lnTo>
                <a:lnTo>
                  <a:pt x="336" y="362"/>
                </a:lnTo>
                <a:lnTo>
                  <a:pt x="164" y="362"/>
                </a:lnTo>
                <a:lnTo>
                  <a:pt x="158" y="361"/>
                </a:lnTo>
                <a:lnTo>
                  <a:pt x="155" y="359"/>
                </a:lnTo>
                <a:lnTo>
                  <a:pt x="153" y="356"/>
                </a:lnTo>
                <a:lnTo>
                  <a:pt x="152" y="350"/>
                </a:lnTo>
                <a:lnTo>
                  <a:pt x="153" y="346"/>
                </a:lnTo>
                <a:lnTo>
                  <a:pt x="155" y="342"/>
                </a:lnTo>
                <a:lnTo>
                  <a:pt x="158" y="339"/>
                </a:lnTo>
                <a:lnTo>
                  <a:pt x="164" y="339"/>
                </a:lnTo>
                <a:lnTo>
                  <a:pt x="336" y="339"/>
                </a:lnTo>
                <a:lnTo>
                  <a:pt x="336" y="170"/>
                </a:lnTo>
                <a:lnTo>
                  <a:pt x="337" y="165"/>
                </a:lnTo>
                <a:lnTo>
                  <a:pt x="339" y="161"/>
                </a:lnTo>
                <a:lnTo>
                  <a:pt x="343" y="159"/>
                </a:lnTo>
                <a:lnTo>
                  <a:pt x="348" y="158"/>
                </a:lnTo>
                <a:lnTo>
                  <a:pt x="353" y="159"/>
                </a:lnTo>
                <a:lnTo>
                  <a:pt x="356" y="161"/>
                </a:lnTo>
                <a:lnTo>
                  <a:pt x="359" y="165"/>
                </a:lnTo>
                <a:lnTo>
                  <a:pt x="359" y="170"/>
                </a:lnTo>
                <a:lnTo>
                  <a:pt x="359" y="339"/>
                </a:lnTo>
                <a:lnTo>
                  <a:pt x="526" y="339"/>
                </a:lnTo>
                <a:lnTo>
                  <a:pt x="530" y="339"/>
                </a:lnTo>
                <a:lnTo>
                  <a:pt x="535" y="342"/>
                </a:lnTo>
                <a:lnTo>
                  <a:pt x="537" y="346"/>
                </a:lnTo>
                <a:lnTo>
                  <a:pt x="538" y="350"/>
                </a:lnTo>
                <a:lnTo>
                  <a:pt x="537" y="356"/>
                </a:lnTo>
                <a:lnTo>
                  <a:pt x="535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8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8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2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2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Freeform 1839">
            <a:extLst>
              <a:ext uri="{FF2B5EF4-FFF2-40B4-BE49-F238E27FC236}">
                <a16:creationId xmlns:a16="http://schemas.microsoft.com/office/drawing/2014/main" id="{E59D7194-6D6C-45E5-86B0-BE99E1CFBEE5}"/>
              </a:ext>
            </a:extLst>
          </p:cNvPr>
          <p:cNvSpPr>
            <a:spLocks noEditPoints="1"/>
          </p:cNvSpPr>
          <p:nvPr/>
        </p:nvSpPr>
        <p:spPr bwMode="auto">
          <a:xfrm>
            <a:off x="4302523" y="3762408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Freeform 1838">
            <a:extLst>
              <a:ext uri="{FF2B5EF4-FFF2-40B4-BE49-F238E27FC236}">
                <a16:creationId xmlns:a16="http://schemas.microsoft.com/office/drawing/2014/main" id="{5B86CFA8-B0DB-480A-BCA7-2006B348D758}"/>
              </a:ext>
            </a:extLst>
          </p:cNvPr>
          <p:cNvSpPr>
            <a:spLocks noEditPoints="1"/>
          </p:cNvSpPr>
          <p:nvPr/>
        </p:nvSpPr>
        <p:spPr bwMode="auto">
          <a:xfrm>
            <a:off x="5427446" y="4750362"/>
            <a:ext cx="276225" cy="276225"/>
          </a:xfrm>
          <a:custGeom>
            <a:avLst/>
            <a:gdLst>
              <a:gd name="T0" fmla="*/ 526 w 695"/>
              <a:gd name="T1" fmla="*/ 362 h 695"/>
              <a:gd name="T2" fmla="*/ 162 w 695"/>
              <a:gd name="T3" fmla="*/ 362 h 695"/>
              <a:gd name="T4" fmla="*/ 158 w 695"/>
              <a:gd name="T5" fmla="*/ 361 h 695"/>
              <a:gd name="T6" fmla="*/ 155 w 695"/>
              <a:gd name="T7" fmla="*/ 359 h 695"/>
              <a:gd name="T8" fmla="*/ 151 w 695"/>
              <a:gd name="T9" fmla="*/ 356 h 695"/>
              <a:gd name="T10" fmla="*/ 151 w 695"/>
              <a:gd name="T11" fmla="*/ 350 h 695"/>
              <a:gd name="T12" fmla="*/ 151 w 695"/>
              <a:gd name="T13" fmla="*/ 346 h 695"/>
              <a:gd name="T14" fmla="*/ 155 w 695"/>
              <a:gd name="T15" fmla="*/ 342 h 695"/>
              <a:gd name="T16" fmla="*/ 158 w 695"/>
              <a:gd name="T17" fmla="*/ 339 h 695"/>
              <a:gd name="T18" fmla="*/ 162 w 695"/>
              <a:gd name="T19" fmla="*/ 339 h 695"/>
              <a:gd name="T20" fmla="*/ 526 w 695"/>
              <a:gd name="T21" fmla="*/ 339 h 695"/>
              <a:gd name="T22" fmla="*/ 530 w 695"/>
              <a:gd name="T23" fmla="*/ 339 h 695"/>
              <a:gd name="T24" fmla="*/ 533 w 695"/>
              <a:gd name="T25" fmla="*/ 342 h 695"/>
              <a:gd name="T26" fmla="*/ 537 w 695"/>
              <a:gd name="T27" fmla="*/ 346 h 695"/>
              <a:gd name="T28" fmla="*/ 537 w 695"/>
              <a:gd name="T29" fmla="*/ 350 h 695"/>
              <a:gd name="T30" fmla="*/ 537 w 695"/>
              <a:gd name="T31" fmla="*/ 356 h 695"/>
              <a:gd name="T32" fmla="*/ 533 w 695"/>
              <a:gd name="T33" fmla="*/ 359 h 695"/>
              <a:gd name="T34" fmla="*/ 530 w 695"/>
              <a:gd name="T35" fmla="*/ 361 h 695"/>
              <a:gd name="T36" fmla="*/ 526 w 695"/>
              <a:gd name="T37" fmla="*/ 362 h 695"/>
              <a:gd name="T38" fmla="*/ 682 w 695"/>
              <a:gd name="T39" fmla="*/ 0 h 695"/>
              <a:gd name="T40" fmla="*/ 12 w 695"/>
              <a:gd name="T41" fmla="*/ 0 h 695"/>
              <a:gd name="T42" fmla="*/ 7 w 695"/>
              <a:gd name="T43" fmla="*/ 1 h 695"/>
              <a:gd name="T44" fmla="*/ 3 w 695"/>
              <a:gd name="T45" fmla="*/ 3 h 695"/>
              <a:gd name="T46" fmla="*/ 1 w 695"/>
              <a:gd name="T47" fmla="*/ 7 h 695"/>
              <a:gd name="T48" fmla="*/ 0 w 695"/>
              <a:gd name="T49" fmla="*/ 11 h 695"/>
              <a:gd name="T50" fmla="*/ 0 w 695"/>
              <a:gd name="T51" fmla="*/ 683 h 695"/>
              <a:gd name="T52" fmla="*/ 1 w 695"/>
              <a:gd name="T53" fmla="*/ 687 h 695"/>
              <a:gd name="T54" fmla="*/ 3 w 695"/>
              <a:gd name="T55" fmla="*/ 691 h 695"/>
              <a:gd name="T56" fmla="*/ 7 w 695"/>
              <a:gd name="T57" fmla="*/ 694 h 695"/>
              <a:gd name="T58" fmla="*/ 12 w 695"/>
              <a:gd name="T59" fmla="*/ 695 h 695"/>
              <a:gd name="T60" fmla="*/ 682 w 695"/>
              <a:gd name="T61" fmla="*/ 695 h 695"/>
              <a:gd name="T62" fmla="*/ 687 w 695"/>
              <a:gd name="T63" fmla="*/ 694 h 695"/>
              <a:gd name="T64" fmla="*/ 691 w 695"/>
              <a:gd name="T65" fmla="*/ 691 h 695"/>
              <a:gd name="T66" fmla="*/ 694 w 695"/>
              <a:gd name="T67" fmla="*/ 687 h 695"/>
              <a:gd name="T68" fmla="*/ 695 w 695"/>
              <a:gd name="T69" fmla="*/ 683 h 695"/>
              <a:gd name="T70" fmla="*/ 695 w 695"/>
              <a:gd name="T71" fmla="*/ 11 h 695"/>
              <a:gd name="T72" fmla="*/ 694 w 695"/>
              <a:gd name="T73" fmla="*/ 7 h 695"/>
              <a:gd name="T74" fmla="*/ 691 w 695"/>
              <a:gd name="T75" fmla="*/ 3 h 695"/>
              <a:gd name="T76" fmla="*/ 687 w 695"/>
              <a:gd name="T77" fmla="*/ 1 h 695"/>
              <a:gd name="T78" fmla="*/ 682 w 695"/>
              <a:gd name="T79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162" y="362"/>
                </a:lnTo>
                <a:lnTo>
                  <a:pt x="158" y="361"/>
                </a:lnTo>
                <a:lnTo>
                  <a:pt x="155" y="359"/>
                </a:lnTo>
                <a:lnTo>
                  <a:pt x="151" y="356"/>
                </a:lnTo>
                <a:lnTo>
                  <a:pt x="151" y="350"/>
                </a:lnTo>
                <a:lnTo>
                  <a:pt x="151" y="346"/>
                </a:lnTo>
                <a:lnTo>
                  <a:pt x="155" y="342"/>
                </a:lnTo>
                <a:lnTo>
                  <a:pt x="158" y="339"/>
                </a:lnTo>
                <a:lnTo>
                  <a:pt x="162" y="339"/>
                </a:lnTo>
                <a:lnTo>
                  <a:pt x="526" y="339"/>
                </a:lnTo>
                <a:lnTo>
                  <a:pt x="530" y="339"/>
                </a:lnTo>
                <a:lnTo>
                  <a:pt x="533" y="342"/>
                </a:lnTo>
                <a:lnTo>
                  <a:pt x="537" y="346"/>
                </a:lnTo>
                <a:lnTo>
                  <a:pt x="537" y="350"/>
                </a:lnTo>
                <a:lnTo>
                  <a:pt x="537" y="356"/>
                </a:lnTo>
                <a:lnTo>
                  <a:pt x="533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2" y="0"/>
                </a:move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3" y="691"/>
                </a:lnTo>
                <a:lnTo>
                  <a:pt x="7" y="694"/>
                </a:lnTo>
                <a:lnTo>
                  <a:pt x="12" y="695"/>
                </a:lnTo>
                <a:lnTo>
                  <a:pt x="682" y="695"/>
                </a:lnTo>
                <a:lnTo>
                  <a:pt x="687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7" y="1"/>
                </a:lnTo>
                <a:lnTo>
                  <a:pt x="682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Freeform 1837">
            <a:extLst>
              <a:ext uri="{FF2B5EF4-FFF2-40B4-BE49-F238E27FC236}">
                <a16:creationId xmlns:a16="http://schemas.microsoft.com/office/drawing/2014/main" id="{6A6D45FB-BA8D-4874-B11D-4FD6388831D9}"/>
              </a:ext>
            </a:extLst>
          </p:cNvPr>
          <p:cNvSpPr>
            <a:spLocks noEditPoints="1"/>
          </p:cNvSpPr>
          <p:nvPr/>
        </p:nvSpPr>
        <p:spPr bwMode="auto">
          <a:xfrm>
            <a:off x="3139680" y="5735010"/>
            <a:ext cx="274638" cy="276225"/>
          </a:xfrm>
          <a:custGeom>
            <a:avLst/>
            <a:gdLst>
              <a:gd name="T0" fmla="*/ 526 w 695"/>
              <a:gd name="T1" fmla="*/ 362 h 695"/>
              <a:gd name="T2" fmla="*/ 359 w 695"/>
              <a:gd name="T3" fmla="*/ 362 h 695"/>
              <a:gd name="T4" fmla="*/ 359 w 695"/>
              <a:gd name="T5" fmla="*/ 531 h 695"/>
              <a:gd name="T6" fmla="*/ 359 w 695"/>
              <a:gd name="T7" fmla="*/ 537 h 695"/>
              <a:gd name="T8" fmla="*/ 356 w 695"/>
              <a:gd name="T9" fmla="*/ 540 h 695"/>
              <a:gd name="T10" fmla="*/ 353 w 695"/>
              <a:gd name="T11" fmla="*/ 542 h 695"/>
              <a:gd name="T12" fmla="*/ 348 w 695"/>
              <a:gd name="T13" fmla="*/ 543 h 695"/>
              <a:gd name="T14" fmla="*/ 343 w 695"/>
              <a:gd name="T15" fmla="*/ 542 h 695"/>
              <a:gd name="T16" fmla="*/ 339 w 695"/>
              <a:gd name="T17" fmla="*/ 540 h 695"/>
              <a:gd name="T18" fmla="*/ 337 w 695"/>
              <a:gd name="T19" fmla="*/ 537 h 695"/>
              <a:gd name="T20" fmla="*/ 336 w 695"/>
              <a:gd name="T21" fmla="*/ 531 h 695"/>
              <a:gd name="T22" fmla="*/ 336 w 695"/>
              <a:gd name="T23" fmla="*/ 362 h 695"/>
              <a:gd name="T24" fmla="*/ 164 w 695"/>
              <a:gd name="T25" fmla="*/ 362 h 695"/>
              <a:gd name="T26" fmla="*/ 158 w 695"/>
              <a:gd name="T27" fmla="*/ 361 h 695"/>
              <a:gd name="T28" fmla="*/ 155 w 695"/>
              <a:gd name="T29" fmla="*/ 359 h 695"/>
              <a:gd name="T30" fmla="*/ 153 w 695"/>
              <a:gd name="T31" fmla="*/ 356 h 695"/>
              <a:gd name="T32" fmla="*/ 152 w 695"/>
              <a:gd name="T33" fmla="*/ 350 h 695"/>
              <a:gd name="T34" fmla="*/ 153 w 695"/>
              <a:gd name="T35" fmla="*/ 346 h 695"/>
              <a:gd name="T36" fmla="*/ 155 w 695"/>
              <a:gd name="T37" fmla="*/ 342 h 695"/>
              <a:gd name="T38" fmla="*/ 158 w 695"/>
              <a:gd name="T39" fmla="*/ 339 h 695"/>
              <a:gd name="T40" fmla="*/ 164 w 695"/>
              <a:gd name="T41" fmla="*/ 339 h 695"/>
              <a:gd name="T42" fmla="*/ 336 w 695"/>
              <a:gd name="T43" fmla="*/ 339 h 695"/>
              <a:gd name="T44" fmla="*/ 336 w 695"/>
              <a:gd name="T45" fmla="*/ 170 h 695"/>
              <a:gd name="T46" fmla="*/ 337 w 695"/>
              <a:gd name="T47" fmla="*/ 165 h 695"/>
              <a:gd name="T48" fmla="*/ 339 w 695"/>
              <a:gd name="T49" fmla="*/ 161 h 695"/>
              <a:gd name="T50" fmla="*/ 343 w 695"/>
              <a:gd name="T51" fmla="*/ 159 h 695"/>
              <a:gd name="T52" fmla="*/ 348 w 695"/>
              <a:gd name="T53" fmla="*/ 158 h 695"/>
              <a:gd name="T54" fmla="*/ 353 w 695"/>
              <a:gd name="T55" fmla="*/ 159 h 695"/>
              <a:gd name="T56" fmla="*/ 356 w 695"/>
              <a:gd name="T57" fmla="*/ 161 h 695"/>
              <a:gd name="T58" fmla="*/ 359 w 695"/>
              <a:gd name="T59" fmla="*/ 165 h 695"/>
              <a:gd name="T60" fmla="*/ 359 w 695"/>
              <a:gd name="T61" fmla="*/ 170 h 695"/>
              <a:gd name="T62" fmla="*/ 359 w 695"/>
              <a:gd name="T63" fmla="*/ 339 h 695"/>
              <a:gd name="T64" fmla="*/ 526 w 695"/>
              <a:gd name="T65" fmla="*/ 339 h 695"/>
              <a:gd name="T66" fmla="*/ 530 w 695"/>
              <a:gd name="T67" fmla="*/ 339 h 695"/>
              <a:gd name="T68" fmla="*/ 535 w 695"/>
              <a:gd name="T69" fmla="*/ 342 h 695"/>
              <a:gd name="T70" fmla="*/ 537 w 695"/>
              <a:gd name="T71" fmla="*/ 346 h 695"/>
              <a:gd name="T72" fmla="*/ 538 w 695"/>
              <a:gd name="T73" fmla="*/ 350 h 695"/>
              <a:gd name="T74" fmla="*/ 537 w 695"/>
              <a:gd name="T75" fmla="*/ 356 h 695"/>
              <a:gd name="T76" fmla="*/ 535 w 695"/>
              <a:gd name="T77" fmla="*/ 359 h 695"/>
              <a:gd name="T78" fmla="*/ 530 w 695"/>
              <a:gd name="T79" fmla="*/ 361 h 695"/>
              <a:gd name="T80" fmla="*/ 526 w 695"/>
              <a:gd name="T81" fmla="*/ 362 h 695"/>
              <a:gd name="T82" fmla="*/ 683 w 695"/>
              <a:gd name="T83" fmla="*/ 0 h 695"/>
              <a:gd name="T84" fmla="*/ 12 w 695"/>
              <a:gd name="T85" fmla="*/ 0 h 695"/>
              <a:gd name="T86" fmla="*/ 8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8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2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2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359" y="362"/>
                </a:lnTo>
                <a:lnTo>
                  <a:pt x="359" y="531"/>
                </a:lnTo>
                <a:lnTo>
                  <a:pt x="359" y="537"/>
                </a:lnTo>
                <a:lnTo>
                  <a:pt x="356" y="540"/>
                </a:lnTo>
                <a:lnTo>
                  <a:pt x="353" y="542"/>
                </a:lnTo>
                <a:lnTo>
                  <a:pt x="348" y="543"/>
                </a:lnTo>
                <a:lnTo>
                  <a:pt x="343" y="542"/>
                </a:lnTo>
                <a:lnTo>
                  <a:pt x="339" y="540"/>
                </a:lnTo>
                <a:lnTo>
                  <a:pt x="337" y="537"/>
                </a:lnTo>
                <a:lnTo>
                  <a:pt x="336" y="531"/>
                </a:lnTo>
                <a:lnTo>
                  <a:pt x="336" y="362"/>
                </a:lnTo>
                <a:lnTo>
                  <a:pt x="164" y="362"/>
                </a:lnTo>
                <a:lnTo>
                  <a:pt x="158" y="361"/>
                </a:lnTo>
                <a:lnTo>
                  <a:pt x="155" y="359"/>
                </a:lnTo>
                <a:lnTo>
                  <a:pt x="153" y="356"/>
                </a:lnTo>
                <a:lnTo>
                  <a:pt x="152" y="350"/>
                </a:lnTo>
                <a:lnTo>
                  <a:pt x="153" y="346"/>
                </a:lnTo>
                <a:lnTo>
                  <a:pt x="155" y="342"/>
                </a:lnTo>
                <a:lnTo>
                  <a:pt x="158" y="339"/>
                </a:lnTo>
                <a:lnTo>
                  <a:pt x="164" y="339"/>
                </a:lnTo>
                <a:lnTo>
                  <a:pt x="336" y="339"/>
                </a:lnTo>
                <a:lnTo>
                  <a:pt x="336" y="170"/>
                </a:lnTo>
                <a:lnTo>
                  <a:pt x="337" y="165"/>
                </a:lnTo>
                <a:lnTo>
                  <a:pt x="339" y="161"/>
                </a:lnTo>
                <a:lnTo>
                  <a:pt x="343" y="159"/>
                </a:lnTo>
                <a:lnTo>
                  <a:pt x="348" y="158"/>
                </a:lnTo>
                <a:lnTo>
                  <a:pt x="353" y="159"/>
                </a:lnTo>
                <a:lnTo>
                  <a:pt x="356" y="161"/>
                </a:lnTo>
                <a:lnTo>
                  <a:pt x="359" y="165"/>
                </a:lnTo>
                <a:lnTo>
                  <a:pt x="359" y="170"/>
                </a:lnTo>
                <a:lnTo>
                  <a:pt x="359" y="339"/>
                </a:lnTo>
                <a:lnTo>
                  <a:pt x="526" y="339"/>
                </a:lnTo>
                <a:lnTo>
                  <a:pt x="530" y="339"/>
                </a:lnTo>
                <a:lnTo>
                  <a:pt x="535" y="342"/>
                </a:lnTo>
                <a:lnTo>
                  <a:pt x="537" y="346"/>
                </a:lnTo>
                <a:lnTo>
                  <a:pt x="538" y="350"/>
                </a:lnTo>
                <a:lnTo>
                  <a:pt x="537" y="356"/>
                </a:lnTo>
                <a:lnTo>
                  <a:pt x="535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8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8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2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2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Freeform 1837">
            <a:extLst>
              <a:ext uri="{FF2B5EF4-FFF2-40B4-BE49-F238E27FC236}">
                <a16:creationId xmlns:a16="http://schemas.microsoft.com/office/drawing/2014/main" id="{7CCCC089-3742-4D26-841B-1BD441EC7BBE}"/>
              </a:ext>
            </a:extLst>
          </p:cNvPr>
          <p:cNvSpPr>
            <a:spLocks noEditPoints="1"/>
          </p:cNvSpPr>
          <p:nvPr/>
        </p:nvSpPr>
        <p:spPr bwMode="auto">
          <a:xfrm>
            <a:off x="4306097" y="2746210"/>
            <a:ext cx="274638" cy="276225"/>
          </a:xfrm>
          <a:custGeom>
            <a:avLst/>
            <a:gdLst>
              <a:gd name="T0" fmla="*/ 526 w 695"/>
              <a:gd name="T1" fmla="*/ 362 h 695"/>
              <a:gd name="T2" fmla="*/ 359 w 695"/>
              <a:gd name="T3" fmla="*/ 362 h 695"/>
              <a:gd name="T4" fmla="*/ 359 w 695"/>
              <a:gd name="T5" fmla="*/ 531 h 695"/>
              <a:gd name="T6" fmla="*/ 359 w 695"/>
              <a:gd name="T7" fmla="*/ 537 h 695"/>
              <a:gd name="T8" fmla="*/ 356 w 695"/>
              <a:gd name="T9" fmla="*/ 540 h 695"/>
              <a:gd name="T10" fmla="*/ 353 w 695"/>
              <a:gd name="T11" fmla="*/ 542 h 695"/>
              <a:gd name="T12" fmla="*/ 348 w 695"/>
              <a:gd name="T13" fmla="*/ 543 h 695"/>
              <a:gd name="T14" fmla="*/ 343 w 695"/>
              <a:gd name="T15" fmla="*/ 542 h 695"/>
              <a:gd name="T16" fmla="*/ 339 w 695"/>
              <a:gd name="T17" fmla="*/ 540 h 695"/>
              <a:gd name="T18" fmla="*/ 337 w 695"/>
              <a:gd name="T19" fmla="*/ 537 h 695"/>
              <a:gd name="T20" fmla="*/ 336 w 695"/>
              <a:gd name="T21" fmla="*/ 531 h 695"/>
              <a:gd name="T22" fmla="*/ 336 w 695"/>
              <a:gd name="T23" fmla="*/ 362 h 695"/>
              <a:gd name="T24" fmla="*/ 164 w 695"/>
              <a:gd name="T25" fmla="*/ 362 h 695"/>
              <a:gd name="T26" fmla="*/ 158 w 695"/>
              <a:gd name="T27" fmla="*/ 361 h 695"/>
              <a:gd name="T28" fmla="*/ 155 w 695"/>
              <a:gd name="T29" fmla="*/ 359 h 695"/>
              <a:gd name="T30" fmla="*/ 153 w 695"/>
              <a:gd name="T31" fmla="*/ 356 h 695"/>
              <a:gd name="T32" fmla="*/ 152 w 695"/>
              <a:gd name="T33" fmla="*/ 350 h 695"/>
              <a:gd name="T34" fmla="*/ 153 w 695"/>
              <a:gd name="T35" fmla="*/ 346 h 695"/>
              <a:gd name="T36" fmla="*/ 155 w 695"/>
              <a:gd name="T37" fmla="*/ 342 h 695"/>
              <a:gd name="T38" fmla="*/ 158 w 695"/>
              <a:gd name="T39" fmla="*/ 339 h 695"/>
              <a:gd name="T40" fmla="*/ 164 w 695"/>
              <a:gd name="T41" fmla="*/ 339 h 695"/>
              <a:gd name="T42" fmla="*/ 336 w 695"/>
              <a:gd name="T43" fmla="*/ 339 h 695"/>
              <a:gd name="T44" fmla="*/ 336 w 695"/>
              <a:gd name="T45" fmla="*/ 170 h 695"/>
              <a:gd name="T46" fmla="*/ 337 w 695"/>
              <a:gd name="T47" fmla="*/ 165 h 695"/>
              <a:gd name="T48" fmla="*/ 339 w 695"/>
              <a:gd name="T49" fmla="*/ 161 h 695"/>
              <a:gd name="T50" fmla="*/ 343 w 695"/>
              <a:gd name="T51" fmla="*/ 159 h 695"/>
              <a:gd name="T52" fmla="*/ 348 w 695"/>
              <a:gd name="T53" fmla="*/ 158 h 695"/>
              <a:gd name="T54" fmla="*/ 353 w 695"/>
              <a:gd name="T55" fmla="*/ 159 h 695"/>
              <a:gd name="T56" fmla="*/ 356 w 695"/>
              <a:gd name="T57" fmla="*/ 161 h 695"/>
              <a:gd name="T58" fmla="*/ 359 w 695"/>
              <a:gd name="T59" fmla="*/ 165 h 695"/>
              <a:gd name="T60" fmla="*/ 359 w 695"/>
              <a:gd name="T61" fmla="*/ 170 h 695"/>
              <a:gd name="T62" fmla="*/ 359 w 695"/>
              <a:gd name="T63" fmla="*/ 339 h 695"/>
              <a:gd name="T64" fmla="*/ 526 w 695"/>
              <a:gd name="T65" fmla="*/ 339 h 695"/>
              <a:gd name="T66" fmla="*/ 530 w 695"/>
              <a:gd name="T67" fmla="*/ 339 h 695"/>
              <a:gd name="T68" fmla="*/ 535 w 695"/>
              <a:gd name="T69" fmla="*/ 342 h 695"/>
              <a:gd name="T70" fmla="*/ 537 w 695"/>
              <a:gd name="T71" fmla="*/ 346 h 695"/>
              <a:gd name="T72" fmla="*/ 538 w 695"/>
              <a:gd name="T73" fmla="*/ 350 h 695"/>
              <a:gd name="T74" fmla="*/ 537 w 695"/>
              <a:gd name="T75" fmla="*/ 356 h 695"/>
              <a:gd name="T76" fmla="*/ 535 w 695"/>
              <a:gd name="T77" fmla="*/ 359 h 695"/>
              <a:gd name="T78" fmla="*/ 530 w 695"/>
              <a:gd name="T79" fmla="*/ 361 h 695"/>
              <a:gd name="T80" fmla="*/ 526 w 695"/>
              <a:gd name="T81" fmla="*/ 362 h 695"/>
              <a:gd name="T82" fmla="*/ 683 w 695"/>
              <a:gd name="T83" fmla="*/ 0 h 695"/>
              <a:gd name="T84" fmla="*/ 12 w 695"/>
              <a:gd name="T85" fmla="*/ 0 h 695"/>
              <a:gd name="T86" fmla="*/ 8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8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2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2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359" y="362"/>
                </a:lnTo>
                <a:lnTo>
                  <a:pt x="359" y="531"/>
                </a:lnTo>
                <a:lnTo>
                  <a:pt x="359" y="537"/>
                </a:lnTo>
                <a:lnTo>
                  <a:pt x="356" y="540"/>
                </a:lnTo>
                <a:lnTo>
                  <a:pt x="353" y="542"/>
                </a:lnTo>
                <a:lnTo>
                  <a:pt x="348" y="543"/>
                </a:lnTo>
                <a:lnTo>
                  <a:pt x="343" y="542"/>
                </a:lnTo>
                <a:lnTo>
                  <a:pt x="339" y="540"/>
                </a:lnTo>
                <a:lnTo>
                  <a:pt x="337" y="537"/>
                </a:lnTo>
                <a:lnTo>
                  <a:pt x="336" y="531"/>
                </a:lnTo>
                <a:lnTo>
                  <a:pt x="336" y="362"/>
                </a:lnTo>
                <a:lnTo>
                  <a:pt x="164" y="362"/>
                </a:lnTo>
                <a:lnTo>
                  <a:pt x="158" y="361"/>
                </a:lnTo>
                <a:lnTo>
                  <a:pt x="155" y="359"/>
                </a:lnTo>
                <a:lnTo>
                  <a:pt x="153" y="356"/>
                </a:lnTo>
                <a:lnTo>
                  <a:pt x="152" y="350"/>
                </a:lnTo>
                <a:lnTo>
                  <a:pt x="153" y="346"/>
                </a:lnTo>
                <a:lnTo>
                  <a:pt x="155" y="342"/>
                </a:lnTo>
                <a:lnTo>
                  <a:pt x="158" y="339"/>
                </a:lnTo>
                <a:lnTo>
                  <a:pt x="164" y="339"/>
                </a:lnTo>
                <a:lnTo>
                  <a:pt x="336" y="339"/>
                </a:lnTo>
                <a:lnTo>
                  <a:pt x="336" y="170"/>
                </a:lnTo>
                <a:lnTo>
                  <a:pt x="337" y="165"/>
                </a:lnTo>
                <a:lnTo>
                  <a:pt x="339" y="161"/>
                </a:lnTo>
                <a:lnTo>
                  <a:pt x="343" y="159"/>
                </a:lnTo>
                <a:lnTo>
                  <a:pt x="348" y="158"/>
                </a:lnTo>
                <a:lnTo>
                  <a:pt x="353" y="159"/>
                </a:lnTo>
                <a:lnTo>
                  <a:pt x="356" y="161"/>
                </a:lnTo>
                <a:lnTo>
                  <a:pt x="359" y="165"/>
                </a:lnTo>
                <a:lnTo>
                  <a:pt x="359" y="170"/>
                </a:lnTo>
                <a:lnTo>
                  <a:pt x="359" y="339"/>
                </a:lnTo>
                <a:lnTo>
                  <a:pt x="526" y="339"/>
                </a:lnTo>
                <a:lnTo>
                  <a:pt x="530" y="339"/>
                </a:lnTo>
                <a:lnTo>
                  <a:pt x="535" y="342"/>
                </a:lnTo>
                <a:lnTo>
                  <a:pt x="537" y="346"/>
                </a:lnTo>
                <a:lnTo>
                  <a:pt x="538" y="350"/>
                </a:lnTo>
                <a:lnTo>
                  <a:pt x="537" y="356"/>
                </a:lnTo>
                <a:lnTo>
                  <a:pt x="535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8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8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2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2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1838">
            <a:extLst>
              <a:ext uri="{FF2B5EF4-FFF2-40B4-BE49-F238E27FC236}">
                <a16:creationId xmlns:a16="http://schemas.microsoft.com/office/drawing/2014/main" id="{454B8485-9B81-4BD9-8BAF-E2179E772064}"/>
              </a:ext>
            </a:extLst>
          </p:cNvPr>
          <p:cNvSpPr>
            <a:spLocks noEditPoints="1"/>
          </p:cNvSpPr>
          <p:nvPr/>
        </p:nvSpPr>
        <p:spPr bwMode="auto">
          <a:xfrm>
            <a:off x="845745" y="4750362"/>
            <a:ext cx="276225" cy="276225"/>
          </a:xfrm>
          <a:custGeom>
            <a:avLst/>
            <a:gdLst>
              <a:gd name="T0" fmla="*/ 526 w 695"/>
              <a:gd name="T1" fmla="*/ 362 h 695"/>
              <a:gd name="T2" fmla="*/ 162 w 695"/>
              <a:gd name="T3" fmla="*/ 362 h 695"/>
              <a:gd name="T4" fmla="*/ 158 w 695"/>
              <a:gd name="T5" fmla="*/ 361 h 695"/>
              <a:gd name="T6" fmla="*/ 155 w 695"/>
              <a:gd name="T7" fmla="*/ 359 h 695"/>
              <a:gd name="T8" fmla="*/ 151 w 695"/>
              <a:gd name="T9" fmla="*/ 356 h 695"/>
              <a:gd name="T10" fmla="*/ 151 w 695"/>
              <a:gd name="T11" fmla="*/ 350 h 695"/>
              <a:gd name="T12" fmla="*/ 151 w 695"/>
              <a:gd name="T13" fmla="*/ 346 h 695"/>
              <a:gd name="T14" fmla="*/ 155 w 695"/>
              <a:gd name="T15" fmla="*/ 342 h 695"/>
              <a:gd name="T16" fmla="*/ 158 w 695"/>
              <a:gd name="T17" fmla="*/ 339 h 695"/>
              <a:gd name="T18" fmla="*/ 162 w 695"/>
              <a:gd name="T19" fmla="*/ 339 h 695"/>
              <a:gd name="T20" fmla="*/ 526 w 695"/>
              <a:gd name="T21" fmla="*/ 339 h 695"/>
              <a:gd name="T22" fmla="*/ 530 w 695"/>
              <a:gd name="T23" fmla="*/ 339 h 695"/>
              <a:gd name="T24" fmla="*/ 533 w 695"/>
              <a:gd name="T25" fmla="*/ 342 h 695"/>
              <a:gd name="T26" fmla="*/ 537 w 695"/>
              <a:gd name="T27" fmla="*/ 346 h 695"/>
              <a:gd name="T28" fmla="*/ 537 w 695"/>
              <a:gd name="T29" fmla="*/ 350 h 695"/>
              <a:gd name="T30" fmla="*/ 537 w 695"/>
              <a:gd name="T31" fmla="*/ 356 h 695"/>
              <a:gd name="T32" fmla="*/ 533 w 695"/>
              <a:gd name="T33" fmla="*/ 359 h 695"/>
              <a:gd name="T34" fmla="*/ 530 w 695"/>
              <a:gd name="T35" fmla="*/ 361 h 695"/>
              <a:gd name="T36" fmla="*/ 526 w 695"/>
              <a:gd name="T37" fmla="*/ 362 h 695"/>
              <a:gd name="T38" fmla="*/ 682 w 695"/>
              <a:gd name="T39" fmla="*/ 0 h 695"/>
              <a:gd name="T40" fmla="*/ 12 w 695"/>
              <a:gd name="T41" fmla="*/ 0 h 695"/>
              <a:gd name="T42" fmla="*/ 7 w 695"/>
              <a:gd name="T43" fmla="*/ 1 h 695"/>
              <a:gd name="T44" fmla="*/ 3 w 695"/>
              <a:gd name="T45" fmla="*/ 3 h 695"/>
              <a:gd name="T46" fmla="*/ 1 w 695"/>
              <a:gd name="T47" fmla="*/ 7 h 695"/>
              <a:gd name="T48" fmla="*/ 0 w 695"/>
              <a:gd name="T49" fmla="*/ 11 h 695"/>
              <a:gd name="T50" fmla="*/ 0 w 695"/>
              <a:gd name="T51" fmla="*/ 683 h 695"/>
              <a:gd name="T52" fmla="*/ 1 w 695"/>
              <a:gd name="T53" fmla="*/ 687 h 695"/>
              <a:gd name="T54" fmla="*/ 3 w 695"/>
              <a:gd name="T55" fmla="*/ 691 h 695"/>
              <a:gd name="T56" fmla="*/ 7 w 695"/>
              <a:gd name="T57" fmla="*/ 694 h 695"/>
              <a:gd name="T58" fmla="*/ 12 w 695"/>
              <a:gd name="T59" fmla="*/ 695 h 695"/>
              <a:gd name="T60" fmla="*/ 682 w 695"/>
              <a:gd name="T61" fmla="*/ 695 h 695"/>
              <a:gd name="T62" fmla="*/ 687 w 695"/>
              <a:gd name="T63" fmla="*/ 694 h 695"/>
              <a:gd name="T64" fmla="*/ 691 w 695"/>
              <a:gd name="T65" fmla="*/ 691 h 695"/>
              <a:gd name="T66" fmla="*/ 694 w 695"/>
              <a:gd name="T67" fmla="*/ 687 h 695"/>
              <a:gd name="T68" fmla="*/ 695 w 695"/>
              <a:gd name="T69" fmla="*/ 683 h 695"/>
              <a:gd name="T70" fmla="*/ 695 w 695"/>
              <a:gd name="T71" fmla="*/ 11 h 695"/>
              <a:gd name="T72" fmla="*/ 694 w 695"/>
              <a:gd name="T73" fmla="*/ 7 h 695"/>
              <a:gd name="T74" fmla="*/ 691 w 695"/>
              <a:gd name="T75" fmla="*/ 3 h 695"/>
              <a:gd name="T76" fmla="*/ 687 w 695"/>
              <a:gd name="T77" fmla="*/ 1 h 695"/>
              <a:gd name="T78" fmla="*/ 682 w 695"/>
              <a:gd name="T79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162" y="362"/>
                </a:lnTo>
                <a:lnTo>
                  <a:pt x="158" y="361"/>
                </a:lnTo>
                <a:lnTo>
                  <a:pt x="155" y="359"/>
                </a:lnTo>
                <a:lnTo>
                  <a:pt x="151" y="356"/>
                </a:lnTo>
                <a:lnTo>
                  <a:pt x="151" y="350"/>
                </a:lnTo>
                <a:lnTo>
                  <a:pt x="151" y="346"/>
                </a:lnTo>
                <a:lnTo>
                  <a:pt x="155" y="342"/>
                </a:lnTo>
                <a:lnTo>
                  <a:pt x="158" y="339"/>
                </a:lnTo>
                <a:lnTo>
                  <a:pt x="162" y="339"/>
                </a:lnTo>
                <a:lnTo>
                  <a:pt x="526" y="339"/>
                </a:lnTo>
                <a:lnTo>
                  <a:pt x="530" y="339"/>
                </a:lnTo>
                <a:lnTo>
                  <a:pt x="533" y="342"/>
                </a:lnTo>
                <a:lnTo>
                  <a:pt x="537" y="346"/>
                </a:lnTo>
                <a:lnTo>
                  <a:pt x="537" y="350"/>
                </a:lnTo>
                <a:lnTo>
                  <a:pt x="537" y="356"/>
                </a:lnTo>
                <a:lnTo>
                  <a:pt x="533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2" y="0"/>
                </a:move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3" y="691"/>
                </a:lnTo>
                <a:lnTo>
                  <a:pt x="7" y="694"/>
                </a:lnTo>
                <a:lnTo>
                  <a:pt x="12" y="695"/>
                </a:lnTo>
                <a:lnTo>
                  <a:pt x="682" y="695"/>
                </a:lnTo>
                <a:lnTo>
                  <a:pt x="687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7" y="1"/>
                </a:lnTo>
                <a:lnTo>
                  <a:pt x="682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838">
            <a:extLst>
              <a:ext uri="{FF2B5EF4-FFF2-40B4-BE49-F238E27FC236}">
                <a16:creationId xmlns:a16="http://schemas.microsoft.com/office/drawing/2014/main" id="{B0A31F3B-C4BD-4572-879B-DCC5E2097F4F}"/>
              </a:ext>
            </a:extLst>
          </p:cNvPr>
          <p:cNvSpPr>
            <a:spLocks noEditPoints="1"/>
          </p:cNvSpPr>
          <p:nvPr/>
        </p:nvSpPr>
        <p:spPr bwMode="auto">
          <a:xfrm>
            <a:off x="6498033" y="3254922"/>
            <a:ext cx="276225" cy="276225"/>
          </a:xfrm>
          <a:custGeom>
            <a:avLst/>
            <a:gdLst>
              <a:gd name="T0" fmla="*/ 526 w 695"/>
              <a:gd name="T1" fmla="*/ 362 h 695"/>
              <a:gd name="T2" fmla="*/ 162 w 695"/>
              <a:gd name="T3" fmla="*/ 362 h 695"/>
              <a:gd name="T4" fmla="*/ 158 w 695"/>
              <a:gd name="T5" fmla="*/ 361 h 695"/>
              <a:gd name="T6" fmla="*/ 155 w 695"/>
              <a:gd name="T7" fmla="*/ 359 h 695"/>
              <a:gd name="T8" fmla="*/ 151 w 695"/>
              <a:gd name="T9" fmla="*/ 356 h 695"/>
              <a:gd name="T10" fmla="*/ 151 w 695"/>
              <a:gd name="T11" fmla="*/ 350 h 695"/>
              <a:gd name="T12" fmla="*/ 151 w 695"/>
              <a:gd name="T13" fmla="*/ 346 h 695"/>
              <a:gd name="T14" fmla="*/ 155 w 695"/>
              <a:gd name="T15" fmla="*/ 342 h 695"/>
              <a:gd name="T16" fmla="*/ 158 w 695"/>
              <a:gd name="T17" fmla="*/ 339 h 695"/>
              <a:gd name="T18" fmla="*/ 162 w 695"/>
              <a:gd name="T19" fmla="*/ 339 h 695"/>
              <a:gd name="T20" fmla="*/ 526 w 695"/>
              <a:gd name="T21" fmla="*/ 339 h 695"/>
              <a:gd name="T22" fmla="*/ 530 w 695"/>
              <a:gd name="T23" fmla="*/ 339 h 695"/>
              <a:gd name="T24" fmla="*/ 533 w 695"/>
              <a:gd name="T25" fmla="*/ 342 h 695"/>
              <a:gd name="T26" fmla="*/ 537 w 695"/>
              <a:gd name="T27" fmla="*/ 346 h 695"/>
              <a:gd name="T28" fmla="*/ 537 w 695"/>
              <a:gd name="T29" fmla="*/ 350 h 695"/>
              <a:gd name="T30" fmla="*/ 537 w 695"/>
              <a:gd name="T31" fmla="*/ 356 h 695"/>
              <a:gd name="T32" fmla="*/ 533 w 695"/>
              <a:gd name="T33" fmla="*/ 359 h 695"/>
              <a:gd name="T34" fmla="*/ 530 w 695"/>
              <a:gd name="T35" fmla="*/ 361 h 695"/>
              <a:gd name="T36" fmla="*/ 526 w 695"/>
              <a:gd name="T37" fmla="*/ 362 h 695"/>
              <a:gd name="T38" fmla="*/ 682 w 695"/>
              <a:gd name="T39" fmla="*/ 0 h 695"/>
              <a:gd name="T40" fmla="*/ 12 w 695"/>
              <a:gd name="T41" fmla="*/ 0 h 695"/>
              <a:gd name="T42" fmla="*/ 7 w 695"/>
              <a:gd name="T43" fmla="*/ 1 h 695"/>
              <a:gd name="T44" fmla="*/ 3 w 695"/>
              <a:gd name="T45" fmla="*/ 3 h 695"/>
              <a:gd name="T46" fmla="*/ 1 w 695"/>
              <a:gd name="T47" fmla="*/ 7 h 695"/>
              <a:gd name="T48" fmla="*/ 0 w 695"/>
              <a:gd name="T49" fmla="*/ 11 h 695"/>
              <a:gd name="T50" fmla="*/ 0 w 695"/>
              <a:gd name="T51" fmla="*/ 683 h 695"/>
              <a:gd name="T52" fmla="*/ 1 w 695"/>
              <a:gd name="T53" fmla="*/ 687 h 695"/>
              <a:gd name="T54" fmla="*/ 3 w 695"/>
              <a:gd name="T55" fmla="*/ 691 h 695"/>
              <a:gd name="T56" fmla="*/ 7 w 695"/>
              <a:gd name="T57" fmla="*/ 694 h 695"/>
              <a:gd name="T58" fmla="*/ 12 w 695"/>
              <a:gd name="T59" fmla="*/ 695 h 695"/>
              <a:gd name="T60" fmla="*/ 682 w 695"/>
              <a:gd name="T61" fmla="*/ 695 h 695"/>
              <a:gd name="T62" fmla="*/ 687 w 695"/>
              <a:gd name="T63" fmla="*/ 694 h 695"/>
              <a:gd name="T64" fmla="*/ 691 w 695"/>
              <a:gd name="T65" fmla="*/ 691 h 695"/>
              <a:gd name="T66" fmla="*/ 694 w 695"/>
              <a:gd name="T67" fmla="*/ 687 h 695"/>
              <a:gd name="T68" fmla="*/ 695 w 695"/>
              <a:gd name="T69" fmla="*/ 683 h 695"/>
              <a:gd name="T70" fmla="*/ 695 w 695"/>
              <a:gd name="T71" fmla="*/ 11 h 695"/>
              <a:gd name="T72" fmla="*/ 694 w 695"/>
              <a:gd name="T73" fmla="*/ 7 h 695"/>
              <a:gd name="T74" fmla="*/ 691 w 695"/>
              <a:gd name="T75" fmla="*/ 3 h 695"/>
              <a:gd name="T76" fmla="*/ 687 w 695"/>
              <a:gd name="T77" fmla="*/ 1 h 695"/>
              <a:gd name="T78" fmla="*/ 682 w 695"/>
              <a:gd name="T79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162" y="362"/>
                </a:lnTo>
                <a:lnTo>
                  <a:pt x="158" y="361"/>
                </a:lnTo>
                <a:lnTo>
                  <a:pt x="155" y="359"/>
                </a:lnTo>
                <a:lnTo>
                  <a:pt x="151" y="356"/>
                </a:lnTo>
                <a:lnTo>
                  <a:pt x="151" y="350"/>
                </a:lnTo>
                <a:lnTo>
                  <a:pt x="151" y="346"/>
                </a:lnTo>
                <a:lnTo>
                  <a:pt x="155" y="342"/>
                </a:lnTo>
                <a:lnTo>
                  <a:pt x="158" y="339"/>
                </a:lnTo>
                <a:lnTo>
                  <a:pt x="162" y="339"/>
                </a:lnTo>
                <a:lnTo>
                  <a:pt x="526" y="339"/>
                </a:lnTo>
                <a:lnTo>
                  <a:pt x="530" y="339"/>
                </a:lnTo>
                <a:lnTo>
                  <a:pt x="533" y="342"/>
                </a:lnTo>
                <a:lnTo>
                  <a:pt x="537" y="346"/>
                </a:lnTo>
                <a:lnTo>
                  <a:pt x="537" y="350"/>
                </a:lnTo>
                <a:lnTo>
                  <a:pt x="537" y="356"/>
                </a:lnTo>
                <a:lnTo>
                  <a:pt x="533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2" y="0"/>
                </a:move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3" y="691"/>
                </a:lnTo>
                <a:lnTo>
                  <a:pt x="7" y="694"/>
                </a:lnTo>
                <a:lnTo>
                  <a:pt x="12" y="695"/>
                </a:lnTo>
                <a:lnTo>
                  <a:pt x="682" y="695"/>
                </a:lnTo>
                <a:lnTo>
                  <a:pt x="687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7" y="1"/>
                </a:lnTo>
                <a:lnTo>
                  <a:pt x="682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Freeform 1837">
            <a:extLst>
              <a:ext uri="{FF2B5EF4-FFF2-40B4-BE49-F238E27FC236}">
                <a16:creationId xmlns:a16="http://schemas.microsoft.com/office/drawing/2014/main" id="{FFE2E943-A498-4D20-BE9E-C771F00C5591}"/>
              </a:ext>
            </a:extLst>
          </p:cNvPr>
          <p:cNvSpPr>
            <a:spLocks noEditPoints="1"/>
          </p:cNvSpPr>
          <p:nvPr/>
        </p:nvSpPr>
        <p:spPr bwMode="auto">
          <a:xfrm>
            <a:off x="6494464" y="4255063"/>
            <a:ext cx="274638" cy="276225"/>
          </a:xfrm>
          <a:custGeom>
            <a:avLst/>
            <a:gdLst>
              <a:gd name="T0" fmla="*/ 526 w 695"/>
              <a:gd name="T1" fmla="*/ 362 h 695"/>
              <a:gd name="T2" fmla="*/ 359 w 695"/>
              <a:gd name="T3" fmla="*/ 362 h 695"/>
              <a:gd name="T4" fmla="*/ 359 w 695"/>
              <a:gd name="T5" fmla="*/ 531 h 695"/>
              <a:gd name="T6" fmla="*/ 359 w 695"/>
              <a:gd name="T7" fmla="*/ 537 h 695"/>
              <a:gd name="T8" fmla="*/ 356 w 695"/>
              <a:gd name="T9" fmla="*/ 540 h 695"/>
              <a:gd name="T10" fmla="*/ 353 w 695"/>
              <a:gd name="T11" fmla="*/ 542 h 695"/>
              <a:gd name="T12" fmla="*/ 348 w 695"/>
              <a:gd name="T13" fmla="*/ 543 h 695"/>
              <a:gd name="T14" fmla="*/ 343 w 695"/>
              <a:gd name="T15" fmla="*/ 542 h 695"/>
              <a:gd name="T16" fmla="*/ 339 w 695"/>
              <a:gd name="T17" fmla="*/ 540 h 695"/>
              <a:gd name="T18" fmla="*/ 337 w 695"/>
              <a:gd name="T19" fmla="*/ 537 h 695"/>
              <a:gd name="T20" fmla="*/ 336 w 695"/>
              <a:gd name="T21" fmla="*/ 531 h 695"/>
              <a:gd name="T22" fmla="*/ 336 w 695"/>
              <a:gd name="T23" fmla="*/ 362 h 695"/>
              <a:gd name="T24" fmla="*/ 164 w 695"/>
              <a:gd name="T25" fmla="*/ 362 h 695"/>
              <a:gd name="T26" fmla="*/ 158 w 695"/>
              <a:gd name="T27" fmla="*/ 361 h 695"/>
              <a:gd name="T28" fmla="*/ 155 w 695"/>
              <a:gd name="T29" fmla="*/ 359 h 695"/>
              <a:gd name="T30" fmla="*/ 153 w 695"/>
              <a:gd name="T31" fmla="*/ 356 h 695"/>
              <a:gd name="T32" fmla="*/ 152 w 695"/>
              <a:gd name="T33" fmla="*/ 350 h 695"/>
              <a:gd name="T34" fmla="*/ 153 w 695"/>
              <a:gd name="T35" fmla="*/ 346 h 695"/>
              <a:gd name="T36" fmla="*/ 155 w 695"/>
              <a:gd name="T37" fmla="*/ 342 h 695"/>
              <a:gd name="T38" fmla="*/ 158 w 695"/>
              <a:gd name="T39" fmla="*/ 339 h 695"/>
              <a:gd name="T40" fmla="*/ 164 w 695"/>
              <a:gd name="T41" fmla="*/ 339 h 695"/>
              <a:gd name="T42" fmla="*/ 336 w 695"/>
              <a:gd name="T43" fmla="*/ 339 h 695"/>
              <a:gd name="T44" fmla="*/ 336 w 695"/>
              <a:gd name="T45" fmla="*/ 170 h 695"/>
              <a:gd name="T46" fmla="*/ 337 w 695"/>
              <a:gd name="T47" fmla="*/ 165 h 695"/>
              <a:gd name="T48" fmla="*/ 339 w 695"/>
              <a:gd name="T49" fmla="*/ 161 h 695"/>
              <a:gd name="T50" fmla="*/ 343 w 695"/>
              <a:gd name="T51" fmla="*/ 159 h 695"/>
              <a:gd name="T52" fmla="*/ 348 w 695"/>
              <a:gd name="T53" fmla="*/ 158 h 695"/>
              <a:gd name="T54" fmla="*/ 353 w 695"/>
              <a:gd name="T55" fmla="*/ 159 h 695"/>
              <a:gd name="T56" fmla="*/ 356 w 695"/>
              <a:gd name="T57" fmla="*/ 161 h 695"/>
              <a:gd name="T58" fmla="*/ 359 w 695"/>
              <a:gd name="T59" fmla="*/ 165 h 695"/>
              <a:gd name="T60" fmla="*/ 359 w 695"/>
              <a:gd name="T61" fmla="*/ 170 h 695"/>
              <a:gd name="T62" fmla="*/ 359 w 695"/>
              <a:gd name="T63" fmla="*/ 339 h 695"/>
              <a:gd name="T64" fmla="*/ 526 w 695"/>
              <a:gd name="T65" fmla="*/ 339 h 695"/>
              <a:gd name="T66" fmla="*/ 530 w 695"/>
              <a:gd name="T67" fmla="*/ 339 h 695"/>
              <a:gd name="T68" fmla="*/ 535 w 695"/>
              <a:gd name="T69" fmla="*/ 342 h 695"/>
              <a:gd name="T70" fmla="*/ 537 w 695"/>
              <a:gd name="T71" fmla="*/ 346 h 695"/>
              <a:gd name="T72" fmla="*/ 538 w 695"/>
              <a:gd name="T73" fmla="*/ 350 h 695"/>
              <a:gd name="T74" fmla="*/ 537 w 695"/>
              <a:gd name="T75" fmla="*/ 356 h 695"/>
              <a:gd name="T76" fmla="*/ 535 w 695"/>
              <a:gd name="T77" fmla="*/ 359 h 695"/>
              <a:gd name="T78" fmla="*/ 530 w 695"/>
              <a:gd name="T79" fmla="*/ 361 h 695"/>
              <a:gd name="T80" fmla="*/ 526 w 695"/>
              <a:gd name="T81" fmla="*/ 362 h 695"/>
              <a:gd name="T82" fmla="*/ 683 w 695"/>
              <a:gd name="T83" fmla="*/ 0 h 695"/>
              <a:gd name="T84" fmla="*/ 12 w 695"/>
              <a:gd name="T85" fmla="*/ 0 h 695"/>
              <a:gd name="T86" fmla="*/ 8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8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2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2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359" y="362"/>
                </a:lnTo>
                <a:lnTo>
                  <a:pt x="359" y="531"/>
                </a:lnTo>
                <a:lnTo>
                  <a:pt x="359" y="537"/>
                </a:lnTo>
                <a:lnTo>
                  <a:pt x="356" y="540"/>
                </a:lnTo>
                <a:lnTo>
                  <a:pt x="353" y="542"/>
                </a:lnTo>
                <a:lnTo>
                  <a:pt x="348" y="543"/>
                </a:lnTo>
                <a:lnTo>
                  <a:pt x="343" y="542"/>
                </a:lnTo>
                <a:lnTo>
                  <a:pt x="339" y="540"/>
                </a:lnTo>
                <a:lnTo>
                  <a:pt x="337" y="537"/>
                </a:lnTo>
                <a:lnTo>
                  <a:pt x="336" y="531"/>
                </a:lnTo>
                <a:lnTo>
                  <a:pt x="336" y="362"/>
                </a:lnTo>
                <a:lnTo>
                  <a:pt x="164" y="362"/>
                </a:lnTo>
                <a:lnTo>
                  <a:pt x="158" y="361"/>
                </a:lnTo>
                <a:lnTo>
                  <a:pt x="155" y="359"/>
                </a:lnTo>
                <a:lnTo>
                  <a:pt x="153" y="356"/>
                </a:lnTo>
                <a:lnTo>
                  <a:pt x="152" y="350"/>
                </a:lnTo>
                <a:lnTo>
                  <a:pt x="153" y="346"/>
                </a:lnTo>
                <a:lnTo>
                  <a:pt x="155" y="342"/>
                </a:lnTo>
                <a:lnTo>
                  <a:pt x="158" y="339"/>
                </a:lnTo>
                <a:lnTo>
                  <a:pt x="164" y="339"/>
                </a:lnTo>
                <a:lnTo>
                  <a:pt x="336" y="339"/>
                </a:lnTo>
                <a:lnTo>
                  <a:pt x="336" y="170"/>
                </a:lnTo>
                <a:lnTo>
                  <a:pt x="337" y="165"/>
                </a:lnTo>
                <a:lnTo>
                  <a:pt x="339" y="161"/>
                </a:lnTo>
                <a:lnTo>
                  <a:pt x="343" y="159"/>
                </a:lnTo>
                <a:lnTo>
                  <a:pt x="348" y="158"/>
                </a:lnTo>
                <a:lnTo>
                  <a:pt x="353" y="159"/>
                </a:lnTo>
                <a:lnTo>
                  <a:pt x="356" y="161"/>
                </a:lnTo>
                <a:lnTo>
                  <a:pt x="359" y="165"/>
                </a:lnTo>
                <a:lnTo>
                  <a:pt x="359" y="170"/>
                </a:lnTo>
                <a:lnTo>
                  <a:pt x="359" y="339"/>
                </a:lnTo>
                <a:lnTo>
                  <a:pt x="526" y="339"/>
                </a:lnTo>
                <a:lnTo>
                  <a:pt x="530" y="339"/>
                </a:lnTo>
                <a:lnTo>
                  <a:pt x="535" y="342"/>
                </a:lnTo>
                <a:lnTo>
                  <a:pt x="537" y="346"/>
                </a:lnTo>
                <a:lnTo>
                  <a:pt x="538" y="350"/>
                </a:lnTo>
                <a:lnTo>
                  <a:pt x="537" y="356"/>
                </a:lnTo>
                <a:lnTo>
                  <a:pt x="535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8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8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2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2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Freeform 1839">
            <a:extLst>
              <a:ext uri="{FF2B5EF4-FFF2-40B4-BE49-F238E27FC236}">
                <a16:creationId xmlns:a16="http://schemas.microsoft.com/office/drawing/2014/main" id="{4A88505C-AA73-49AF-B4F6-4C3D28A9E8A4}"/>
              </a:ext>
            </a:extLst>
          </p:cNvPr>
          <p:cNvSpPr>
            <a:spLocks noEditPoints="1"/>
          </p:cNvSpPr>
          <p:nvPr/>
        </p:nvSpPr>
        <p:spPr bwMode="auto">
          <a:xfrm>
            <a:off x="7703738" y="3762408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Freeform 1837">
            <a:extLst>
              <a:ext uri="{FF2B5EF4-FFF2-40B4-BE49-F238E27FC236}">
                <a16:creationId xmlns:a16="http://schemas.microsoft.com/office/drawing/2014/main" id="{E9C71F50-D356-483C-8A21-1171522A544C}"/>
              </a:ext>
            </a:extLst>
          </p:cNvPr>
          <p:cNvSpPr>
            <a:spLocks noEditPoints="1"/>
          </p:cNvSpPr>
          <p:nvPr/>
        </p:nvSpPr>
        <p:spPr bwMode="auto">
          <a:xfrm>
            <a:off x="7704531" y="5251728"/>
            <a:ext cx="274638" cy="276225"/>
          </a:xfrm>
          <a:custGeom>
            <a:avLst/>
            <a:gdLst>
              <a:gd name="T0" fmla="*/ 526 w 695"/>
              <a:gd name="T1" fmla="*/ 362 h 695"/>
              <a:gd name="T2" fmla="*/ 359 w 695"/>
              <a:gd name="T3" fmla="*/ 362 h 695"/>
              <a:gd name="T4" fmla="*/ 359 w 695"/>
              <a:gd name="T5" fmla="*/ 531 h 695"/>
              <a:gd name="T6" fmla="*/ 359 w 695"/>
              <a:gd name="T7" fmla="*/ 537 h 695"/>
              <a:gd name="T8" fmla="*/ 356 w 695"/>
              <a:gd name="T9" fmla="*/ 540 h 695"/>
              <a:gd name="T10" fmla="*/ 353 w 695"/>
              <a:gd name="T11" fmla="*/ 542 h 695"/>
              <a:gd name="T12" fmla="*/ 348 w 695"/>
              <a:gd name="T13" fmla="*/ 543 h 695"/>
              <a:gd name="T14" fmla="*/ 343 w 695"/>
              <a:gd name="T15" fmla="*/ 542 h 695"/>
              <a:gd name="T16" fmla="*/ 339 w 695"/>
              <a:gd name="T17" fmla="*/ 540 h 695"/>
              <a:gd name="T18" fmla="*/ 337 w 695"/>
              <a:gd name="T19" fmla="*/ 537 h 695"/>
              <a:gd name="T20" fmla="*/ 336 w 695"/>
              <a:gd name="T21" fmla="*/ 531 h 695"/>
              <a:gd name="T22" fmla="*/ 336 w 695"/>
              <a:gd name="T23" fmla="*/ 362 h 695"/>
              <a:gd name="T24" fmla="*/ 164 w 695"/>
              <a:gd name="T25" fmla="*/ 362 h 695"/>
              <a:gd name="T26" fmla="*/ 158 w 695"/>
              <a:gd name="T27" fmla="*/ 361 h 695"/>
              <a:gd name="T28" fmla="*/ 155 w 695"/>
              <a:gd name="T29" fmla="*/ 359 h 695"/>
              <a:gd name="T30" fmla="*/ 153 w 695"/>
              <a:gd name="T31" fmla="*/ 356 h 695"/>
              <a:gd name="T32" fmla="*/ 152 w 695"/>
              <a:gd name="T33" fmla="*/ 350 h 695"/>
              <a:gd name="T34" fmla="*/ 153 w 695"/>
              <a:gd name="T35" fmla="*/ 346 h 695"/>
              <a:gd name="T36" fmla="*/ 155 w 695"/>
              <a:gd name="T37" fmla="*/ 342 h 695"/>
              <a:gd name="T38" fmla="*/ 158 w 695"/>
              <a:gd name="T39" fmla="*/ 339 h 695"/>
              <a:gd name="T40" fmla="*/ 164 w 695"/>
              <a:gd name="T41" fmla="*/ 339 h 695"/>
              <a:gd name="T42" fmla="*/ 336 w 695"/>
              <a:gd name="T43" fmla="*/ 339 h 695"/>
              <a:gd name="T44" fmla="*/ 336 w 695"/>
              <a:gd name="T45" fmla="*/ 170 h 695"/>
              <a:gd name="T46" fmla="*/ 337 w 695"/>
              <a:gd name="T47" fmla="*/ 165 h 695"/>
              <a:gd name="T48" fmla="*/ 339 w 695"/>
              <a:gd name="T49" fmla="*/ 161 h 695"/>
              <a:gd name="T50" fmla="*/ 343 w 695"/>
              <a:gd name="T51" fmla="*/ 159 h 695"/>
              <a:gd name="T52" fmla="*/ 348 w 695"/>
              <a:gd name="T53" fmla="*/ 158 h 695"/>
              <a:gd name="T54" fmla="*/ 353 w 695"/>
              <a:gd name="T55" fmla="*/ 159 h 695"/>
              <a:gd name="T56" fmla="*/ 356 w 695"/>
              <a:gd name="T57" fmla="*/ 161 h 695"/>
              <a:gd name="T58" fmla="*/ 359 w 695"/>
              <a:gd name="T59" fmla="*/ 165 h 695"/>
              <a:gd name="T60" fmla="*/ 359 w 695"/>
              <a:gd name="T61" fmla="*/ 170 h 695"/>
              <a:gd name="T62" fmla="*/ 359 w 695"/>
              <a:gd name="T63" fmla="*/ 339 h 695"/>
              <a:gd name="T64" fmla="*/ 526 w 695"/>
              <a:gd name="T65" fmla="*/ 339 h 695"/>
              <a:gd name="T66" fmla="*/ 530 w 695"/>
              <a:gd name="T67" fmla="*/ 339 h 695"/>
              <a:gd name="T68" fmla="*/ 535 w 695"/>
              <a:gd name="T69" fmla="*/ 342 h 695"/>
              <a:gd name="T70" fmla="*/ 537 w 695"/>
              <a:gd name="T71" fmla="*/ 346 h 695"/>
              <a:gd name="T72" fmla="*/ 538 w 695"/>
              <a:gd name="T73" fmla="*/ 350 h 695"/>
              <a:gd name="T74" fmla="*/ 537 w 695"/>
              <a:gd name="T75" fmla="*/ 356 h 695"/>
              <a:gd name="T76" fmla="*/ 535 w 695"/>
              <a:gd name="T77" fmla="*/ 359 h 695"/>
              <a:gd name="T78" fmla="*/ 530 w 695"/>
              <a:gd name="T79" fmla="*/ 361 h 695"/>
              <a:gd name="T80" fmla="*/ 526 w 695"/>
              <a:gd name="T81" fmla="*/ 362 h 695"/>
              <a:gd name="T82" fmla="*/ 683 w 695"/>
              <a:gd name="T83" fmla="*/ 0 h 695"/>
              <a:gd name="T84" fmla="*/ 12 w 695"/>
              <a:gd name="T85" fmla="*/ 0 h 695"/>
              <a:gd name="T86" fmla="*/ 8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8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2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2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359" y="362"/>
                </a:lnTo>
                <a:lnTo>
                  <a:pt x="359" y="531"/>
                </a:lnTo>
                <a:lnTo>
                  <a:pt x="359" y="537"/>
                </a:lnTo>
                <a:lnTo>
                  <a:pt x="356" y="540"/>
                </a:lnTo>
                <a:lnTo>
                  <a:pt x="353" y="542"/>
                </a:lnTo>
                <a:lnTo>
                  <a:pt x="348" y="543"/>
                </a:lnTo>
                <a:lnTo>
                  <a:pt x="343" y="542"/>
                </a:lnTo>
                <a:lnTo>
                  <a:pt x="339" y="540"/>
                </a:lnTo>
                <a:lnTo>
                  <a:pt x="337" y="537"/>
                </a:lnTo>
                <a:lnTo>
                  <a:pt x="336" y="531"/>
                </a:lnTo>
                <a:lnTo>
                  <a:pt x="336" y="362"/>
                </a:lnTo>
                <a:lnTo>
                  <a:pt x="164" y="362"/>
                </a:lnTo>
                <a:lnTo>
                  <a:pt x="158" y="361"/>
                </a:lnTo>
                <a:lnTo>
                  <a:pt x="155" y="359"/>
                </a:lnTo>
                <a:lnTo>
                  <a:pt x="153" y="356"/>
                </a:lnTo>
                <a:lnTo>
                  <a:pt x="152" y="350"/>
                </a:lnTo>
                <a:lnTo>
                  <a:pt x="153" y="346"/>
                </a:lnTo>
                <a:lnTo>
                  <a:pt x="155" y="342"/>
                </a:lnTo>
                <a:lnTo>
                  <a:pt x="158" y="339"/>
                </a:lnTo>
                <a:lnTo>
                  <a:pt x="164" y="339"/>
                </a:lnTo>
                <a:lnTo>
                  <a:pt x="336" y="339"/>
                </a:lnTo>
                <a:lnTo>
                  <a:pt x="336" y="170"/>
                </a:lnTo>
                <a:lnTo>
                  <a:pt x="337" y="165"/>
                </a:lnTo>
                <a:lnTo>
                  <a:pt x="339" y="161"/>
                </a:lnTo>
                <a:lnTo>
                  <a:pt x="343" y="159"/>
                </a:lnTo>
                <a:lnTo>
                  <a:pt x="348" y="158"/>
                </a:lnTo>
                <a:lnTo>
                  <a:pt x="353" y="159"/>
                </a:lnTo>
                <a:lnTo>
                  <a:pt x="356" y="161"/>
                </a:lnTo>
                <a:lnTo>
                  <a:pt x="359" y="165"/>
                </a:lnTo>
                <a:lnTo>
                  <a:pt x="359" y="170"/>
                </a:lnTo>
                <a:lnTo>
                  <a:pt x="359" y="339"/>
                </a:lnTo>
                <a:lnTo>
                  <a:pt x="526" y="339"/>
                </a:lnTo>
                <a:lnTo>
                  <a:pt x="530" y="339"/>
                </a:lnTo>
                <a:lnTo>
                  <a:pt x="535" y="342"/>
                </a:lnTo>
                <a:lnTo>
                  <a:pt x="537" y="346"/>
                </a:lnTo>
                <a:lnTo>
                  <a:pt x="538" y="350"/>
                </a:lnTo>
                <a:lnTo>
                  <a:pt x="537" y="356"/>
                </a:lnTo>
                <a:lnTo>
                  <a:pt x="535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8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8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2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2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1837">
            <a:extLst>
              <a:ext uri="{FF2B5EF4-FFF2-40B4-BE49-F238E27FC236}">
                <a16:creationId xmlns:a16="http://schemas.microsoft.com/office/drawing/2014/main" id="{2618F559-6BD9-489C-9A0E-3CE3EEE0071D}"/>
              </a:ext>
            </a:extLst>
          </p:cNvPr>
          <p:cNvSpPr>
            <a:spLocks noEditPoints="1"/>
          </p:cNvSpPr>
          <p:nvPr/>
        </p:nvSpPr>
        <p:spPr bwMode="auto">
          <a:xfrm>
            <a:off x="8787207" y="4255063"/>
            <a:ext cx="274638" cy="276225"/>
          </a:xfrm>
          <a:custGeom>
            <a:avLst/>
            <a:gdLst>
              <a:gd name="T0" fmla="*/ 526 w 695"/>
              <a:gd name="T1" fmla="*/ 362 h 695"/>
              <a:gd name="T2" fmla="*/ 359 w 695"/>
              <a:gd name="T3" fmla="*/ 362 h 695"/>
              <a:gd name="T4" fmla="*/ 359 w 695"/>
              <a:gd name="T5" fmla="*/ 531 h 695"/>
              <a:gd name="T6" fmla="*/ 359 w 695"/>
              <a:gd name="T7" fmla="*/ 537 h 695"/>
              <a:gd name="T8" fmla="*/ 356 w 695"/>
              <a:gd name="T9" fmla="*/ 540 h 695"/>
              <a:gd name="T10" fmla="*/ 353 w 695"/>
              <a:gd name="T11" fmla="*/ 542 h 695"/>
              <a:gd name="T12" fmla="*/ 348 w 695"/>
              <a:gd name="T13" fmla="*/ 543 h 695"/>
              <a:gd name="T14" fmla="*/ 343 w 695"/>
              <a:gd name="T15" fmla="*/ 542 h 695"/>
              <a:gd name="T16" fmla="*/ 339 w 695"/>
              <a:gd name="T17" fmla="*/ 540 h 695"/>
              <a:gd name="T18" fmla="*/ 337 w 695"/>
              <a:gd name="T19" fmla="*/ 537 h 695"/>
              <a:gd name="T20" fmla="*/ 336 w 695"/>
              <a:gd name="T21" fmla="*/ 531 h 695"/>
              <a:gd name="T22" fmla="*/ 336 w 695"/>
              <a:gd name="T23" fmla="*/ 362 h 695"/>
              <a:gd name="T24" fmla="*/ 164 w 695"/>
              <a:gd name="T25" fmla="*/ 362 h 695"/>
              <a:gd name="T26" fmla="*/ 158 w 695"/>
              <a:gd name="T27" fmla="*/ 361 h 695"/>
              <a:gd name="T28" fmla="*/ 155 w 695"/>
              <a:gd name="T29" fmla="*/ 359 h 695"/>
              <a:gd name="T30" fmla="*/ 153 w 695"/>
              <a:gd name="T31" fmla="*/ 356 h 695"/>
              <a:gd name="T32" fmla="*/ 152 w 695"/>
              <a:gd name="T33" fmla="*/ 350 h 695"/>
              <a:gd name="T34" fmla="*/ 153 w 695"/>
              <a:gd name="T35" fmla="*/ 346 h 695"/>
              <a:gd name="T36" fmla="*/ 155 w 695"/>
              <a:gd name="T37" fmla="*/ 342 h 695"/>
              <a:gd name="T38" fmla="*/ 158 w 695"/>
              <a:gd name="T39" fmla="*/ 339 h 695"/>
              <a:gd name="T40" fmla="*/ 164 w 695"/>
              <a:gd name="T41" fmla="*/ 339 h 695"/>
              <a:gd name="T42" fmla="*/ 336 w 695"/>
              <a:gd name="T43" fmla="*/ 339 h 695"/>
              <a:gd name="T44" fmla="*/ 336 w 695"/>
              <a:gd name="T45" fmla="*/ 170 h 695"/>
              <a:gd name="T46" fmla="*/ 337 w 695"/>
              <a:gd name="T47" fmla="*/ 165 h 695"/>
              <a:gd name="T48" fmla="*/ 339 w 695"/>
              <a:gd name="T49" fmla="*/ 161 h 695"/>
              <a:gd name="T50" fmla="*/ 343 w 695"/>
              <a:gd name="T51" fmla="*/ 159 h 695"/>
              <a:gd name="T52" fmla="*/ 348 w 695"/>
              <a:gd name="T53" fmla="*/ 158 h 695"/>
              <a:gd name="T54" fmla="*/ 353 w 695"/>
              <a:gd name="T55" fmla="*/ 159 h 695"/>
              <a:gd name="T56" fmla="*/ 356 w 695"/>
              <a:gd name="T57" fmla="*/ 161 h 695"/>
              <a:gd name="T58" fmla="*/ 359 w 695"/>
              <a:gd name="T59" fmla="*/ 165 h 695"/>
              <a:gd name="T60" fmla="*/ 359 w 695"/>
              <a:gd name="T61" fmla="*/ 170 h 695"/>
              <a:gd name="T62" fmla="*/ 359 w 695"/>
              <a:gd name="T63" fmla="*/ 339 h 695"/>
              <a:gd name="T64" fmla="*/ 526 w 695"/>
              <a:gd name="T65" fmla="*/ 339 h 695"/>
              <a:gd name="T66" fmla="*/ 530 w 695"/>
              <a:gd name="T67" fmla="*/ 339 h 695"/>
              <a:gd name="T68" fmla="*/ 535 w 695"/>
              <a:gd name="T69" fmla="*/ 342 h 695"/>
              <a:gd name="T70" fmla="*/ 537 w 695"/>
              <a:gd name="T71" fmla="*/ 346 h 695"/>
              <a:gd name="T72" fmla="*/ 538 w 695"/>
              <a:gd name="T73" fmla="*/ 350 h 695"/>
              <a:gd name="T74" fmla="*/ 537 w 695"/>
              <a:gd name="T75" fmla="*/ 356 h 695"/>
              <a:gd name="T76" fmla="*/ 535 w 695"/>
              <a:gd name="T77" fmla="*/ 359 h 695"/>
              <a:gd name="T78" fmla="*/ 530 w 695"/>
              <a:gd name="T79" fmla="*/ 361 h 695"/>
              <a:gd name="T80" fmla="*/ 526 w 695"/>
              <a:gd name="T81" fmla="*/ 362 h 695"/>
              <a:gd name="T82" fmla="*/ 683 w 695"/>
              <a:gd name="T83" fmla="*/ 0 h 695"/>
              <a:gd name="T84" fmla="*/ 12 w 695"/>
              <a:gd name="T85" fmla="*/ 0 h 695"/>
              <a:gd name="T86" fmla="*/ 8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8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2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2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359" y="362"/>
                </a:lnTo>
                <a:lnTo>
                  <a:pt x="359" y="531"/>
                </a:lnTo>
                <a:lnTo>
                  <a:pt x="359" y="537"/>
                </a:lnTo>
                <a:lnTo>
                  <a:pt x="356" y="540"/>
                </a:lnTo>
                <a:lnTo>
                  <a:pt x="353" y="542"/>
                </a:lnTo>
                <a:lnTo>
                  <a:pt x="348" y="543"/>
                </a:lnTo>
                <a:lnTo>
                  <a:pt x="343" y="542"/>
                </a:lnTo>
                <a:lnTo>
                  <a:pt x="339" y="540"/>
                </a:lnTo>
                <a:lnTo>
                  <a:pt x="337" y="537"/>
                </a:lnTo>
                <a:lnTo>
                  <a:pt x="336" y="531"/>
                </a:lnTo>
                <a:lnTo>
                  <a:pt x="336" y="362"/>
                </a:lnTo>
                <a:lnTo>
                  <a:pt x="164" y="362"/>
                </a:lnTo>
                <a:lnTo>
                  <a:pt x="158" y="361"/>
                </a:lnTo>
                <a:lnTo>
                  <a:pt x="155" y="359"/>
                </a:lnTo>
                <a:lnTo>
                  <a:pt x="153" y="356"/>
                </a:lnTo>
                <a:lnTo>
                  <a:pt x="152" y="350"/>
                </a:lnTo>
                <a:lnTo>
                  <a:pt x="153" y="346"/>
                </a:lnTo>
                <a:lnTo>
                  <a:pt x="155" y="342"/>
                </a:lnTo>
                <a:lnTo>
                  <a:pt x="158" y="339"/>
                </a:lnTo>
                <a:lnTo>
                  <a:pt x="164" y="339"/>
                </a:lnTo>
                <a:lnTo>
                  <a:pt x="336" y="339"/>
                </a:lnTo>
                <a:lnTo>
                  <a:pt x="336" y="170"/>
                </a:lnTo>
                <a:lnTo>
                  <a:pt x="337" y="165"/>
                </a:lnTo>
                <a:lnTo>
                  <a:pt x="339" y="161"/>
                </a:lnTo>
                <a:lnTo>
                  <a:pt x="343" y="159"/>
                </a:lnTo>
                <a:lnTo>
                  <a:pt x="348" y="158"/>
                </a:lnTo>
                <a:lnTo>
                  <a:pt x="353" y="159"/>
                </a:lnTo>
                <a:lnTo>
                  <a:pt x="356" y="161"/>
                </a:lnTo>
                <a:lnTo>
                  <a:pt x="359" y="165"/>
                </a:lnTo>
                <a:lnTo>
                  <a:pt x="359" y="170"/>
                </a:lnTo>
                <a:lnTo>
                  <a:pt x="359" y="339"/>
                </a:lnTo>
                <a:lnTo>
                  <a:pt x="526" y="339"/>
                </a:lnTo>
                <a:lnTo>
                  <a:pt x="530" y="339"/>
                </a:lnTo>
                <a:lnTo>
                  <a:pt x="535" y="342"/>
                </a:lnTo>
                <a:lnTo>
                  <a:pt x="537" y="346"/>
                </a:lnTo>
                <a:lnTo>
                  <a:pt x="538" y="350"/>
                </a:lnTo>
                <a:lnTo>
                  <a:pt x="537" y="356"/>
                </a:lnTo>
                <a:lnTo>
                  <a:pt x="535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8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8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2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2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Freeform 1837">
            <a:extLst>
              <a:ext uri="{FF2B5EF4-FFF2-40B4-BE49-F238E27FC236}">
                <a16:creationId xmlns:a16="http://schemas.microsoft.com/office/drawing/2014/main" id="{AEE0D737-B4C4-431A-89BA-171AB180992D}"/>
              </a:ext>
            </a:extLst>
          </p:cNvPr>
          <p:cNvSpPr>
            <a:spLocks noEditPoints="1"/>
          </p:cNvSpPr>
          <p:nvPr/>
        </p:nvSpPr>
        <p:spPr bwMode="auto">
          <a:xfrm>
            <a:off x="9900044" y="5735010"/>
            <a:ext cx="274638" cy="276225"/>
          </a:xfrm>
          <a:custGeom>
            <a:avLst/>
            <a:gdLst>
              <a:gd name="T0" fmla="*/ 526 w 695"/>
              <a:gd name="T1" fmla="*/ 362 h 695"/>
              <a:gd name="T2" fmla="*/ 359 w 695"/>
              <a:gd name="T3" fmla="*/ 362 h 695"/>
              <a:gd name="T4" fmla="*/ 359 w 695"/>
              <a:gd name="T5" fmla="*/ 531 h 695"/>
              <a:gd name="T6" fmla="*/ 359 w 695"/>
              <a:gd name="T7" fmla="*/ 537 h 695"/>
              <a:gd name="T8" fmla="*/ 356 w 695"/>
              <a:gd name="T9" fmla="*/ 540 h 695"/>
              <a:gd name="T10" fmla="*/ 353 w 695"/>
              <a:gd name="T11" fmla="*/ 542 h 695"/>
              <a:gd name="T12" fmla="*/ 348 w 695"/>
              <a:gd name="T13" fmla="*/ 543 h 695"/>
              <a:gd name="T14" fmla="*/ 343 w 695"/>
              <a:gd name="T15" fmla="*/ 542 h 695"/>
              <a:gd name="T16" fmla="*/ 339 w 695"/>
              <a:gd name="T17" fmla="*/ 540 h 695"/>
              <a:gd name="T18" fmla="*/ 337 w 695"/>
              <a:gd name="T19" fmla="*/ 537 h 695"/>
              <a:gd name="T20" fmla="*/ 336 w 695"/>
              <a:gd name="T21" fmla="*/ 531 h 695"/>
              <a:gd name="T22" fmla="*/ 336 w 695"/>
              <a:gd name="T23" fmla="*/ 362 h 695"/>
              <a:gd name="T24" fmla="*/ 164 w 695"/>
              <a:gd name="T25" fmla="*/ 362 h 695"/>
              <a:gd name="T26" fmla="*/ 158 w 695"/>
              <a:gd name="T27" fmla="*/ 361 h 695"/>
              <a:gd name="T28" fmla="*/ 155 w 695"/>
              <a:gd name="T29" fmla="*/ 359 h 695"/>
              <a:gd name="T30" fmla="*/ 153 w 695"/>
              <a:gd name="T31" fmla="*/ 356 h 695"/>
              <a:gd name="T32" fmla="*/ 152 w 695"/>
              <a:gd name="T33" fmla="*/ 350 h 695"/>
              <a:gd name="T34" fmla="*/ 153 w 695"/>
              <a:gd name="T35" fmla="*/ 346 h 695"/>
              <a:gd name="T36" fmla="*/ 155 w 695"/>
              <a:gd name="T37" fmla="*/ 342 h 695"/>
              <a:gd name="T38" fmla="*/ 158 w 695"/>
              <a:gd name="T39" fmla="*/ 339 h 695"/>
              <a:gd name="T40" fmla="*/ 164 w 695"/>
              <a:gd name="T41" fmla="*/ 339 h 695"/>
              <a:gd name="T42" fmla="*/ 336 w 695"/>
              <a:gd name="T43" fmla="*/ 339 h 695"/>
              <a:gd name="T44" fmla="*/ 336 w 695"/>
              <a:gd name="T45" fmla="*/ 170 h 695"/>
              <a:gd name="T46" fmla="*/ 337 w 695"/>
              <a:gd name="T47" fmla="*/ 165 h 695"/>
              <a:gd name="T48" fmla="*/ 339 w 695"/>
              <a:gd name="T49" fmla="*/ 161 h 695"/>
              <a:gd name="T50" fmla="*/ 343 w 695"/>
              <a:gd name="T51" fmla="*/ 159 h 695"/>
              <a:gd name="T52" fmla="*/ 348 w 695"/>
              <a:gd name="T53" fmla="*/ 158 h 695"/>
              <a:gd name="T54" fmla="*/ 353 w 695"/>
              <a:gd name="T55" fmla="*/ 159 h 695"/>
              <a:gd name="T56" fmla="*/ 356 w 695"/>
              <a:gd name="T57" fmla="*/ 161 h 695"/>
              <a:gd name="T58" fmla="*/ 359 w 695"/>
              <a:gd name="T59" fmla="*/ 165 h 695"/>
              <a:gd name="T60" fmla="*/ 359 w 695"/>
              <a:gd name="T61" fmla="*/ 170 h 695"/>
              <a:gd name="T62" fmla="*/ 359 w 695"/>
              <a:gd name="T63" fmla="*/ 339 h 695"/>
              <a:gd name="T64" fmla="*/ 526 w 695"/>
              <a:gd name="T65" fmla="*/ 339 h 695"/>
              <a:gd name="T66" fmla="*/ 530 w 695"/>
              <a:gd name="T67" fmla="*/ 339 h 695"/>
              <a:gd name="T68" fmla="*/ 535 w 695"/>
              <a:gd name="T69" fmla="*/ 342 h 695"/>
              <a:gd name="T70" fmla="*/ 537 w 695"/>
              <a:gd name="T71" fmla="*/ 346 h 695"/>
              <a:gd name="T72" fmla="*/ 538 w 695"/>
              <a:gd name="T73" fmla="*/ 350 h 695"/>
              <a:gd name="T74" fmla="*/ 537 w 695"/>
              <a:gd name="T75" fmla="*/ 356 h 695"/>
              <a:gd name="T76" fmla="*/ 535 w 695"/>
              <a:gd name="T77" fmla="*/ 359 h 695"/>
              <a:gd name="T78" fmla="*/ 530 w 695"/>
              <a:gd name="T79" fmla="*/ 361 h 695"/>
              <a:gd name="T80" fmla="*/ 526 w 695"/>
              <a:gd name="T81" fmla="*/ 362 h 695"/>
              <a:gd name="T82" fmla="*/ 683 w 695"/>
              <a:gd name="T83" fmla="*/ 0 h 695"/>
              <a:gd name="T84" fmla="*/ 12 w 695"/>
              <a:gd name="T85" fmla="*/ 0 h 695"/>
              <a:gd name="T86" fmla="*/ 8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8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2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2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526" y="362"/>
                </a:moveTo>
                <a:lnTo>
                  <a:pt x="359" y="362"/>
                </a:lnTo>
                <a:lnTo>
                  <a:pt x="359" y="531"/>
                </a:lnTo>
                <a:lnTo>
                  <a:pt x="359" y="537"/>
                </a:lnTo>
                <a:lnTo>
                  <a:pt x="356" y="540"/>
                </a:lnTo>
                <a:lnTo>
                  <a:pt x="353" y="542"/>
                </a:lnTo>
                <a:lnTo>
                  <a:pt x="348" y="543"/>
                </a:lnTo>
                <a:lnTo>
                  <a:pt x="343" y="542"/>
                </a:lnTo>
                <a:lnTo>
                  <a:pt x="339" y="540"/>
                </a:lnTo>
                <a:lnTo>
                  <a:pt x="337" y="537"/>
                </a:lnTo>
                <a:lnTo>
                  <a:pt x="336" y="531"/>
                </a:lnTo>
                <a:lnTo>
                  <a:pt x="336" y="362"/>
                </a:lnTo>
                <a:lnTo>
                  <a:pt x="164" y="362"/>
                </a:lnTo>
                <a:lnTo>
                  <a:pt x="158" y="361"/>
                </a:lnTo>
                <a:lnTo>
                  <a:pt x="155" y="359"/>
                </a:lnTo>
                <a:lnTo>
                  <a:pt x="153" y="356"/>
                </a:lnTo>
                <a:lnTo>
                  <a:pt x="152" y="350"/>
                </a:lnTo>
                <a:lnTo>
                  <a:pt x="153" y="346"/>
                </a:lnTo>
                <a:lnTo>
                  <a:pt x="155" y="342"/>
                </a:lnTo>
                <a:lnTo>
                  <a:pt x="158" y="339"/>
                </a:lnTo>
                <a:lnTo>
                  <a:pt x="164" y="339"/>
                </a:lnTo>
                <a:lnTo>
                  <a:pt x="336" y="339"/>
                </a:lnTo>
                <a:lnTo>
                  <a:pt x="336" y="170"/>
                </a:lnTo>
                <a:lnTo>
                  <a:pt x="337" y="165"/>
                </a:lnTo>
                <a:lnTo>
                  <a:pt x="339" y="161"/>
                </a:lnTo>
                <a:lnTo>
                  <a:pt x="343" y="159"/>
                </a:lnTo>
                <a:lnTo>
                  <a:pt x="348" y="158"/>
                </a:lnTo>
                <a:lnTo>
                  <a:pt x="353" y="159"/>
                </a:lnTo>
                <a:lnTo>
                  <a:pt x="356" y="161"/>
                </a:lnTo>
                <a:lnTo>
                  <a:pt x="359" y="165"/>
                </a:lnTo>
                <a:lnTo>
                  <a:pt x="359" y="170"/>
                </a:lnTo>
                <a:lnTo>
                  <a:pt x="359" y="339"/>
                </a:lnTo>
                <a:lnTo>
                  <a:pt x="526" y="339"/>
                </a:lnTo>
                <a:lnTo>
                  <a:pt x="530" y="339"/>
                </a:lnTo>
                <a:lnTo>
                  <a:pt x="535" y="342"/>
                </a:lnTo>
                <a:lnTo>
                  <a:pt x="537" y="346"/>
                </a:lnTo>
                <a:lnTo>
                  <a:pt x="538" y="350"/>
                </a:lnTo>
                <a:lnTo>
                  <a:pt x="537" y="356"/>
                </a:lnTo>
                <a:lnTo>
                  <a:pt x="535" y="359"/>
                </a:lnTo>
                <a:lnTo>
                  <a:pt x="530" y="361"/>
                </a:lnTo>
                <a:lnTo>
                  <a:pt x="526" y="362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8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8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2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2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Freeform 1839">
            <a:extLst>
              <a:ext uri="{FF2B5EF4-FFF2-40B4-BE49-F238E27FC236}">
                <a16:creationId xmlns:a16="http://schemas.microsoft.com/office/drawing/2014/main" id="{70C6BB39-7B98-45E4-8485-86565BA7D4A2}"/>
              </a:ext>
            </a:extLst>
          </p:cNvPr>
          <p:cNvSpPr>
            <a:spLocks noEditPoints="1"/>
          </p:cNvSpPr>
          <p:nvPr/>
        </p:nvSpPr>
        <p:spPr bwMode="auto">
          <a:xfrm>
            <a:off x="11058919" y="5251729"/>
            <a:ext cx="276225" cy="276225"/>
          </a:xfrm>
          <a:custGeom>
            <a:avLst/>
            <a:gdLst>
              <a:gd name="T0" fmla="*/ 488 w 695"/>
              <a:gd name="T1" fmla="*/ 471 h 695"/>
              <a:gd name="T2" fmla="*/ 490 w 695"/>
              <a:gd name="T3" fmla="*/ 475 h 695"/>
              <a:gd name="T4" fmla="*/ 491 w 695"/>
              <a:gd name="T5" fmla="*/ 479 h 695"/>
              <a:gd name="T6" fmla="*/ 490 w 695"/>
              <a:gd name="T7" fmla="*/ 484 h 695"/>
              <a:gd name="T8" fmla="*/ 488 w 695"/>
              <a:gd name="T9" fmla="*/ 487 h 695"/>
              <a:gd name="T10" fmla="*/ 483 w 695"/>
              <a:gd name="T11" fmla="*/ 490 h 695"/>
              <a:gd name="T12" fmla="*/ 479 w 695"/>
              <a:gd name="T13" fmla="*/ 490 h 695"/>
              <a:gd name="T14" fmla="*/ 475 w 695"/>
              <a:gd name="T15" fmla="*/ 490 h 695"/>
              <a:gd name="T16" fmla="*/ 471 w 695"/>
              <a:gd name="T17" fmla="*/ 487 h 695"/>
              <a:gd name="T18" fmla="*/ 348 w 695"/>
              <a:gd name="T19" fmla="*/ 365 h 695"/>
              <a:gd name="T20" fmla="*/ 225 w 695"/>
              <a:gd name="T21" fmla="*/ 487 h 695"/>
              <a:gd name="T22" fmla="*/ 221 w 695"/>
              <a:gd name="T23" fmla="*/ 490 h 695"/>
              <a:gd name="T24" fmla="*/ 216 w 695"/>
              <a:gd name="T25" fmla="*/ 490 h 695"/>
              <a:gd name="T26" fmla="*/ 212 w 695"/>
              <a:gd name="T27" fmla="*/ 490 h 695"/>
              <a:gd name="T28" fmla="*/ 207 w 695"/>
              <a:gd name="T29" fmla="*/ 487 h 695"/>
              <a:gd name="T30" fmla="*/ 205 w 695"/>
              <a:gd name="T31" fmla="*/ 483 h 695"/>
              <a:gd name="T32" fmla="*/ 204 w 695"/>
              <a:gd name="T33" fmla="*/ 478 h 695"/>
              <a:gd name="T34" fmla="*/ 205 w 695"/>
              <a:gd name="T35" fmla="*/ 474 h 695"/>
              <a:gd name="T36" fmla="*/ 207 w 695"/>
              <a:gd name="T37" fmla="*/ 471 h 695"/>
              <a:gd name="T38" fmla="*/ 331 w 695"/>
              <a:gd name="T39" fmla="*/ 347 h 695"/>
              <a:gd name="T40" fmla="*/ 207 w 695"/>
              <a:gd name="T41" fmla="*/ 223 h 695"/>
              <a:gd name="T42" fmla="*/ 205 w 695"/>
              <a:gd name="T43" fmla="*/ 220 h 695"/>
              <a:gd name="T44" fmla="*/ 204 w 695"/>
              <a:gd name="T45" fmla="*/ 215 h 695"/>
              <a:gd name="T46" fmla="*/ 205 w 695"/>
              <a:gd name="T47" fmla="*/ 211 h 695"/>
              <a:gd name="T48" fmla="*/ 207 w 695"/>
              <a:gd name="T49" fmla="*/ 207 h 695"/>
              <a:gd name="T50" fmla="*/ 212 w 695"/>
              <a:gd name="T51" fmla="*/ 204 h 695"/>
              <a:gd name="T52" fmla="*/ 216 w 695"/>
              <a:gd name="T53" fmla="*/ 203 h 695"/>
              <a:gd name="T54" fmla="*/ 221 w 695"/>
              <a:gd name="T55" fmla="*/ 204 h 695"/>
              <a:gd name="T56" fmla="*/ 224 w 695"/>
              <a:gd name="T57" fmla="*/ 207 h 695"/>
              <a:gd name="T58" fmla="*/ 348 w 695"/>
              <a:gd name="T59" fmla="*/ 330 h 695"/>
              <a:gd name="T60" fmla="*/ 471 w 695"/>
              <a:gd name="T61" fmla="*/ 207 h 695"/>
              <a:gd name="T62" fmla="*/ 475 w 695"/>
              <a:gd name="T63" fmla="*/ 204 h 695"/>
              <a:gd name="T64" fmla="*/ 479 w 695"/>
              <a:gd name="T65" fmla="*/ 203 h 695"/>
              <a:gd name="T66" fmla="*/ 483 w 695"/>
              <a:gd name="T67" fmla="*/ 204 h 695"/>
              <a:gd name="T68" fmla="*/ 488 w 695"/>
              <a:gd name="T69" fmla="*/ 207 h 695"/>
              <a:gd name="T70" fmla="*/ 490 w 695"/>
              <a:gd name="T71" fmla="*/ 211 h 695"/>
              <a:gd name="T72" fmla="*/ 491 w 695"/>
              <a:gd name="T73" fmla="*/ 215 h 695"/>
              <a:gd name="T74" fmla="*/ 490 w 695"/>
              <a:gd name="T75" fmla="*/ 220 h 695"/>
              <a:gd name="T76" fmla="*/ 488 w 695"/>
              <a:gd name="T77" fmla="*/ 223 h 695"/>
              <a:gd name="T78" fmla="*/ 364 w 695"/>
              <a:gd name="T79" fmla="*/ 347 h 695"/>
              <a:gd name="T80" fmla="*/ 488 w 695"/>
              <a:gd name="T81" fmla="*/ 471 h 695"/>
              <a:gd name="T82" fmla="*/ 683 w 695"/>
              <a:gd name="T83" fmla="*/ 0 h 695"/>
              <a:gd name="T84" fmla="*/ 12 w 695"/>
              <a:gd name="T85" fmla="*/ 0 h 695"/>
              <a:gd name="T86" fmla="*/ 7 w 695"/>
              <a:gd name="T87" fmla="*/ 1 h 695"/>
              <a:gd name="T88" fmla="*/ 4 w 695"/>
              <a:gd name="T89" fmla="*/ 3 h 695"/>
              <a:gd name="T90" fmla="*/ 1 w 695"/>
              <a:gd name="T91" fmla="*/ 7 h 695"/>
              <a:gd name="T92" fmla="*/ 0 w 695"/>
              <a:gd name="T93" fmla="*/ 11 h 695"/>
              <a:gd name="T94" fmla="*/ 0 w 695"/>
              <a:gd name="T95" fmla="*/ 683 h 695"/>
              <a:gd name="T96" fmla="*/ 1 w 695"/>
              <a:gd name="T97" fmla="*/ 687 h 695"/>
              <a:gd name="T98" fmla="*/ 4 w 695"/>
              <a:gd name="T99" fmla="*/ 691 h 695"/>
              <a:gd name="T100" fmla="*/ 7 w 695"/>
              <a:gd name="T101" fmla="*/ 694 h 695"/>
              <a:gd name="T102" fmla="*/ 12 w 695"/>
              <a:gd name="T103" fmla="*/ 695 h 695"/>
              <a:gd name="T104" fmla="*/ 683 w 695"/>
              <a:gd name="T105" fmla="*/ 695 h 695"/>
              <a:gd name="T106" fmla="*/ 688 w 695"/>
              <a:gd name="T107" fmla="*/ 694 h 695"/>
              <a:gd name="T108" fmla="*/ 691 w 695"/>
              <a:gd name="T109" fmla="*/ 691 h 695"/>
              <a:gd name="T110" fmla="*/ 694 w 695"/>
              <a:gd name="T111" fmla="*/ 687 h 695"/>
              <a:gd name="T112" fmla="*/ 695 w 695"/>
              <a:gd name="T113" fmla="*/ 683 h 695"/>
              <a:gd name="T114" fmla="*/ 695 w 695"/>
              <a:gd name="T115" fmla="*/ 11 h 695"/>
              <a:gd name="T116" fmla="*/ 694 w 695"/>
              <a:gd name="T117" fmla="*/ 7 h 695"/>
              <a:gd name="T118" fmla="*/ 691 w 695"/>
              <a:gd name="T119" fmla="*/ 3 h 695"/>
              <a:gd name="T120" fmla="*/ 688 w 695"/>
              <a:gd name="T121" fmla="*/ 1 h 695"/>
              <a:gd name="T122" fmla="*/ 683 w 695"/>
              <a:gd name="T123" fmla="*/ 0 h 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5" h="695">
                <a:moveTo>
                  <a:pt x="488" y="471"/>
                </a:moveTo>
                <a:lnTo>
                  <a:pt x="490" y="475"/>
                </a:lnTo>
                <a:lnTo>
                  <a:pt x="491" y="479"/>
                </a:lnTo>
                <a:lnTo>
                  <a:pt x="490" y="484"/>
                </a:lnTo>
                <a:lnTo>
                  <a:pt x="488" y="487"/>
                </a:lnTo>
                <a:lnTo>
                  <a:pt x="483" y="490"/>
                </a:lnTo>
                <a:lnTo>
                  <a:pt x="479" y="490"/>
                </a:lnTo>
                <a:lnTo>
                  <a:pt x="475" y="490"/>
                </a:lnTo>
                <a:lnTo>
                  <a:pt x="471" y="487"/>
                </a:lnTo>
                <a:lnTo>
                  <a:pt x="348" y="365"/>
                </a:lnTo>
                <a:lnTo>
                  <a:pt x="225" y="487"/>
                </a:lnTo>
                <a:lnTo>
                  <a:pt x="221" y="490"/>
                </a:lnTo>
                <a:lnTo>
                  <a:pt x="216" y="490"/>
                </a:lnTo>
                <a:lnTo>
                  <a:pt x="212" y="490"/>
                </a:lnTo>
                <a:lnTo>
                  <a:pt x="207" y="487"/>
                </a:lnTo>
                <a:lnTo>
                  <a:pt x="205" y="483"/>
                </a:lnTo>
                <a:lnTo>
                  <a:pt x="204" y="478"/>
                </a:lnTo>
                <a:lnTo>
                  <a:pt x="205" y="474"/>
                </a:lnTo>
                <a:lnTo>
                  <a:pt x="207" y="471"/>
                </a:lnTo>
                <a:lnTo>
                  <a:pt x="331" y="347"/>
                </a:lnTo>
                <a:lnTo>
                  <a:pt x="207" y="223"/>
                </a:lnTo>
                <a:lnTo>
                  <a:pt x="205" y="220"/>
                </a:lnTo>
                <a:lnTo>
                  <a:pt x="204" y="215"/>
                </a:lnTo>
                <a:lnTo>
                  <a:pt x="205" y="211"/>
                </a:lnTo>
                <a:lnTo>
                  <a:pt x="207" y="207"/>
                </a:lnTo>
                <a:lnTo>
                  <a:pt x="212" y="204"/>
                </a:lnTo>
                <a:lnTo>
                  <a:pt x="216" y="203"/>
                </a:lnTo>
                <a:lnTo>
                  <a:pt x="221" y="204"/>
                </a:lnTo>
                <a:lnTo>
                  <a:pt x="224" y="207"/>
                </a:lnTo>
                <a:lnTo>
                  <a:pt x="348" y="330"/>
                </a:lnTo>
                <a:lnTo>
                  <a:pt x="471" y="207"/>
                </a:lnTo>
                <a:lnTo>
                  <a:pt x="475" y="204"/>
                </a:lnTo>
                <a:lnTo>
                  <a:pt x="479" y="203"/>
                </a:lnTo>
                <a:lnTo>
                  <a:pt x="483" y="204"/>
                </a:lnTo>
                <a:lnTo>
                  <a:pt x="488" y="207"/>
                </a:lnTo>
                <a:lnTo>
                  <a:pt x="490" y="211"/>
                </a:lnTo>
                <a:lnTo>
                  <a:pt x="491" y="215"/>
                </a:lnTo>
                <a:lnTo>
                  <a:pt x="490" y="220"/>
                </a:lnTo>
                <a:lnTo>
                  <a:pt x="488" y="223"/>
                </a:lnTo>
                <a:lnTo>
                  <a:pt x="364" y="347"/>
                </a:lnTo>
                <a:lnTo>
                  <a:pt x="488" y="471"/>
                </a:lnTo>
                <a:close/>
                <a:moveTo>
                  <a:pt x="683" y="0"/>
                </a:move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1"/>
                </a:lnTo>
                <a:lnTo>
                  <a:pt x="0" y="683"/>
                </a:lnTo>
                <a:lnTo>
                  <a:pt x="1" y="687"/>
                </a:lnTo>
                <a:lnTo>
                  <a:pt x="4" y="691"/>
                </a:lnTo>
                <a:lnTo>
                  <a:pt x="7" y="694"/>
                </a:lnTo>
                <a:lnTo>
                  <a:pt x="12" y="695"/>
                </a:lnTo>
                <a:lnTo>
                  <a:pt x="683" y="695"/>
                </a:lnTo>
                <a:lnTo>
                  <a:pt x="688" y="694"/>
                </a:lnTo>
                <a:lnTo>
                  <a:pt x="691" y="691"/>
                </a:lnTo>
                <a:lnTo>
                  <a:pt x="694" y="687"/>
                </a:lnTo>
                <a:lnTo>
                  <a:pt x="695" y="683"/>
                </a:lnTo>
                <a:lnTo>
                  <a:pt x="695" y="11"/>
                </a:lnTo>
                <a:lnTo>
                  <a:pt x="694" y="7"/>
                </a:lnTo>
                <a:lnTo>
                  <a:pt x="691" y="3"/>
                </a:lnTo>
                <a:lnTo>
                  <a:pt x="688" y="1"/>
                </a:lnTo>
                <a:lnTo>
                  <a:pt x="683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1831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AD9C6A93-F3FF-49A2-9094-512409A956EE}"/>
              </a:ext>
            </a:extLst>
          </p:cNvPr>
          <p:cNvSpPr txBox="1"/>
          <p:nvPr/>
        </p:nvSpPr>
        <p:spPr>
          <a:xfrm>
            <a:off x="2790192" y="2813447"/>
            <a:ext cx="6611616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tx2"/>
                </a:solidFill>
                <a:latin typeface="+mj-lt"/>
              </a:rPr>
              <a:t>THANK YOU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46F1283-61B9-4F2B-A088-A95146CD7AB8}"/>
              </a:ext>
            </a:extLst>
          </p:cNvPr>
          <p:cNvGrpSpPr/>
          <p:nvPr/>
        </p:nvGrpSpPr>
        <p:grpSpPr>
          <a:xfrm>
            <a:off x="5319855" y="4044553"/>
            <a:ext cx="1552291" cy="121183"/>
            <a:chOff x="4665436" y="4689691"/>
            <a:chExt cx="2415114" cy="121183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30B2D80-646F-48DD-80EF-19196ECA967C}"/>
                </a:ext>
              </a:extLst>
            </p:cNvPr>
            <p:cNvSpPr/>
            <p:nvPr/>
          </p:nvSpPr>
          <p:spPr>
            <a:xfrm>
              <a:off x="4665436" y="4689691"/>
              <a:ext cx="1075758" cy="121183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FF49D8CF-16C6-4D37-B8B2-2D247BD76EF5}"/>
                </a:ext>
              </a:extLst>
            </p:cNvPr>
            <p:cNvSpPr/>
            <p:nvPr/>
          </p:nvSpPr>
          <p:spPr>
            <a:xfrm>
              <a:off x="6004792" y="4689691"/>
              <a:ext cx="1075758" cy="121183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0D99B94-BC19-46D7-BAAC-79282D50B758}"/>
              </a:ext>
            </a:extLst>
          </p:cNvPr>
          <p:cNvCxnSpPr/>
          <p:nvPr/>
        </p:nvCxnSpPr>
        <p:spPr>
          <a:xfrm>
            <a:off x="9791700" y="-393700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B67DE17-0B48-428B-9E9F-459594CBBF75}"/>
              </a:ext>
            </a:extLst>
          </p:cNvPr>
          <p:cNvCxnSpPr/>
          <p:nvPr/>
        </p:nvCxnSpPr>
        <p:spPr>
          <a:xfrm>
            <a:off x="8102600" y="-748189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22714C1-5FD3-46AC-80CB-0D26D682DA1C}"/>
              </a:ext>
            </a:extLst>
          </p:cNvPr>
          <p:cNvCxnSpPr/>
          <p:nvPr/>
        </p:nvCxnSpPr>
        <p:spPr>
          <a:xfrm>
            <a:off x="1244600" y="5199181"/>
            <a:ext cx="1689100" cy="168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A996FE5-4469-4F1F-83DB-A256B711536B}"/>
              </a:ext>
            </a:extLst>
          </p:cNvPr>
          <p:cNvCxnSpPr/>
          <p:nvPr/>
        </p:nvCxnSpPr>
        <p:spPr>
          <a:xfrm>
            <a:off x="-444500" y="4844692"/>
            <a:ext cx="16891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ame 19">
            <a:extLst>
              <a:ext uri="{FF2B5EF4-FFF2-40B4-BE49-F238E27FC236}">
                <a16:creationId xmlns:a16="http://schemas.microsoft.com/office/drawing/2014/main" id="{CA97A0FA-C469-4435-BDA8-C9074A8235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34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376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18162A1C-5D5A-4433-8DB2-134D67A3D5CB}"/>
              </a:ext>
            </a:extLst>
          </p:cNvPr>
          <p:cNvGraphicFramePr/>
          <p:nvPr/>
        </p:nvGraphicFramePr>
        <p:xfrm>
          <a:off x="434186" y="2304988"/>
          <a:ext cx="6254275" cy="3347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EB0D3BA2-B43F-482A-8413-36C39E771401}"/>
              </a:ext>
            </a:extLst>
          </p:cNvPr>
          <p:cNvSpPr/>
          <p:nvPr/>
        </p:nvSpPr>
        <p:spPr>
          <a:xfrm>
            <a:off x="304801" y="1638300"/>
            <a:ext cx="6513044" cy="4352915"/>
          </a:xfrm>
          <a:prstGeom prst="rect">
            <a:avLst/>
          </a:prstGeom>
          <a:noFill/>
          <a:ln>
            <a:solidFill>
              <a:srgbClr val="CE29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634A4F9E-61F7-4D26-8491-5F945D5C4E29}"/>
              </a:ext>
            </a:extLst>
          </p:cNvPr>
          <p:cNvSpPr/>
          <p:nvPr/>
        </p:nvSpPr>
        <p:spPr>
          <a:xfrm>
            <a:off x="7156776" y="3203262"/>
            <a:ext cx="482603" cy="482603"/>
          </a:xfrm>
          <a:prstGeom prst="ellipse">
            <a:avLst/>
          </a:prstGeom>
          <a:solidFill>
            <a:srgbClr val="CE295E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47">
            <a:extLst>
              <a:ext uri="{FF2B5EF4-FFF2-40B4-BE49-F238E27FC236}">
                <a16:creationId xmlns:a16="http://schemas.microsoft.com/office/drawing/2014/main" id="{73E51D0F-C13A-4F6C-9EE5-4C796F23FB96}"/>
              </a:ext>
            </a:extLst>
          </p:cNvPr>
          <p:cNvSpPr txBox="1"/>
          <p:nvPr/>
        </p:nvSpPr>
        <p:spPr>
          <a:xfrm>
            <a:off x="7806393" y="3190895"/>
            <a:ext cx="2223432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C09A931-854B-4B37-8A67-C4A960EAA344}"/>
              </a:ext>
            </a:extLst>
          </p:cNvPr>
          <p:cNvGrpSpPr/>
          <p:nvPr/>
        </p:nvGrpSpPr>
        <p:grpSpPr>
          <a:xfrm>
            <a:off x="7806393" y="3551783"/>
            <a:ext cx="3468225" cy="0"/>
            <a:chOff x="5388791" y="1573213"/>
            <a:chExt cx="2917009" cy="0"/>
          </a:xfrm>
        </p:grpSpPr>
        <p:sp>
          <p:nvSpPr>
            <p:cNvPr id="38" name="Line 7">
              <a:extLst>
                <a:ext uri="{FF2B5EF4-FFF2-40B4-BE49-F238E27FC236}">
                  <a16:creationId xmlns:a16="http://schemas.microsoft.com/office/drawing/2014/main" id="{22B7E11D-808D-4182-B244-491256DE8E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8791" y="1573213"/>
              <a:ext cx="2917009" cy="0"/>
            </a:xfrm>
            <a:prstGeom prst="line">
              <a:avLst/>
            </a:prstGeom>
            <a:noFill/>
            <a:ln w="7620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9" name="Line 7">
              <a:extLst>
                <a:ext uri="{FF2B5EF4-FFF2-40B4-BE49-F238E27FC236}">
                  <a16:creationId xmlns:a16="http://schemas.microsoft.com/office/drawing/2014/main" id="{FA2F8884-7496-43BC-B283-17B2238D78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8791" y="1573213"/>
              <a:ext cx="1633515" cy="0"/>
            </a:xfrm>
            <a:prstGeom prst="line">
              <a:avLst/>
            </a:prstGeom>
            <a:noFill/>
            <a:ln w="76200" cap="rnd">
              <a:solidFill>
                <a:srgbClr val="CE295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</p:grpSp>
      <p:sp>
        <p:nvSpPr>
          <p:cNvPr id="37" name="TextBox 57">
            <a:extLst>
              <a:ext uri="{FF2B5EF4-FFF2-40B4-BE49-F238E27FC236}">
                <a16:creationId xmlns:a16="http://schemas.microsoft.com/office/drawing/2014/main" id="{FEFA5DFF-96A6-492A-A4E7-4C845C063B38}"/>
              </a:ext>
            </a:extLst>
          </p:cNvPr>
          <p:cNvSpPr txBox="1"/>
          <p:nvPr/>
        </p:nvSpPr>
        <p:spPr>
          <a:xfrm>
            <a:off x="11390698" y="3359675"/>
            <a:ext cx="534602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0%</a:t>
            </a:r>
          </a:p>
        </p:txBody>
      </p:sp>
      <p:sp>
        <p:nvSpPr>
          <p:cNvPr id="28" name="TextBox 62">
            <a:extLst>
              <a:ext uri="{FF2B5EF4-FFF2-40B4-BE49-F238E27FC236}">
                <a16:creationId xmlns:a16="http://schemas.microsoft.com/office/drawing/2014/main" id="{51659907-07B0-4DB0-8B90-7E72BDBAED3B}"/>
              </a:ext>
            </a:extLst>
          </p:cNvPr>
          <p:cNvSpPr txBox="1"/>
          <p:nvPr/>
        </p:nvSpPr>
        <p:spPr>
          <a:xfrm>
            <a:off x="7806393" y="3862561"/>
            <a:ext cx="2223432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6F03843-249D-4613-A818-1A9BC7E0376F}"/>
              </a:ext>
            </a:extLst>
          </p:cNvPr>
          <p:cNvGrpSpPr/>
          <p:nvPr/>
        </p:nvGrpSpPr>
        <p:grpSpPr>
          <a:xfrm>
            <a:off x="7806393" y="4223449"/>
            <a:ext cx="3468225" cy="0"/>
            <a:chOff x="5388791" y="1573213"/>
            <a:chExt cx="2917009" cy="0"/>
          </a:xfrm>
        </p:grpSpPr>
        <p:sp>
          <p:nvSpPr>
            <p:cNvPr id="32" name="Line 7">
              <a:extLst>
                <a:ext uri="{FF2B5EF4-FFF2-40B4-BE49-F238E27FC236}">
                  <a16:creationId xmlns:a16="http://schemas.microsoft.com/office/drawing/2014/main" id="{E464F7C5-1209-4C6C-B394-90C57173B1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8791" y="1573213"/>
              <a:ext cx="2917009" cy="0"/>
            </a:xfrm>
            <a:prstGeom prst="line">
              <a:avLst/>
            </a:prstGeom>
            <a:noFill/>
            <a:ln w="7620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3" name="Line 7">
              <a:extLst>
                <a:ext uri="{FF2B5EF4-FFF2-40B4-BE49-F238E27FC236}">
                  <a16:creationId xmlns:a16="http://schemas.microsoft.com/office/drawing/2014/main" id="{96F3F53A-5DBD-4553-9C2E-1D5E77F273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8791" y="1573213"/>
              <a:ext cx="2132202" cy="0"/>
            </a:xfrm>
            <a:prstGeom prst="line">
              <a:avLst/>
            </a:prstGeom>
            <a:noFill/>
            <a:ln w="76200" cap="rnd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1" name="TextBox 65">
            <a:extLst>
              <a:ext uri="{FF2B5EF4-FFF2-40B4-BE49-F238E27FC236}">
                <a16:creationId xmlns:a16="http://schemas.microsoft.com/office/drawing/2014/main" id="{FD00F1AC-7614-494E-8F7D-C44FE0ED2873}"/>
              </a:ext>
            </a:extLst>
          </p:cNvPr>
          <p:cNvSpPr txBox="1"/>
          <p:nvPr/>
        </p:nvSpPr>
        <p:spPr>
          <a:xfrm>
            <a:off x="11390698" y="4031341"/>
            <a:ext cx="534602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75%</a:t>
            </a: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B71BA6C7-3C87-4195-B0BB-1626F1A1ADD2}"/>
              </a:ext>
            </a:extLst>
          </p:cNvPr>
          <p:cNvSpPr txBox="1"/>
          <p:nvPr/>
        </p:nvSpPr>
        <p:spPr>
          <a:xfrm>
            <a:off x="7806393" y="4534308"/>
            <a:ext cx="2223432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7C87A94-A79B-4134-80A6-FFF8012F2484}"/>
              </a:ext>
            </a:extLst>
          </p:cNvPr>
          <p:cNvGrpSpPr/>
          <p:nvPr/>
        </p:nvGrpSpPr>
        <p:grpSpPr>
          <a:xfrm>
            <a:off x="7806393" y="4895196"/>
            <a:ext cx="3468225" cy="0"/>
            <a:chOff x="5388791" y="1573213"/>
            <a:chExt cx="2917009" cy="0"/>
          </a:xfrm>
        </p:grpSpPr>
        <p:sp>
          <p:nvSpPr>
            <p:cNvPr id="26" name="Line 7">
              <a:extLst>
                <a:ext uri="{FF2B5EF4-FFF2-40B4-BE49-F238E27FC236}">
                  <a16:creationId xmlns:a16="http://schemas.microsoft.com/office/drawing/2014/main" id="{FD7CA159-F8F2-4143-93C3-DC2FE32E93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8791" y="1573213"/>
              <a:ext cx="2917009" cy="0"/>
            </a:xfrm>
            <a:prstGeom prst="line">
              <a:avLst/>
            </a:prstGeom>
            <a:noFill/>
            <a:ln w="7620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" name="Line 7">
              <a:extLst>
                <a:ext uri="{FF2B5EF4-FFF2-40B4-BE49-F238E27FC236}">
                  <a16:creationId xmlns:a16="http://schemas.microsoft.com/office/drawing/2014/main" id="{13C2DEFB-DF3E-4BBA-928E-11847CDC6C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8791" y="1573213"/>
              <a:ext cx="1051805" cy="0"/>
            </a:xfrm>
            <a:prstGeom prst="line">
              <a:avLst/>
            </a:prstGeom>
            <a:noFill/>
            <a:ln w="76200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25" name="TextBox 72">
            <a:extLst>
              <a:ext uri="{FF2B5EF4-FFF2-40B4-BE49-F238E27FC236}">
                <a16:creationId xmlns:a16="http://schemas.microsoft.com/office/drawing/2014/main" id="{03E9B2C8-D756-468E-8986-8C91DD16482F}"/>
              </a:ext>
            </a:extLst>
          </p:cNvPr>
          <p:cNvSpPr txBox="1"/>
          <p:nvPr/>
        </p:nvSpPr>
        <p:spPr>
          <a:xfrm>
            <a:off x="11390698" y="4703088"/>
            <a:ext cx="534602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0%</a:t>
            </a:r>
          </a:p>
        </p:txBody>
      </p:sp>
      <p:sp>
        <p:nvSpPr>
          <p:cNvPr id="16" name="TextBox 76">
            <a:extLst>
              <a:ext uri="{FF2B5EF4-FFF2-40B4-BE49-F238E27FC236}">
                <a16:creationId xmlns:a16="http://schemas.microsoft.com/office/drawing/2014/main" id="{08E5DF78-04F3-437B-AA15-B6C3B6F35D17}"/>
              </a:ext>
            </a:extLst>
          </p:cNvPr>
          <p:cNvSpPr txBox="1"/>
          <p:nvPr/>
        </p:nvSpPr>
        <p:spPr>
          <a:xfrm>
            <a:off x="7806393" y="5204731"/>
            <a:ext cx="2223432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31836C6-F323-4287-9087-E0F057D3DE26}"/>
              </a:ext>
            </a:extLst>
          </p:cNvPr>
          <p:cNvGrpSpPr/>
          <p:nvPr/>
        </p:nvGrpSpPr>
        <p:grpSpPr>
          <a:xfrm>
            <a:off x="7806393" y="5565619"/>
            <a:ext cx="3468225" cy="0"/>
            <a:chOff x="5388791" y="1573213"/>
            <a:chExt cx="2917009" cy="0"/>
          </a:xfrm>
        </p:grpSpPr>
        <p:sp>
          <p:nvSpPr>
            <p:cNvPr id="20" name="Line 7">
              <a:extLst>
                <a:ext uri="{FF2B5EF4-FFF2-40B4-BE49-F238E27FC236}">
                  <a16:creationId xmlns:a16="http://schemas.microsoft.com/office/drawing/2014/main" id="{9CDEF9AF-F548-4318-AAF2-2D1B15B6BC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8791" y="1573213"/>
              <a:ext cx="2917009" cy="0"/>
            </a:xfrm>
            <a:prstGeom prst="line">
              <a:avLst/>
            </a:prstGeom>
            <a:noFill/>
            <a:ln w="7620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1" name="Line 7">
              <a:extLst>
                <a:ext uri="{FF2B5EF4-FFF2-40B4-BE49-F238E27FC236}">
                  <a16:creationId xmlns:a16="http://schemas.microsoft.com/office/drawing/2014/main" id="{BF6C1063-3DB1-4139-BBB9-1370AF93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8791" y="1573213"/>
              <a:ext cx="2747197" cy="0"/>
            </a:xfrm>
            <a:prstGeom prst="line">
              <a:avLst/>
            </a:prstGeom>
            <a:noFill/>
            <a:ln w="76200" cap="rnd">
              <a:solidFill>
                <a:srgbClr val="A6A6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19" name="TextBox 79">
            <a:extLst>
              <a:ext uri="{FF2B5EF4-FFF2-40B4-BE49-F238E27FC236}">
                <a16:creationId xmlns:a16="http://schemas.microsoft.com/office/drawing/2014/main" id="{B0F6E0D7-78C4-40F6-B512-3F385B0E08BA}"/>
              </a:ext>
            </a:extLst>
          </p:cNvPr>
          <p:cNvSpPr txBox="1"/>
          <p:nvPr/>
        </p:nvSpPr>
        <p:spPr>
          <a:xfrm>
            <a:off x="11390698" y="5373511"/>
            <a:ext cx="534602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94%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EE20E74C-F138-4B1C-96C5-27185C81574E}"/>
              </a:ext>
            </a:extLst>
          </p:cNvPr>
          <p:cNvGrpSpPr/>
          <p:nvPr/>
        </p:nvGrpSpPr>
        <p:grpSpPr>
          <a:xfrm>
            <a:off x="7323719" y="3347737"/>
            <a:ext cx="148718" cy="193653"/>
            <a:chOff x="7373011" y="2614988"/>
            <a:chExt cx="220663" cy="287338"/>
          </a:xfrm>
          <a:solidFill>
            <a:schemeClr val="bg1"/>
          </a:solidFill>
        </p:grpSpPr>
        <p:sp>
          <p:nvSpPr>
            <p:cNvPr id="78" name="Freeform 1497">
              <a:extLst>
                <a:ext uri="{FF2B5EF4-FFF2-40B4-BE49-F238E27FC236}">
                  <a16:creationId xmlns:a16="http://schemas.microsoft.com/office/drawing/2014/main" id="{9CD6E5E9-E393-4CC4-B4DE-3FFEC7009F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3011" y="2614988"/>
              <a:ext cx="220663" cy="287338"/>
            </a:xfrm>
            <a:custGeom>
              <a:avLst/>
              <a:gdLst>
                <a:gd name="T0" fmla="*/ 91 w 695"/>
                <a:gd name="T1" fmla="*/ 120 h 906"/>
                <a:gd name="T2" fmla="*/ 347 w 695"/>
                <a:gd name="T3" fmla="*/ 845 h 906"/>
                <a:gd name="T4" fmla="*/ 322 w 695"/>
                <a:gd name="T5" fmla="*/ 837 h 906"/>
                <a:gd name="T6" fmla="*/ 305 w 695"/>
                <a:gd name="T7" fmla="*/ 817 h 906"/>
                <a:gd name="T8" fmla="*/ 303 w 695"/>
                <a:gd name="T9" fmla="*/ 791 h 906"/>
                <a:gd name="T10" fmla="*/ 315 w 695"/>
                <a:gd name="T11" fmla="*/ 767 h 906"/>
                <a:gd name="T12" fmla="*/ 339 w 695"/>
                <a:gd name="T13" fmla="*/ 755 h 906"/>
                <a:gd name="T14" fmla="*/ 365 w 695"/>
                <a:gd name="T15" fmla="*/ 759 h 906"/>
                <a:gd name="T16" fmla="*/ 385 w 695"/>
                <a:gd name="T17" fmla="*/ 774 h 906"/>
                <a:gd name="T18" fmla="*/ 393 w 695"/>
                <a:gd name="T19" fmla="*/ 799 h 906"/>
                <a:gd name="T20" fmla="*/ 385 w 695"/>
                <a:gd name="T21" fmla="*/ 825 h 906"/>
                <a:gd name="T22" fmla="*/ 365 w 695"/>
                <a:gd name="T23" fmla="*/ 842 h 906"/>
                <a:gd name="T24" fmla="*/ 347 w 695"/>
                <a:gd name="T25" fmla="*/ 53 h 906"/>
                <a:gd name="T26" fmla="*/ 360 w 695"/>
                <a:gd name="T27" fmla="*/ 57 h 906"/>
                <a:gd name="T28" fmla="*/ 368 w 695"/>
                <a:gd name="T29" fmla="*/ 67 h 906"/>
                <a:gd name="T30" fmla="*/ 370 w 695"/>
                <a:gd name="T31" fmla="*/ 80 h 906"/>
                <a:gd name="T32" fmla="*/ 363 w 695"/>
                <a:gd name="T33" fmla="*/ 91 h 906"/>
                <a:gd name="T34" fmla="*/ 352 w 695"/>
                <a:gd name="T35" fmla="*/ 98 h 906"/>
                <a:gd name="T36" fmla="*/ 339 w 695"/>
                <a:gd name="T37" fmla="*/ 96 h 906"/>
                <a:gd name="T38" fmla="*/ 329 w 695"/>
                <a:gd name="T39" fmla="*/ 88 h 906"/>
                <a:gd name="T40" fmla="*/ 325 w 695"/>
                <a:gd name="T41" fmla="*/ 76 h 906"/>
                <a:gd name="T42" fmla="*/ 329 w 695"/>
                <a:gd name="T43" fmla="*/ 63 h 906"/>
                <a:gd name="T44" fmla="*/ 339 w 695"/>
                <a:gd name="T45" fmla="*/ 55 h 906"/>
                <a:gd name="T46" fmla="*/ 347 w 695"/>
                <a:gd name="T47" fmla="*/ 53 h 906"/>
                <a:gd name="T48" fmla="*/ 82 w 695"/>
                <a:gd name="T49" fmla="*/ 1 h 906"/>
                <a:gd name="T50" fmla="*/ 55 w 695"/>
                <a:gd name="T51" fmla="*/ 7 h 906"/>
                <a:gd name="T52" fmla="*/ 33 w 695"/>
                <a:gd name="T53" fmla="*/ 21 h 906"/>
                <a:gd name="T54" fmla="*/ 16 w 695"/>
                <a:gd name="T55" fmla="*/ 39 h 906"/>
                <a:gd name="T56" fmla="*/ 5 w 695"/>
                <a:gd name="T57" fmla="*/ 64 h 906"/>
                <a:gd name="T58" fmla="*/ 0 w 695"/>
                <a:gd name="T59" fmla="*/ 90 h 906"/>
                <a:gd name="T60" fmla="*/ 2 w 695"/>
                <a:gd name="T61" fmla="*/ 833 h 906"/>
                <a:gd name="T62" fmla="*/ 11 w 695"/>
                <a:gd name="T63" fmla="*/ 858 h 906"/>
                <a:gd name="T64" fmla="*/ 27 w 695"/>
                <a:gd name="T65" fmla="*/ 879 h 906"/>
                <a:gd name="T66" fmla="*/ 48 w 695"/>
                <a:gd name="T67" fmla="*/ 895 h 906"/>
                <a:gd name="T68" fmla="*/ 73 w 695"/>
                <a:gd name="T69" fmla="*/ 903 h 906"/>
                <a:gd name="T70" fmla="*/ 604 w 695"/>
                <a:gd name="T71" fmla="*/ 906 h 906"/>
                <a:gd name="T72" fmla="*/ 631 w 695"/>
                <a:gd name="T73" fmla="*/ 901 h 906"/>
                <a:gd name="T74" fmla="*/ 655 w 695"/>
                <a:gd name="T75" fmla="*/ 890 h 906"/>
                <a:gd name="T76" fmla="*/ 674 w 695"/>
                <a:gd name="T77" fmla="*/ 872 h 906"/>
                <a:gd name="T78" fmla="*/ 687 w 695"/>
                <a:gd name="T79" fmla="*/ 850 h 906"/>
                <a:gd name="T80" fmla="*/ 694 w 695"/>
                <a:gd name="T81" fmla="*/ 824 h 906"/>
                <a:gd name="T82" fmla="*/ 694 w 695"/>
                <a:gd name="T83" fmla="*/ 82 h 906"/>
                <a:gd name="T84" fmla="*/ 687 w 695"/>
                <a:gd name="T85" fmla="*/ 55 h 906"/>
                <a:gd name="T86" fmla="*/ 674 w 695"/>
                <a:gd name="T87" fmla="*/ 33 h 906"/>
                <a:gd name="T88" fmla="*/ 655 w 695"/>
                <a:gd name="T89" fmla="*/ 15 h 906"/>
                <a:gd name="T90" fmla="*/ 631 w 695"/>
                <a:gd name="T91" fmla="*/ 4 h 906"/>
                <a:gd name="T92" fmla="*/ 604 w 695"/>
                <a:gd name="T93" fmla="*/ 0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5" h="906">
                  <a:moveTo>
                    <a:pt x="604" y="724"/>
                  </a:moveTo>
                  <a:lnTo>
                    <a:pt x="91" y="724"/>
                  </a:lnTo>
                  <a:lnTo>
                    <a:pt x="91" y="120"/>
                  </a:lnTo>
                  <a:lnTo>
                    <a:pt x="604" y="120"/>
                  </a:lnTo>
                  <a:lnTo>
                    <a:pt x="604" y="724"/>
                  </a:lnTo>
                  <a:close/>
                  <a:moveTo>
                    <a:pt x="347" y="845"/>
                  </a:moveTo>
                  <a:lnTo>
                    <a:pt x="339" y="844"/>
                  </a:lnTo>
                  <a:lnTo>
                    <a:pt x="330" y="842"/>
                  </a:lnTo>
                  <a:lnTo>
                    <a:pt x="322" y="837"/>
                  </a:lnTo>
                  <a:lnTo>
                    <a:pt x="315" y="832"/>
                  </a:lnTo>
                  <a:lnTo>
                    <a:pt x="310" y="825"/>
                  </a:lnTo>
                  <a:lnTo>
                    <a:pt x="305" y="817"/>
                  </a:lnTo>
                  <a:lnTo>
                    <a:pt x="303" y="809"/>
                  </a:lnTo>
                  <a:lnTo>
                    <a:pt x="302" y="799"/>
                  </a:lnTo>
                  <a:lnTo>
                    <a:pt x="303" y="791"/>
                  </a:lnTo>
                  <a:lnTo>
                    <a:pt x="305" y="782"/>
                  </a:lnTo>
                  <a:lnTo>
                    <a:pt x="310" y="774"/>
                  </a:lnTo>
                  <a:lnTo>
                    <a:pt x="315" y="767"/>
                  </a:lnTo>
                  <a:lnTo>
                    <a:pt x="322" y="762"/>
                  </a:lnTo>
                  <a:lnTo>
                    <a:pt x="330" y="759"/>
                  </a:lnTo>
                  <a:lnTo>
                    <a:pt x="339" y="755"/>
                  </a:lnTo>
                  <a:lnTo>
                    <a:pt x="347" y="754"/>
                  </a:lnTo>
                  <a:lnTo>
                    <a:pt x="356" y="755"/>
                  </a:lnTo>
                  <a:lnTo>
                    <a:pt x="365" y="759"/>
                  </a:lnTo>
                  <a:lnTo>
                    <a:pt x="373" y="762"/>
                  </a:lnTo>
                  <a:lnTo>
                    <a:pt x="380" y="767"/>
                  </a:lnTo>
                  <a:lnTo>
                    <a:pt x="385" y="774"/>
                  </a:lnTo>
                  <a:lnTo>
                    <a:pt x="389" y="782"/>
                  </a:lnTo>
                  <a:lnTo>
                    <a:pt x="392" y="791"/>
                  </a:lnTo>
                  <a:lnTo>
                    <a:pt x="393" y="799"/>
                  </a:lnTo>
                  <a:lnTo>
                    <a:pt x="392" y="809"/>
                  </a:lnTo>
                  <a:lnTo>
                    <a:pt x="389" y="817"/>
                  </a:lnTo>
                  <a:lnTo>
                    <a:pt x="385" y="825"/>
                  </a:lnTo>
                  <a:lnTo>
                    <a:pt x="380" y="832"/>
                  </a:lnTo>
                  <a:lnTo>
                    <a:pt x="373" y="837"/>
                  </a:lnTo>
                  <a:lnTo>
                    <a:pt x="365" y="842"/>
                  </a:lnTo>
                  <a:lnTo>
                    <a:pt x="356" y="844"/>
                  </a:lnTo>
                  <a:lnTo>
                    <a:pt x="347" y="845"/>
                  </a:lnTo>
                  <a:close/>
                  <a:moveTo>
                    <a:pt x="347" y="53"/>
                  </a:moveTo>
                  <a:lnTo>
                    <a:pt x="352" y="53"/>
                  </a:lnTo>
                  <a:lnTo>
                    <a:pt x="356" y="55"/>
                  </a:lnTo>
                  <a:lnTo>
                    <a:pt x="360" y="57"/>
                  </a:lnTo>
                  <a:lnTo>
                    <a:pt x="363" y="59"/>
                  </a:lnTo>
                  <a:lnTo>
                    <a:pt x="366" y="63"/>
                  </a:lnTo>
                  <a:lnTo>
                    <a:pt x="368" y="67"/>
                  </a:lnTo>
                  <a:lnTo>
                    <a:pt x="370" y="70"/>
                  </a:lnTo>
                  <a:lnTo>
                    <a:pt x="370" y="76"/>
                  </a:lnTo>
                  <a:lnTo>
                    <a:pt x="370" y="80"/>
                  </a:lnTo>
                  <a:lnTo>
                    <a:pt x="368" y="85"/>
                  </a:lnTo>
                  <a:lnTo>
                    <a:pt x="366" y="88"/>
                  </a:lnTo>
                  <a:lnTo>
                    <a:pt x="363" y="91"/>
                  </a:lnTo>
                  <a:lnTo>
                    <a:pt x="360" y="95"/>
                  </a:lnTo>
                  <a:lnTo>
                    <a:pt x="356" y="96"/>
                  </a:lnTo>
                  <a:lnTo>
                    <a:pt x="352" y="98"/>
                  </a:lnTo>
                  <a:lnTo>
                    <a:pt x="347" y="98"/>
                  </a:lnTo>
                  <a:lnTo>
                    <a:pt x="343" y="98"/>
                  </a:lnTo>
                  <a:lnTo>
                    <a:pt x="339" y="96"/>
                  </a:lnTo>
                  <a:lnTo>
                    <a:pt x="335" y="95"/>
                  </a:lnTo>
                  <a:lnTo>
                    <a:pt x="331" y="91"/>
                  </a:lnTo>
                  <a:lnTo>
                    <a:pt x="329" y="88"/>
                  </a:lnTo>
                  <a:lnTo>
                    <a:pt x="326" y="85"/>
                  </a:lnTo>
                  <a:lnTo>
                    <a:pt x="325" y="80"/>
                  </a:lnTo>
                  <a:lnTo>
                    <a:pt x="325" y="76"/>
                  </a:lnTo>
                  <a:lnTo>
                    <a:pt x="325" y="70"/>
                  </a:lnTo>
                  <a:lnTo>
                    <a:pt x="326" y="67"/>
                  </a:lnTo>
                  <a:lnTo>
                    <a:pt x="329" y="63"/>
                  </a:lnTo>
                  <a:lnTo>
                    <a:pt x="331" y="59"/>
                  </a:lnTo>
                  <a:lnTo>
                    <a:pt x="335" y="57"/>
                  </a:lnTo>
                  <a:lnTo>
                    <a:pt x="339" y="55"/>
                  </a:lnTo>
                  <a:lnTo>
                    <a:pt x="343" y="54"/>
                  </a:lnTo>
                  <a:lnTo>
                    <a:pt x="347" y="53"/>
                  </a:lnTo>
                  <a:lnTo>
                    <a:pt x="347" y="53"/>
                  </a:lnTo>
                  <a:close/>
                  <a:moveTo>
                    <a:pt x="604" y="0"/>
                  </a:moveTo>
                  <a:lnTo>
                    <a:pt x="91" y="0"/>
                  </a:lnTo>
                  <a:lnTo>
                    <a:pt x="82" y="1"/>
                  </a:lnTo>
                  <a:lnTo>
                    <a:pt x="73" y="2"/>
                  </a:lnTo>
                  <a:lnTo>
                    <a:pt x="64" y="4"/>
                  </a:lnTo>
                  <a:lnTo>
                    <a:pt x="55" y="7"/>
                  </a:lnTo>
                  <a:lnTo>
                    <a:pt x="48" y="11"/>
                  </a:lnTo>
                  <a:lnTo>
                    <a:pt x="40" y="15"/>
                  </a:lnTo>
                  <a:lnTo>
                    <a:pt x="33" y="21"/>
                  </a:lnTo>
                  <a:lnTo>
                    <a:pt x="27" y="26"/>
                  </a:lnTo>
                  <a:lnTo>
                    <a:pt x="21" y="33"/>
                  </a:lnTo>
                  <a:lnTo>
                    <a:pt x="16" y="39"/>
                  </a:lnTo>
                  <a:lnTo>
                    <a:pt x="11" y="47"/>
                  </a:lnTo>
                  <a:lnTo>
                    <a:pt x="8" y="55"/>
                  </a:lnTo>
                  <a:lnTo>
                    <a:pt x="5" y="64"/>
                  </a:lnTo>
                  <a:lnTo>
                    <a:pt x="2" y="73"/>
                  </a:lnTo>
                  <a:lnTo>
                    <a:pt x="1" y="82"/>
                  </a:lnTo>
                  <a:lnTo>
                    <a:pt x="0" y="90"/>
                  </a:lnTo>
                  <a:lnTo>
                    <a:pt x="0" y="815"/>
                  </a:lnTo>
                  <a:lnTo>
                    <a:pt x="1" y="824"/>
                  </a:lnTo>
                  <a:lnTo>
                    <a:pt x="2" y="833"/>
                  </a:lnTo>
                  <a:lnTo>
                    <a:pt x="5" y="842"/>
                  </a:lnTo>
                  <a:lnTo>
                    <a:pt x="8" y="850"/>
                  </a:lnTo>
                  <a:lnTo>
                    <a:pt x="11" y="858"/>
                  </a:lnTo>
                  <a:lnTo>
                    <a:pt x="16" y="866"/>
                  </a:lnTo>
                  <a:lnTo>
                    <a:pt x="21" y="872"/>
                  </a:lnTo>
                  <a:lnTo>
                    <a:pt x="27" y="879"/>
                  </a:lnTo>
                  <a:lnTo>
                    <a:pt x="33" y="885"/>
                  </a:lnTo>
                  <a:lnTo>
                    <a:pt x="40" y="890"/>
                  </a:lnTo>
                  <a:lnTo>
                    <a:pt x="48" y="895"/>
                  </a:lnTo>
                  <a:lnTo>
                    <a:pt x="55" y="898"/>
                  </a:lnTo>
                  <a:lnTo>
                    <a:pt x="64" y="901"/>
                  </a:lnTo>
                  <a:lnTo>
                    <a:pt x="73" y="903"/>
                  </a:lnTo>
                  <a:lnTo>
                    <a:pt x="82" y="905"/>
                  </a:lnTo>
                  <a:lnTo>
                    <a:pt x="91" y="906"/>
                  </a:lnTo>
                  <a:lnTo>
                    <a:pt x="604" y="906"/>
                  </a:lnTo>
                  <a:lnTo>
                    <a:pt x="613" y="905"/>
                  </a:lnTo>
                  <a:lnTo>
                    <a:pt x="622" y="903"/>
                  </a:lnTo>
                  <a:lnTo>
                    <a:pt x="631" y="901"/>
                  </a:lnTo>
                  <a:lnTo>
                    <a:pt x="639" y="898"/>
                  </a:lnTo>
                  <a:lnTo>
                    <a:pt x="647" y="895"/>
                  </a:lnTo>
                  <a:lnTo>
                    <a:pt x="655" y="890"/>
                  </a:lnTo>
                  <a:lnTo>
                    <a:pt x="662" y="885"/>
                  </a:lnTo>
                  <a:lnTo>
                    <a:pt x="668" y="879"/>
                  </a:lnTo>
                  <a:lnTo>
                    <a:pt x="674" y="872"/>
                  </a:lnTo>
                  <a:lnTo>
                    <a:pt x="679" y="866"/>
                  </a:lnTo>
                  <a:lnTo>
                    <a:pt x="684" y="858"/>
                  </a:lnTo>
                  <a:lnTo>
                    <a:pt x="687" y="850"/>
                  </a:lnTo>
                  <a:lnTo>
                    <a:pt x="690" y="842"/>
                  </a:lnTo>
                  <a:lnTo>
                    <a:pt x="693" y="833"/>
                  </a:lnTo>
                  <a:lnTo>
                    <a:pt x="694" y="824"/>
                  </a:lnTo>
                  <a:lnTo>
                    <a:pt x="695" y="815"/>
                  </a:lnTo>
                  <a:lnTo>
                    <a:pt x="695" y="90"/>
                  </a:lnTo>
                  <a:lnTo>
                    <a:pt x="694" y="82"/>
                  </a:lnTo>
                  <a:lnTo>
                    <a:pt x="693" y="73"/>
                  </a:lnTo>
                  <a:lnTo>
                    <a:pt x="690" y="64"/>
                  </a:lnTo>
                  <a:lnTo>
                    <a:pt x="687" y="55"/>
                  </a:lnTo>
                  <a:lnTo>
                    <a:pt x="684" y="47"/>
                  </a:lnTo>
                  <a:lnTo>
                    <a:pt x="679" y="39"/>
                  </a:lnTo>
                  <a:lnTo>
                    <a:pt x="674" y="33"/>
                  </a:lnTo>
                  <a:lnTo>
                    <a:pt x="668" y="26"/>
                  </a:lnTo>
                  <a:lnTo>
                    <a:pt x="662" y="21"/>
                  </a:lnTo>
                  <a:lnTo>
                    <a:pt x="655" y="15"/>
                  </a:lnTo>
                  <a:lnTo>
                    <a:pt x="647" y="11"/>
                  </a:lnTo>
                  <a:lnTo>
                    <a:pt x="639" y="7"/>
                  </a:lnTo>
                  <a:lnTo>
                    <a:pt x="631" y="4"/>
                  </a:lnTo>
                  <a:lnTo>
                    <a:pt x="622" y="2"/>
                  </a:lnTo>
                  <a:lnTo>
                    <a:pt x="613" y="1"/>
                  </a:lnTo>
                  <a:lnTo>
                    <a:pt x="604" y="0"/>
                  </a:lnTo>
                  <a:lnTo>
                    <a:pt x="604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79" name="Rectangle 1498">
              <a:extLst>
                <a:ext uri="{FF2B5EF4-FFF2-40B4-BE49-F238E27FC236}">
                  <a16:creationId xmlns:a16="http://schemas.microsoft.com/office/drawing/2014/main" id="{150C2D72-B2E7-4BBC-B0B5-F2D0672588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1749" y="2681663"/>
              <a:ext cx="28575" cy="2857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80" name="Rectangle 1499">
              <a:extLst>
                <a:ext uri="{FF2B5EF4-FFF2-40B4-BE49-F238E27FC236}">
                  <a16:creationId xmlns:a16="http://schemas.microsoft.com/office/drawing/2014/main" id="{88442823-0A9F-4F87-BC4E-67C185B4D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9849" y="2681663"/>
              <a:ext cx="28575" cy="2857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81" name="Rectangle 1500">
              <a:extLst>
                <a:ext uri="{FF2B5EF4-FFF2-40B4-BE49-F238E27FC236}">
                  <a16:creationId xmlns:a16="http://schemas.microsoft.com/office/drawing/2014/main" id="{BB8E522F-6C5D-4BEC-99C9-595B4D9E9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7949" y="2681663"/>
              <a:ext cx="28575" cy="2857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82" name="Rectangle 1501">
              <a:extLst>
                <a:ext uri="{FF2B5EF4-FFF2-40B4-BE49-F238E27FC236}">
                  <a16:creationId xmlns:a16="http://schemas.microsoft.com/office/drawing/2014/main" id="{6D136E7B-C62D-4BAB-A634-DE7494571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1749" y="2719763"/>
              <a:ext cx="28575" cy="2857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83" name="Rectangle 1502">
              <a:extLst>
                <a:ext uri="{FF2B5EF4-FFF2-40B4-BE49-F238E27FC236}">
                  <a16:creationId xmlns:a16="http://schemas.microsoft.com/office/drawing/2014/main" id="{FB61B270-9A62-4EAD-B6D2-E4BFE8F281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9849" y="2719763"/>
              <a:ext cx="28575" cy="2857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84" name="Rectangle 1503">
              <a:extLst>
                <a:ext uri="{FF2B5EF4-FFF2-40B4-BE49-F238E27FC236}">
                  <a16:creationId xmlns:a16="http://schemas.microsoft.com/office/drawing/2014/main" id="{347D01A0-04AC-4D15-BA2B-F70FFF894A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7949" y="2719763"/>
              <a:ext cx="28575" cy="2857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85" name="Rectangle 1504">
              <a:extLst>
                <a:ext uri="{FF2B5EF4-FFF2-40B4-BE49-F238E27FC236}">
                  <a16:creationId xmlns:a16="http://schemas.microsoft.com/office/drawing/2014/main" id="{30C95C53-B2B8-4402-9B94-69787A1A5E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1749" y="2757863"/>
              <a:ext cx="28575" cy="2857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86" name="Rectangle 1505">
              <a:extLst>
                <a:ext uri="{FF2B5EF4-FFF2-40B4-BE49-F238E27FC236}">
                  <a16:creationId xmlns:a16="http://schemas.microsoft.com/office/drawing/2014/main" id="{8AEFF552-DCE8-4A42-88F7-71DFCD8B6F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9849" y="2757863"/>
              <a:ext cx="28575" cy="2857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</p:grpSp>
      <p:sp>
        <p:nvSpPr>
          <p:cNvPr id="108" name="Oval 107">
            <a:extLst>
              <a:ext uri="{FF2B5EF4-FFF2-40B4-BE49-F238E27FC236}">
                <a16:creationId xmlns:a16="http://schemas.microsoft.com/office/drawing/2014/main" id="{25402DE0-9847-4060-BCBB-3815517CAE80}"/>
              </a:ext>
            </a:extLst>
          </p:cNvPr>
          <p:cNvSpPr/>
          <p:nvPr/>
        </p:nvSpPr>
        <p:spPr>
          <a:xfrm>
            <a:off x="7147282" y="3851594"/>
            <a:ext cx="482603" cy="48260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A18FEB0-5FCA-4B8E-9936-15F531834A0B}"/>
              </a:ext>
            </a:extLst>
          </p:cNvPr>
          <p:cNvSpPr/>
          <p:nvPr/>
        </p:nvSpPr>
        <p:spPr>
          <a:xfrm>
            <a:off x="7147282" y="4546675"/>
            <a:ext cx="482603" cy="482603"/>
          </a:xfrm>
          <a:prstGeom prst="ellipse">
            <a:avLst/>
          </a:prstGeom>
          <a:solidFill>
            <a:srgbClr val="7F7F7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F0C1CC42-D2AA-4B89-8991-D8E098EBF126}"/>
              </a:ext>
            </a:extLst>
          </p:cNvPr>
          <p:cNvSpPr/>
          <p:nvPr/>
        </p:nvSpPr>
        <p:spPr>
          <a:xfrm>
            <a:off x="7147282" y="5217098"/>
            <a:ext cx="482603" cy="482603"/>
          </a:xfrm>
          <a:prstGeom prst="ellipse">
            <a:avLst/>
          </a:prstGeom>
          <a:solidFill>
            <a:srgbClr val="A6A6A6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4A35B14-3715-48C8-9730-1D1868229087}"/>
              </a:ext>
            </a:extLst>
          </p:cNvPr>
          <p:cNvGrpSpPr/>
          <p:nvPr/>
        </p:nvGrpSpPr>
        <p:grpSpPr>
          <a:xfrm>
            <a:off x="7306040" y="4009894"/>
            <a:ext cx="165086" cy="166002"/>
            <a:chOff x="7340467" y="3286760"/>
            <a:chExt cx="285750" cy="287338"/>
          </a:xfrm>
          <a:solidFill>
            <a:schemeClr val="bg1"/>
          </a:solidFill>
        </p:grpSpPr>
        <p:sp>
          <p:nvSpPr>
            <p:cNvPr id="88" name="Freeform 497">
              <a:extLst>
                <a:ext uri="{FF2B5EF4-FFF2-40B4-BE49-F238E27FC236}">
                  <a16:creationId xmlns:a16="http://schemas.microsoft.com/office/drawing/2014/main" id="{6C8000C0-4BCC-428D-B1D1-6B0FC229F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0467" y="3286760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89" name="Freeform 498">
              <a:extLst>
                <a:ext uri="{FF2B5EF4-FFF2-40B4-BE49-F238E27FC236}">
                  <a16:creationId xmlns:a16="http://schemas.microsoft.com/office/drawing/2014/main" id="{94533016-01AC-41FD-981F-0EEB95037E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9042" y="3315335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90" name="Freeform 499">
              <a:extLst>
                <a:ext uri="{FF2B5EF4-FFF2-40B4-BE49-F238E27FC236}">
                  <a16:creationId xmlns:a16="http://schemas.microsoft.com/office/drawing/2014/main" id="{18D20582-D9F5-4371-9367-FE7438ECC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9992" y="3540760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91" name="Freeform 500">
              <a:extLst>
                <a:ext uri="{FF2B5EF4-FFF2-40B4-BE49-F238E27FC236}">
                  <a16:creationId xmlns:a16="http://schemas.microsoft.com/office/drawing/2014/main" id="{AC22F1EB-A4A0-4623-9E12-54168653B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9992" y="3416935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92" name="Freeform 501">
              <a:extLst>
                <a:ext uri="{FF2B5EF4-FFF2-40B4-BE49-F238E27FC236}">
                  <a16:creationId xmlns:a16="http://schemas.microsoft.com/office/drawing/2014/main" id="{C1BF36D6-63EB-487B-AD77-81E4FA57E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9992" y="344551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93" name="Freeform 502">
              <a:extLst>
                <a:ext uri="{FF2B5EF4-FFF2-40B4-BE49-F238E27FC236}">
                  <a16:creationId xmlns:a16="http://schemas.microsoft.com/office/drawing/2014/main" id="{05D1A218-522B-4C34-8F2E-0675136BF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9992" y="3516947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94" name="Freeform 503">
              <a:extLst>
                <a:ext uri="{FF2B5EF4-FFF2-40B4-BE49-F238E27FC236}">
                  <a16:creationId xmlns:a16="http://schemas.microsoft.com/office/drawing/2014/main" id="{55B2B211-7880-45A9-B93C-1B72B6E1F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9992" y="349313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95" name="Freeform 504">
              <a:extLst>
                <a:ext uri="{FF2B5EF4-FFF2-40B4-BE49-F238E27FC236}">
                  <a16:creationId xmlns:a16="http://schemas.microsoft.com/office/drawing/2014/main" id="{037D0543-1DEC-469B-9CD8-510654404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9992" y="3469322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F41C9A52-9B58-416E-81BA-0379994CF5B7}"/>
              </a:ext>
            </a:extLst>
          </p:cNvPr>
          <p:cNvGrpSpPr/>
          <p:nvPr/>
        </p:nvGrpSpPr>
        <p:grpSpPr>
          <a:xfrm>
            <a:off x="7280643" y="4680036"/>
            <a:ext cx="215881" cy="215881"/>
            <a:chOff x="4319588" y="4213225"/>
            <a:chExt cx="287338" cy="287338"/>
          </a:xfrm>
          <a:solidFill>
            <a:schemeClr val="bg1"/>
          </a:solidFill>
          <a:effectLst/>
        </p:grpSpPr>
        <p:sp>
          <p:nvSpPr>
            <p:cNvPr id="97" name="Freeform 421">
              <a:extLst>
                <a:ext uri="{FF2B5EF4-FFF2-40B4-BE49-F238E27FC236}">
                  <a16:creationId xmlns:a16="http://schemas.microsoft.com/office/drawing/2014/main" id="{3B43AB95-465E-4787-BAA0-F4F7C621D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988" y="4213225"/>
              <a:ext cx="134938" cy="133350"/>
            </a:xfrm>
            <a:custGeom>
              <a:avLst/>
              <a:gdLst>
                <a:gd name="T0" fmla="*/ 15 w 422"/>
                <a:gd name="T1" fmla="*/ 422 h 422"/>
                <a:gd name="T2" fmla="*/ 407 w 422"/>
                <a:gd name="T3" fmla="*/ 422 h 422"/>
                <a:gd name="T4" fmla="*/ 409 w 422"/>
                <a:gd name="T5" fmla="*/ 421 h 422"/>
                <a:gd name="T6" fmla="*/ 412 w 422"/>
                <a:gd name="T7" fmla="*/ 421 h 422"/>
                <a:gd name="T8" fmla="*/ 414 w 422"/>
                <a:gd name="T9" fmla="*/ 419 h 422"/>
                <a:gd name="T10" fmla="*/ 416 w 422"/>
                <a:gd name="T11" fmla="*/ 417 h 422"/>
                <a:gd name="T12" fmla="*/ 419 w 422"/>
                <a:gd name="T13" fmla="*/ 414 h 422"/>
                <a:gd name="T14" fmla="*/ 420 w 422"/>
                <a:gd name="T15" fmla="*/ 412 h 422"/>
                <a:gd name="T16" fmla="*/ 421 w 422"/>
                <a:gd name="T17" fmla="*/ 409 h 422"/>
                <a:gd name="T18" fmla="*/ 422 w 422"/>
                <a:gd name="T19" fmla="*/ 407 h 422"/>
                <a:gd name="T20" fmla="*/ 421 w 422"/>
                <a:gd name="T21" fmla="*/ 386 h 422"/>
                <a:gd name="T22" fmla="*/ 420 w 422"/>
                <a:gd name="T23" fmla="*/ 365 h 422"/>
                <a:gd name="T24" fmla="*/ 416 w 422"/>
                <a:gd name="T25" fmla="*/ 345 h 422"/>
                <a:gd name="T26" fmla="*/ 413 w 422"/>
                <a:gd name="T27" fmla="*/ 324 h 422"/>
                <a:gd name="T28" fmla="*/ 409 w 422"/>
                <a:gd name="T29" fmla="*/ 305 h 422"/>
                <a:gd name="T30" fmla="*/ 403 w 422"/>
                <a:gd name="T31" fmla="*/ 286 h 422"/>
                <a:gd name="T32" fmla="*/ 397 w 422"/>
                <a:gd name="T33" fmla="*/ 266 h 422"/>
                <a:gd name="T34" fmla="*/ 390 w 422"/>
                <a:gd name="T35" fmla="*/ 248 h 422"/>
                <a:gd name="T36" fmla="*/ 381 w 422"/>
                <a:gd name="T37" fmla="*/ 230 h 422"/>
                <a:gd name="T38" fmla="*/ 372 w 422"/>
                <a:gd name="T39" fmla="*/ 213 h 422"/>
                <a:gd name="T40" fmla="*/ 363 w 422"/>
                <a:gd name="T41" fmla="*/ 196 h 422"/>
                <a:gd name="T42" fmla="*/ 352 w 422"/>
                <a:gd name="T43" fmla="*/ 180 h 422"/>
                <a:gd name="T44" fmla="*/ 340 w 422"/>
                <a:gd name="T45" fmla="*/ 163 h 422"/>
                <a:gd name="T46" fmla="*/ 329 w 422"/>
                <a:gd name="T47" fmla="*/ 148 h 422"/>
                <a:gd name="T48" fmla="*/ 316 w 422"/>
                <a:gd name="T49" fmla="*/ 133 h 422"/>
                <a:gd name="T50" fmla="*/ 302 w 422"/>
                <a:gd name="T51" fmla="*/ 119 h 422"/>
                <a:gd name="T52" fmla="*/ 288 w 422"/>
                <a:gd name="T53" fmla="*/ 106 h 422"/>
                <a:gd name="T54" fmla="*/ 274 w 422"/>
                <a:gd name="T55" fmla="*/ 93 h 422"/>
                <a:gd name="T56" fmla="*/ 258 w 422"/>
                <a:gd name="T57" fmla="*/ 81 h 422"/>
                <a:gd name="T58" fmla="*/ 242 w 422"/>
                <a:gd name="T59" fmla="*/ 69 h 422"/>
                <a:gd name="T60" fmla="*/ 226 w 422"/>
                <a:gd name="T61" fmla="*/ 59 h 422"/>
                <a:gd name="T62" fmla="*/ 208 w 422"/>
                <a:gd name="T63" fmla="*/ 49 h 422"/>
                <a:gd name="T64" fmla="*/ 191 w 422"/>
                <a:gd name="T65" fmla="*/ 40 h 422"/>
                <a:gd name="T66" fmla="*/ 173 w 422"/>
                <a:gd name="T67" fmla="*/ 32 h 422"/>
                <a:gd name="T68" fmla="*/ 155 w 422"/>
                <a:gd name="T69" fmla="*/ 25 h 422"/>
                <a:gd name="T70" fmla="*/ 135 w 422"/>
                <a:gd name="T71" fmla="*/ 19 h 422"/>
                <a:gd name="T72" fmla="*/ 116 w 422"/>
                <a:gd name="T73" fmla="*/ 13 h 422"/>
                <a:gd name="T74" fmla="*/ 97 w 422"/>
                <a:gd name="T75" fmla="*/ 8 h 422"/>
                <a:gd name="T76" fmla="*/ 76 w 422"/>
                <a:gd name="T77" fmla="*/ 5 h 422"/>
                <a:gd name="T78" fmla="*/ 56 w 422"/>
                <a:gd name="T79" fmla="*/ 3 h 422"/>
                <a:gd name="T80" fmla="*/ 36 w 422"/>
                <a:gd name="T81" fmla="*/ 0 h 422"/>
                <a:gd name="T82" fmla="*/ 15 w 422"/>
                <a:gd name="T83" fmla="*/ 0 h 422"/>
                <a:gd name="T84" fmla="*/ 12 w 422"/>
                <a:gd name="T85" fmla="*/ 0 h 422"/>
                <a:gd name="T86" fmla="*/ 9 w 422"/>
                <a:gd name="T87" fmla="*/ 2 h 422"/>
                <a:gd name="T88" fmla="*/ 7 w 422"/>
                <a:gd name="T89" fmla="*/ 3 h 422"/>
                <a:gd name="T90" fmla="*/ 5 w 422"/>
                <a:gd name="T91" fmla="*/ 5 h 422"/>
                <a:gd name="T92" fmla="*/ 2 w 422"/>
                <a:gd name="T93" fmla="*/ 7 h 422"/>
                <a:gd name="T94" fmla="*/ 1 w 422"/>
                <a:gd name="T95" fmla="*/ 9 h 422"/>
                <a:gd name="T96" fmla="*/ 0 w 422"/>
                <a:gd name="T97" fmla="*/ 12 h 422"/>
                <a:gd name="T98" fmla="*/ 0 w 422"/>
                <a:gd name="T99" fmla="*/ 15 h 422"/>
                <a:gd name="T100" fmla="*/ 0 w 422"/>
                <a:gd name="T101" fmla="*/ 406 h 422"/>
                <a:gd name="T102" fmla="*/ 0 w 422"/>
                <a:gd name="T103" fmla="*/ 409 h 422"/>
                <a:gd name="T104" fmla="*/ 1 w 422"/>
                <a:gd name="T105" fmla="*/ 412 h 422"/>
                <a:gd name="T106" fmla="*/ 2 w 422"/>
                <a:gd name="T107" fmla="*/ 414 h 422"/>
                <a:gd name="T108" fmla="*/ 5 w 422"/>
                <a:gd name="T109" fmla="*/ 417 h 422"/>
                <a:gd name="T110" fmla="*/ 7 w 422"/>
                <a:gd name="T111" fmla="*/ 419 h 422"/>
                <a:gd name="T112" fmla="*/ 9 w 422"/>
                <a:gd name="T113" fmla="*/ 421 h 422"/>
                <a:gd name="T114" fmla="*/ 12 w 422"/>
                <a:gd name="T115" fmla="*/ 421 h 422"/>
                <a:gd name="T116" fmla="*/ 15 w 422"/>
                <a:gd name="T117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2" h="422">
                  <a:moveTo>
                    <a:pt x="15" y="422"/>
                  </a:moveTo>
                  <a:lnTo>
                    <a:pt x="407" y="422"/>
                  </a:lnTo>
                  <a:lnTo>
                    <a:pt x="409" y="421"/>
                  </a:lnTo>
                  <a:lnTo>
                    <a:pt x="412" y="421"/>
                  </a:lnTo>
                  <a:lnTo>
                    <a:pt x="414" y="419"/>
                  </a:lnTo>
                  <a:lnTo>
                    <a:pt x="416" y="417"/>
                  </a:lnTo>
                  <a:lnTo>
                    <a:pt x="419" y="414"/>
                  </a:lnTo>
                  <a:lnTo>
                    <a:pt x="420" y="412"/>
                  </a:lnTo>
                  <a:lnTo>
                    <a:pt x="421" y="409"/>
                  </a:lnTo>
                  <a:lnTo>
                    <a:pt x="422" y="407"/>
                  </a:lnTo>
                  <a:lnTo>
                    <a:pt x="421" y="386"/>
                  </a:lnTo>
                  <a:lnTo>
                    <a:pt x="420" y="365"/>
                  </a:lnTo>
                  <a:lnTo>
                    <a:pt x="416" y="345"/>
                  </a:lnTo>
                  <a:lnTo>
                    <a:pt x="413" y="324"/>
                  </a:lnTo>
                  <a:lnTo>
                    <a:pt x="409" y="305"/>
                  </a:lnTo>
                  <a:lnTo>
                    <a:pt x="403" y="286"/>
                  </a:lnTo>
                  <a:lnTo>
                    <a:pt x="397" y="266"/>
                  </a:lnTo>
                  <a:lnTo>
                    <a:pt x="390" y="248"/>
                  </a:lnTo>
                  <a:lnTo>
                    <a:pt x="381" y="230"/>
                  </a:lnTo>
                  <a:lnTo>
                    <a:pt x="372" y="213"/>
                  </a:lnTo>
                  <a:lnTo>
                    <a:pt x="363" y="196"/>
                  </a:lnTo>
                  <a:lnTo>
                    <a:pt x="352" y="180"/>
                  </a:lnTo>
                  <a:lnTo>
                    <a:pt x="340" y="163"/>
                  </a:lnTo>
                  <a:lnTo>
                    <a:pt x="329" y="148"/>
                  </a:lnTo>
                  <a:lnTo>
                    <a:pt x="316" y="133"/>
                  </a:lnTo>
                  <a:lnTo>
                    <a:pt x="302" y="119"/>
                  </a:lnTo>
                  <a:lnTo>
                    <a:pt x="288" y="106"/>
                  </a:lnTo>
                  <a:lnTo>
                    <a:pt x="274" y="93"/>
                  </a:lnTo>
                  <a:lnTo>
                    <a:pt x="258" y="81"/>
                  </a:lnTo>
                  <a:lnTo>
                    <a:pt x="242" y="69"/>
                  </a:lnTo>
                  <a:lnTo>
                    <a:pt x="226" y="59"/>
                  </a:lnTo>
                  <a:lnTo>
                    <a:pt x="208" y="49"/>
                  </a:lnTo>
                  <a:lnTo>
                    <a:pt x="191" y="40"/>
                  </a:lnTo>
                  <a:lnTo>
                    <a:pt x="173" y="32"/>
                  </a:lnTo>
                  <a:lnTo>
                    <a:pt x="155" y="25"/>
                  </a:lnTo>
                  <a:lnTo>
                    <a:pt x="135" y="19"/>
                  </a:lnTo>
                  <a:lnTo>
                    <a:pt x="116" y="13"/>
                  </a:lnTo>
                  <a:lnTo>
                    <a:pt x="97" y="8"/>
                  </a:lnTo>
                  <a:lnTo>
                    <a:pt x="76" y="5"/>
                  </a:lnTo>
                  <a:lnTo>
                    <a:pt x="56" y="3"/>
                  </a:lnTo>
                  <a:lnTo>
                    <a:pt x="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06"/>
                  </a:lnTo>
                  <a:lnTo>
                    <a:pt x="0" y="409"/>
                  </a:lnTo>
                  <a:lnTo>
                    <a:pt x="1" y="412"/>
                  </a:lnTo>
                  <a:lnTo>
                    <a:pt x="2" y="414"/>
                  </a:lnTo>
                  <a:lnTo>
                    <a:pt x="5" y="417"/>
                  </a:lnTo>
                  <a:lnTo>
                    <a:pt x="7" y="419"/>
                  </a:lnTo>
                  <a:lnTo>
                    <a:pt x="9" y="421"/>
                  </a:lnTo>
                  <a:lnTo>
                    <a:pt x="12" y="421"/>
                  </a:lnTo>
                  <a:lnTo>
                    <a:pt x="15" y="42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98" name="Freeform 422">
              <a:extLst>
                <a:ext uri="{FF2B5EF4-FFF2-40B4-BE49-F238E27FC236}">
                  <a16:creationId xmlns:a16="http://schemas.microsoft.com/office/drawing/2014/main" id="{2D15B5D1-3858-4D36-A23C-F9285E3CC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4241800"/>
              <a:ext cx="220663" cy="258763"/>
            </a:xfrm>
            <a:custGeom>
              <a:avLst/>
              <a:gdLst>
                <a:gd name="T0" fmla="*/ 421 w 698"/>
                <a:gd name="T1" fmla="*/ 15 h 813"/>
                <a:gd name="T2" fmla="*/ 420 w 698"/>
                <a:gd name="T3" fmla="*/ 8 h 813"/>
                <a:gd name="T4" fmla="*/ 417 w 698"/>
                <a:gd name="T5" fmla="*/ 4 h 813"/>
                <a:gd name="T6" fmla="*/ 413 w 698"/>
                <a:gd name="T7" fmla="*/ 1 h 813"/>
                <a:gd name="T8" fmla="*/ 406 w 698"/>
                <a:gd name="T9" fmla="*/ 0 h 813"/>
                <a:gd name="T10" fmla="*/ 365 w 698"/>
                <a:gd name="T11" fmla="*/ 2 h 813"/>
                <a:gd name="T12" fmla="*/ 325 w 698"/>
                <a:gd name="T13" fmla="*/ 8 h 813"/>
                <a:gd name="T14" fmla="*/ 286 w 698"/>
                <a:gd name="T15" fmla="*/ 18 h 813"/>
                <a:gd name="T16" fmla="*/ 249 w 698"/>
                <a:gd name="T17" fmla="*/ 32 h 813"/>
                <a:gd name="T18" fmla="*/ 213 w 698"/>
                <a:gd name="T19" fmla="*/ 49 h 813"/>
                <a:gd name="T20" fmla="*/ 180 w 698"/>
                <a:gd name="T21" fmla="*/ 69 h 813"/>
                <a:gd name="T22" fmla="*/ 148 w 698"/>
                <a:gd name="T23" fmla="*/ 92 h 813"/>
                <a:gd name="T24" fmla="*/ 120 w 698"/>
                <a:gd name="T25" fmla="*/ 119 h 813"/>
                <a:gd name="T26" fmla="*/ 93 w 698"/>
                <a:gd name="T27" fmla="*/ 148 h 813"/>
                <a:gd name="T28" fmla="*/ 69 w 698"/>
                <a:gd name="T29" fmla="*/ 179 h 813"/>
                <a:gd name="T30" fmla="*/ 49 w 698"/>
                <a:gd name="T31" fmla="*/ 212 h 813"/>
                <a:gd name="T32" fmla="*/ 32 w 698"/>
                <a:gd name="T33" fmla="*/ 247 h 813"/>
                <a:gd name="T34" fmla="*/ 19 w 698"/>
                <a:gd name="T35" fmla="*/ 285 h 813"/>
                <a:gd name="T36" fmla="*/ 8 w 698"/>
                <a:gd name="T37" fmla="*/ 325 h 813"/>
                <a:gd name="T38" fmla="*/ 2 w 698"/>
                <a:gd name="T39" fmla="*/ 364 h 813"/>
                <a:gd name="T40" fmla="*/ 0 w 698"/>
                <a:gd name="T41" fmla="*/ 406 h 813"/>
                <a:gd name="T42" fmla="*/ 2 w 698"/>
                <a:gd name="T43" fmla="*/ 447 h 813"/>
                <a:gd name="T44" fmla="*/ 8 w 698"/>
                <a:gd name="T45" fmla="*/ 488 h 813"/>
                <a:gd name="T46" fmla="*/ 19 w 698"/>
                <a:gd name="T47" fmla="*/ 526 h 813"/>
                <a:gd name="T48" fmla="*/ 32 w 698"/>
                <a:gd name="T49" fmla="*/ 564 h 813"/>
                <a:gd name="T50" fmla="*/ 49 w 698"/>
                <a:gd name="T51" fmla="*/ 599 h 813"/>
                <a:gd name="T52" fmla="*/ 69 w 698"/>
                <a:gd name="T53" fmla="*/ 633 h 813"/>
                <a:gd name="T54" fmla="*/ 93 w 698"/>
                <a:gd name="T55" fmla="*/ 665 h 813"/>
                <a:gd name="T56" fmla="*/ 120 w 698"/>
                <a:gd name="T57" fmla="*/ 694 h 813"/>
                <a:gd name="T58" fmla="*/ 148 w 698"/>
                <a:gd name="T59" fmla="*/ 719 h 813"/>
                <a:gd name="T60" fmla="*/ 180 w 698"/>
                <a:gd name="T61" fmla="*/ 743 h 813"/>
                <a:gd name="T62" fmla="*/ 213 w 698"/>
                <a:gd name="T63" fmla="*/ 763 h 813"/>
                <a:gd name="T64" fmla="*/ 249 w 698"/>
                <a:gd name="T65" fmla="*/ 780 h 813"/>
                <a:gd name="T66" fmla="*/ 286 w 698"/>
                <a:gd name="T67" fmla="*/ 794 h 813"/>
                <a:gd name="T68" fmla="*/ 325 w 698"/>
                <a:gd name="T69" fmla="*/ 804 h 813"/>
                <a:gd name="T70" fmla="*/ 365 w 698"/>
                <a:gd name="T71" fmla="*/ 810 h 813"/>
                <a:gd name="T72" fmla="*/ 406 w 698"/>
                <a:gd name="T73" fmla="*/ 813 h 813"/>
                <a:gd name="T74" fmla="*/ 447 w 698"/>
                <a:gd name="T75" fmla="*/ 810 h 813"/>
                <a:gd name="T76" fmla="*/ 487 w 698"/>
                <a:gd name="T77" fmla="*/ 804 h 813"/>
                <a:gd name="T78" fmla="*/ 525 w 698"/>
                <a:gd name="T79" fmla="*/ 794 h 813"/>
                <a:gd name="T80" fmla="*/ 562 w 698"/>
                <a:gd name="T81" fmla="*/ 782 h 813"/>
                <a:gd name="T82" fmla="*/ 598 w 698"/>
                <a:gd name="T83" fmla="*/ 764 h 813"/>
                <a:gd name="T84" fmla="*/ 632 w 698"/>
                <a:gd name="T85" fmla="*/ 744 h 813"/>
                <a:gd name="T86" fmla="*/ 664 w 698"/>
                <a:gd name="T87" fmla="*/ 720 h 813"/>
                <a:gd name="T88" fmla="*/ 694 w 698"/>
                <a:gd name="T89" fmla="*/ 694 h 813"/>
                <a:gd name="T90" fmla="*/ 697 w 698"/>
                <a:gd name="T91" fmla="*/ 688 h 813"/>
                <a:gd name="T92" fmla="*/ 698 w 698"/>
                <a:gd name="T93" fmla="*/ 683 h 813"/>
                <a:gd name="T94" fmla="*/ 697 w 698"/>
                <a:gd name="T95" fmla="*/ 676 h 813"/>
                <a:gd name="T96" fmla="*/ 694 w 698"/>
                <a:gd name="T97" fmla="*/ 672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98" h="813">
                  <a:moveTo>
                    <a:pt x="421" y="400"/>
                  </a:moveTo>
                  <a:lnTo>
                    <a:pt x="421" y="15"/>
                  </a:lnTo>
                  <a:lnTo>
                    <a:pt x="421" y="11"/>
                  </a:lnTo>
                  <a:lnTo>
                    <a:pt x="420" y="8"/>
                  </a:lnTo>
                  <a:lnTo>
                    <a:pt x="419" y="6"/>
                  </a:lnTo>
                  <a:lnTo>
                    <a:pt x="417" y="4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09" y="0"/>
                  </a:lnTo>
                  <a:lnTo>
                    <a:pt x="406" y="0"/>
                  </a:lnTo>
                  <a:lnTo>
                    <a:pt x="386" y="0"/>
                  </a:lnTo>
                  <a:lnTo>
                    <a:pt x="365" y="2"/>
                  </a:lnTo>
                  <a:lnTo>
                    <a:pt x="345" y="4"/>
                  </a:lnTo>
                  <a:lnTo>
                    <a:pt x="325" y="8"/>
                  </a:lnTo>
                  <a:lnTo>
                    <a:pt x="305" y="12"/>
                  </a:lnTo>
                  <a:lnTo>
                    <a:pt x="286" y="18"/>
                  </a:lnTo>
                  <a:lnTo>
                    <a:pt x="267" y="24"/>
                  </a:lnTo>
                  <a:lnTo>
                    <a:pt x="249" y="32"/>
                  </a:lnTo>
                  <a:lnTo>
                    <a:pt x="230" y="39"/>
                  </a:lnTo>
                  <a:lnTo>
                    <a:pt x="213" y="49"/>
                  </a:lnTo>
                  <a:lnTo>
                    <a:pt x="196" y="59"/>
                  </a:lnTo>
                  <a:lnTo>
                    <a:pt x="180" y="69"/>
                  </a:lnTo>
                  <a:lnTo>
                    <a:pt x="164" y="80"/>
                  </a:lnTo>
                  <a:lnTo>
                    <a:pt x="148" y="92"/>
                  </a:lnTo>
                  <a:lnTo>
                    <a:pt x="134" y="105"/>
                  </a:lnTo>
                  <a:lnTo>
                    <a:pt x="120" y="119"/>
                  </a:lnTo>
                  <a:lnTo>
                    <a:pt x="106" y="133"/>
                  </a:lnTo>
                  <a:lnTo>
                    <a:pt x="93" y="148"/>
                  </a:lnTo>
                  <a:lnTo>
                    <a:pt x="81" y="163"/>
                  </a:lnTo>
                  <a:lnTo>
                    <a:pt x="69" y="179"/>
                  </a:lnTo>
                  <a:lnTo>
                    <a:pt x="59" y="195"/>
                  </a:lnTo>
                  <a:lnTo>
                    <a:pt x="49" y="212"/>
                  </a:lnTo>
                  <a:lnTo>
                    <a:pt x="40" y="230"/>
                  </a:lnTo>
                  <a:lnTo>
                    <a:pt x="32" y="247"/>
                  </a:lnTo>
                  <a:lnTo>
                    <a:pt x="24" y="267"/>
                  </a:lnTo>
                  <a:lnTo>
                    <a:pt x="19" y="285"/>
                  </a:lnTo>
                  <a:lnTo>
                    <a:pt x="13" y="304"/>
                  </a:lnTo>
                  <a:lnTo>
                    <a:pt x="8" y="325"/>
                  </a:lnTo>
                  <a:lnTo>
                    <a:pt x="5" y="344"/>
                  </a:lnTo>
                  <a:lnTo>
                    <a:pt x="2" y="364"/>
                  </a:lnTo>
                  <a:lnTo>
                    <a:pt x="1" y="385"/>
                  </a:lnTo>
                  <a:lnTo>
                    <a:pt x="0" y="406"/>
                  </a:lnTo>
                  <a:lnTo>
                    <a:pt x="1" y="426"/>
                  </a:lnTo>
                  <a:lnTo>
                    <a:pt x="2" y="447"/>
                  </a:lnTo>
                  <a:lnTo>
                    <a:pt x="5" y="467"/>
                  </a:lnTo>
                  <a:lnTo>
                    <a:pt x="8" y="488"/>
                  </a:lnTo>
                  <a:lnTo>
                    <a:pt x="13" y="507"/>
                  </a:lnTo>
                  <a:lnTo>
                    <a:pt x="19" y="526"/>
                  </a:lnTo>
                  <a:lnTo>
                    <a:pt x="24" y="546"/>
                  </a:lnTo>
                  <a:lnTo>
                    <a:pt x="32" y="564"/>
                  </a:lnTo>
                  <a:lnTo>
                    <a:pt x="40" y="582"/>
                  </a:lnTo>
                  <a:lnTo>
                    <a:pt x="49" y="599"/>
                  </a:lnTo>
                  <a:lnTo>
                    <a:pt x="59" y="616"/>
                  </a:lnTo>
                  <a:lnTo>
                    <a:pt x="69" y="633"/>
                  </a:lnTo>
                  <a:lnTo>
                    <a:pt x="81" y="649"/>
                  </a:lnTo>
                  <a:lnTo>
                    <a:pt x="93" y="665"/>
                  </a:lnTo>
                  <a:lnTo>
                    <a:pt x="106" y="679"/>
                  </a:lnTo>
                  <a:lnTo>
                    <a:pt x="120" y="694"/>
                  </a:lnTo>
                  <a:lnTo>
                    <a:pt x="134" y="706"/>
                  </a:lnTo>
                  <a:lnTo>
                    <a:pt x="148" y="719"/>
                  </a:lnTo>
                  <a:lnTo>
                    <a:pt x="164" y="731"/>
                  </a:lnTo>
                  <a:lnTo>
                    <a:pt x="180" y="743"/>
                  </a:lnTo>
                  <a:lnTo>
                    <a:pt x="196" y="754"/>
                  </a:lnTo>
                  <a:lnTo>
                    <a:pt x="213" y="763"/>
                  </a:lnTo>
                  <a:lnTo>
                    <a:pt x="230" y="772"/>
                  </a:lnTo>
                  <a:lnTo>
                    <a:pt x="249" y="780"/>
                  </a:lnTo>
                  <a:lnTo>
                    <a:pt x="267" y="788"/>
                  </a:lnTo>
                  <a:lnTo>
                    <a:pt x="286" y="794"/>
                  </a:lnTo>
                  <a:lnTo>
                    <a:pt x="305" y="800"/>
                  </a:lnTo>
                  <a:lnTo>
                    <a:pt x="325" y="804"/>
                  </a:lnTo>
                  <a:lnTo>
                    <a:pt x="345" y="807"/>
                  </a:lnTo>
                  <a:lnTo>
                    <a:pt x="365" y="810"/>
                  </a:lnTo>
                  <a:lnTo>
                    <a:pt x="386" y="812"/>
                  </a:lnTo>
                  <a:lnTo>
                    <a:pt x="406" y="813"/>
                  </a:lnTo>
                  <a:lnTo>
                    <a:pt x="427" y="812"/>
                  </a:lnTo>
                  <a:lnTo>
                    <a:pt x="447" y="810"/>
                  </a:lnTo>
                  <a:lnTo>
                    <a:pt x="467" y="808"/>
                  </a:lnTo>
                  <a:lnTo>
                    <a:pt x="487" y="804"/>
                  </a:lnTo>
                  <a:lnTo>
                    <a:pt x="506" y="800"/>
                  </a:lnTo>
                  <a:lnTo>
                    <a:pt x="525" y="794"/>
                  </a:lnTo>
                  <a:lnTo>
                    <a:pt x="543" y="789"/>
                  </a:lnTo>
                  <a:lnTo>
                    <a:pt x="562" y="782"/>
                  </a:lnTo>
                  <a:lnTo>
                    <a:pt x="580" y="774"/>
                  </a:lnTo>
                  <a:lnTo>
                    <a:pt x="598" y="764"/>
                  </a:lnTo>
                  <a:lnTo>
                    <a:pt x="615" y="755"/>
                  </a:lnTo>
                  <a:lnTo>
                    <a:pt x="632" y="744"/>
                  </a:lnTo>
                  <a:lnTo>
                    <a:pt x="649" y="733"/>
                  </a:lnTo>
                  <a:lnTo>
                    <a:pt x="664" y="720"/>
                  </a:lnTo>
                  <a:lnTo>
                    <a:pt x="680" y="707"/>
                  </a:lnTo>
                  <a:lnTo>
                    <a:pt x="694" y="694"/>
                  </a:lnTo>
                  <a:lnTo>
                    <a:pt x="696" y="691"/>
                  </a:lnTo>
                  <a:lnTo>
                    <a:pt x="697" y="688"/>
                  </a:lnTo>
                  <a:lnTo>
                    <a:pt x="698" y="686"/>
                  </a:lnTo>
                  <a:lnTo>
                    <a:pt x="698" y="683"/>
                  </a:lnTo>
                  <a:lnTo>
                    <a:pt x="698" y="680"/>
                  </a:lnTo>
                  <a:lnTo>
                    <a:pt x="697" y="676"/>
                  </a:lnTo>
                  <a:lnTo>
                    <a:pt x="696" y="674"/>
                  </a:lnTo>
                  <a:lnTo>
                    <a:pt x="694" y="672"/>
                  </a:lnTo>
                  <a:lnTo>
                    <a:pt x="421" y="40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  <p:sp>
          <p:nvSpPr>
            <p:cNvPr id="99" name="Freeform 423">
              <a:extLst>
                <a:ext uri="{FF2B5EF4-FFF2-40B4-BE49-F238E27FC236}">
                  <a16:creationId xmlns:a16="http://schemas.microsoft.com/office/drawing/2014/main" id="{A85650C6-A352-4849-8237-E8D0D7A60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988" y="4356100"/>
              <a:ext cx="134938" cy="98425"/>
            </a:xfrm>
            <a:custGeom>
              <a:avLst/>
              <a:gdLst>
                <a:gd name="T0" fmla="*/ 407 w 422"/>
                <a:gd name="T1" fmla="*/ 0 h 307"/>
                <a:gd name="T2" fmla="*/ 15 w 422"/>
                <a:gd name="T3" fmla="*/ 0 h 307"/>
                <a:gd name="T4" fmla="*/ 11 w 422"/>
                <a:gd name="T5" fmla="*/ 0 h 307"/>
                <a:gd name="T6" fmla="*/ 7 w 422"/>
                <a:gd name="T7" fmla="*/ 2 h 307"/>
                <a:gd name="T8" fmla="*/ 4 w 422"/>
                <a:gd name="T9" fmla="*/ 5 h 307"/>
                <a:gd name="T10" fmla="*/ 1 w 422"/>
                <a:gd name="T11" fmla="*/ 9 h 307"/>
                <a:gd name="T12" fmla="*/ 0 w 422"/>
                <a:gd name="T13" fmla="*/ 13 h 307"/>
                <a:gd name="T14" fmla="*/ 0 w 422"/>
                <a:gd name="T15" fmla="*/ 17 h 307"/>
                <a:gd name="T16" fmla="*/ 1 w 422"/>
                <a:gd name="T17" fmla="*/ 21 h 307"/>
                <a:gd name="T18" fmla="*/ 5 w 422"/>
                <a:gd name="T19" fmla="*/ 26 h 307"/>
                <a:gd name="T20" fmla="*/ 281 w 422"/>
                <a:gd name="T21" fmla="*/ 303 h 307"/>
                <a:gd name="T22" fmla="*/ 283 w 422"/>
                <a:gd name="T23" fmla="*/ 304 h 307"/>
                <a:gd name="T24" fmla="*/ 286 w 422"/>
                <a:gd name="T25" fmla="*/ 306 h 307"/>
                <a:gd name="T26" fmla="*/ 289 w 422"/>
                <a:gd name="T27" fmla="*/ 306 h 307"/>
                <a:gd name="T28" fmla="*/ 292 w 422"/>
                <a:gd name="T29" fmla="*/ 307 h 307"/>
                <a:gd name="T30" fmla="*/ 294 w 422"/>
                <a:gd name="T31" fmla="*/ 306 h 307"/>
                <a:gd name="T32" fmla="*/ 297 w 422"/>
                <a:gd name="T33" fmla="*/ 306 h 307"/>
                <a:gd name="T34" fmla="*/ 300 w 422"/>
                <a:gd name="T35" fmla="*/ 304 h 307"/>
                <a:gd name="T36" fmla="*/ 303 w 422"/>
                <a:gd name="T37" fmla="*/ 303 h 307"/>
                <a:gd name="T38" fmla="*/ 317 w 422"/>
                <a:gd name="T39" fmla="*/ 288 h 307"/>
                <a:gd name="T40" fmla="*/ 330 w 422"/>
                <a:gd name="T41" fmla="*/ 272 h 307"/>
                <a:gd name="T42" fmla="*/ 341 w 422"/>
                <a:gd name="T43" fmla="*/ 256 h 307"/>
                <a:gd name="T44" fmla="*/ 353 w 422"/>
                <a:gd name="T45" fmla="*/ 240 h 307"/>
                <a:gd name="T46" fmla="*/ 364 w 422"/>
                <a:gd name="T47" fmla="*/ 223 h 307"/>
                <a:gd name="T48" fmla="*/ 374 w 422"/>
                <a:gd name="T49" fmla="*/ 206 h 307"/>
                <a:gd name="T50" fmla="*/ 382 w 422"/>
                <a:gd name="T51" fmla="*/ 189 h 307"/>
                <a:gd name="T52" fmla="*/ 391 w 422"/>
                <a:gd name="T53" fmla="*/ 171 h 307"/>
                <a:gd name="T54" fmla="*/ 398 w 422"/>
                <a:gd name="T55" fmla="*/ 152 h 307"/>
                <a:gd name="T56" fmla="*/ 404 w 422"/>
                <a:gd name="T57" fmla="*/ 133 h 307"/>
                <a:gd name="T58" fmla="*/ 409 w 422"/>
                <a:gd name="T59" fmla="*/ 114 h 307"/>
                <a:gd name="T60" fmla="*/ 413 w 422"/>
                <a:gd name="T61" fmla="*/ 94 h 307"/>
                <a:gd name="T62" fmla="*/ 416 w 422"/>
                <a:gd name="T63" fmla="*/ 75 h 307"/>
                <a:gd name="T64" fmla="*/ 420 w 422"/>
                <a:gd name="T65" fmla="*/ 55 h 307"/>
                <a:gd name="T66" fmla="*/ 421 w 422"/>
                <a:gd name="T67" fmla="*/ 35 h 307"/>
                <a:gd name="T68" fmla="*/ 422 w 422"/>
                <a:gd name="T69" fmla="*/ 15 h 307"/>
                <a:gd name="T70" fmla="*/ 421 w 422"/>
                <a:gd name="T71" fmla="*/ 12 h 307"/>
                <a:gd name="T72" fmla="*/ 420 w 422"/>
                <a:gd name="T73" fmla="*/ 9 h 307"/>
                <a:gd name="T74" fmla="*/ 419 w 422"/>
                <a:gd name="T75" fmla="*/ 6 h 307"/>
                <a:gd name="T76" fmla="*/ 416 w 422"/>
                <a:gd name="T77" fmla="*/ 4 h 307"/>
                <a:gd name="T78" fmla="*/ 414 w 422"/>
                <a:gd name="T79" fmla="*/ 2 h 307"/>
                <a:gd name="T80" fmla="*/ 412 w 422"/>
                <a:gd name="T81" fmla="*/ 1 h 307"/>
                <a:gd name="T82" fmla="*/ 409 w 422"/>
                <a:gd name="T83" fmla="*/ 0 h 307"/>
                <a:gd name="T84" fmla="*/ 407 w 422"/>
                <a:gd name="T85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2" h="307">
                  <a:moveTo>
                    <a:pt x="407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7" y="2"/>
                  </a:lnTo>
                  <a:lnTo>
                    <a:pt x="4" y="5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5" y="26"/>
                  </a:lnTo>
                  <a:lnTo>
                    <a:pt x="281" y="303"/>
                  </a:lnTo>
                  <a:lnTo>
                    <a:pt x="283" y="304"/>
                  </a:lnTo>
                  <a:lnTo>
                    <a:pt x="286" y="306"/>
                  </a:lnTo>
                  <a:lnTo>
                    <a:pt x="289" y="306"/>
                  </a:lnTo>
                  <a:lnTo>
                    <a:pt x="292" y="307"/>
                  </a:lnTo>
                  <a:lnTo>
                    <a:pt x="294" y="306"/>
                  </a:lnTo>
                  <a:lnTo>
                    <a:pt x="297" y="306"/>
                  </a:lnTo>
                  <a:lnTo>
                    <a:pt x="300" y="304"/>
                  </a:lnTo>
                  <a:lnTo>
                    <a:pt x="303" y="303"/>
                  </a:lnTo>
                  <a:lnTo>
                    <a:pt x="317" y="288"/>
                  </a:lnTo>
                  <a:lnTo>
                    <a:pt x="330" y="272"/>
                  </a:lnTo>
                  <a:lnTo>
                    <a:pt x="341" y="256"/>
                  </a:lnTo>
                  <a:lnTo>
                    <a:pt x="353" y="240"/>
                  </a:lnTo>
                  <a:lnTo>
                    <a:pt x="364" y="223"/>
                  </a:lnTo>
                  <a:lnTo>
                    <a:pt x="374" y="206"/>
                  </a:lnTo>
                  <a:lnTo>
                    <a:pt x="382" y="189"/>
                  </a:lnTo>
                  <a:lnTo>
                    <a:pt x="391" y="171"/>
                  </a:lnTo>
                  <a:lnTo>
                    <a:pt x="398" y="152"/>
                  </a:lnTo>
                  <a:lnTo>
                    <a:pt x="404" y="133"/>
                  </a:lnTo>
                  <a:lnTo>
                    <a:pt x="409" y="114"/>
                  </a:lnTo>
                  <a:lnTo>
                    <a:pt x="413" y="94"/>
                  </a:lnTo>
                  <a:lnTo>
                    <a:pt x="416" y="75"/>
                  </a:lnTo>
                  <a:lnTo>
                    <a:pt x="420" y="55"/>
                  </a:lnTo>
                  <a:lnTo>
                    <a:pt x="421" y="35"/>
                  </a:lnTo>
                  <a:lnTo>
                    <a:pt x="422" y="15"/>
                  </a:lnTo>
                  <a:lnTo>
                    <a:pt x="421" y="12"/>
                  </a:lnTo>
                  <a:lnTo>
                    <a:pt x="420" y="9"/>
                  </a:lnTo>
                  <a:lnTo>
                    <a:pt x="419" y="6"/>
                  </a:lnTo>
                  <a:lnTo>
                    <a:pt x="416" y="4"/>
                  </a:lnTo>
                  <a:lnTo>
                    <a:pt x="414" y="2"/>
                  </a:lnTo>
                  <a:lnTo>
                    <a:pt x="412" y="1"/>
                  </a:lnTo>
                  <a:lnTo>
                    <a:pt x="409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>
                <a:solidFill>
                  <a:schemeClr val="lt1"/>
                </a:solidFill>
              </a:endParaRPr>
            </a:p>
          </p:txBody>
        </p:sp>
      </p:grpSp>
      <p:sp>
        <p:nvSpPr>
          <p:cNvPr id="104" name="Freeform 4404">
            <a:extLst>
              <a:ext uri="{FF2B5EF4-FFF2-40B4-BE49-F238E27FC236}">
                <a16:creationId xmlns:a16="http://schemas.microsoft.com/office/drawing/2014/main" id="{DF91D015-C26B-4016-9D8E-A4F27E7BBD97}"/>
              </a:ext>
            </a:extLst>
          </p:cNvPr>
          <p:cNvSpPr>
            <a:spLocks noEditPoints="1"/>
          </p:cNvSpPr>
          <p:nvPr/>
        </p:nvSpPr>
        <p:spPr bwMode="auto">
          <a:xfrm>
            <a:off x="7310461" y="5351652"/>
            <a:ext cx="156245" cy="213495"/>
          </a:xfrm>
          <a:custGeom>
            <a:avLst/>
            <a:gdLst>
              <a:gd name="T0" fmla="*/ 337 w 658"/>
              <a:gd name="T1" fmla="*/ 615 h 896"/>
              <a:gd name="T2" fmla="*/ 327 w 658"/>
              <a:gd name="T3" fmla="*/ 613 h 896"/>
              <a:gd name="T4" fmla="*/ 219 w 658"/>
              <a:gd name="T5" fmla="*/ 717 h 896"/>
              <a:gd name="T6" fmla="*/ 106 w 658"/>
              <a:gd name="T7" fmla="*/ 664 h 896"/>
              <a:gd name="T8" fmla="*/ 115 w 658"/>
              <a:gd name="T9" fmla="*/ 619 h 896"/>
              <a:gd name="T10" fmla="*/ 143 w 658"/>
              <a:gd name="T11" fmla="*/ 562 h 896"/>
              <a:gd name="T12" fmla="*/ 203 w 658"/>
              <a:gd name="T13" fmla="*/ 501 h 896"/>
              <a:gd name="T14" fmla="*/ 261 w 658"/>
              <a:gd name="T15" fmla="*/ 473 h 896"/>
              <a:gd name="T16" fmla="*/ 306 w 658"/>
              <a:gd name="T17" fmla="*/ 464 h 896"/>
              <a:gd name="T18" fmla="*/ 352 w 658"/>
              <a:gd name="T19" fmla="*/ 464 h 896"/>
              <a:gd name="T20" fmla="*/ 397 w 658"/>
              <a:gd name="T21" fmla="*/ 473 h 896"/>
              <a:gd name="T22" fmla="*/ 438 w 658"/>
              <a:gd name="T23" fmla="*/ 489 h 896"/>
              <a:gd name="T24" fmla="*/ 489 w 658"/>
              <a:gd name="T25" fmla="*/ 527 h 896"/>
              <a:gd name="T26" fmla="*/ 536 w 658"/>
              <a:gd name="T27" fmla="*/ 599 h 896"/>
              <a:gd name="T28" fmla="*/ 549 w 658"/>
              <a:gd name="T29" fmla="*/ 641 h 896"/>
              <a:gd name="T30" fmla="*/ 554 w 658"/>
              <a:gd name="T31" fmla="*/ 687 h 896"/>
              <a:gd name="T32" fmla="*/ 127 w 658"/>
              <a:gd name="T33" fmla="*/ 308 h 896"/>
              <a:gd name="T34" fmla="*/ 109 w 658"/>
              <a:gd name="T35" fmla="*/ 253 h 896"/>
              <a:gd name="T36" fmla="*/ 105 w 658"/>
              <a:gd name="T37" fmla="*/ 29 h 896"/>
              <a:gd name="T38" fmla="*/ 551 w 658"/>
              <a:gd name="T39" fmla="*/ 238 h 896"/>
              <a:gd name="T40" fmla="*/ 537 w 658"/>
              <a:gd name="T41" fmla="*/ 295 h 896"/>
              <a:gd name="T42" fmla="*/ 643 w 658"/>
              <a:gd name="T43" fmla="*/ 866 h 896"/>
              <a:gd name="T44" fmla="*/ 582 w 658"/>
              <a:gd name="T45" fmla="*/ 666 h 896"/>
              <a:gd name="T46" fmla="*/ 564 w 658"/>
              <a:gd name="T47" fmla="*/ 588 h 896"/>
              <a:gd name="T48" fmla="*/ 526 w 658"/>
              <a:gd name="T49" fmla="*/ 523 h 896"/>
              <a:gd name="T50" fmla="*/ 469 w 658"/>
              <a:gd name="T51" fmla="*/ 473 h 896"/>
              <a:gd name="T52" fmla="*/ 436 w 658"/>
              <a:gd name="T53" fmla="*/ 441 h 896"/>
              <a:gd name="T54" fmla="*/ 504 w 658"/>
              <a:gd name="T55" fmla="*/ 395 h 896"/>
              <a:gd name="T56" fmla="*/ 554 w 658"/>
              <a:gd name="T57" fmla="*/ 333 h 896"/>
              <a:gd name="T58" fmla="*/ 578 w 658"/>
              <a:gd name="T59" fmla="*/ 264 h 896"/>
              <a:gd name="T60" fmla="*/ 584 w 658"/>
              <a:gd name="T61" fmla="*/ 29 h 896"/>
              <a:gd name="T62" fmla="*/ 652 w 658"/>
              <a:gd name="T63" fmla="*/ 27 h 896"/>
              <a:gd name="T64" fmla="*/ 658 w 658"/>
              <a:gd name="T65" fmla="*/ 17 h 896"/>
              <a:gd name="T66" fmla="*/ 655 w 658"/>
              <a:gd name="T67" fmla="*/ 6 h 896"/>
              <a:gd name="T68" fmla="*/ 647 w 658"/>
              <a:gd name="T69" fmla="*/ 0 h 896"/>
              <a:gd name="T70" fmla="*/ 15 w 658"/>
              <a:gd name="T71" fmla="*/ 0 h 896"/>
              <a:gd name="T72" fmla="*/ 5 w 658"/>
              <a:gd name="T73" fmla="*/ 4 h 896"/>
              <a:gd name="T74" fmla="*/ 0 w 658"/>
              <a:gd name="T75" fmla="*/ 14 h 896"/>
              <a:gd name="T76" fmla="*/ 5 w 658"/>
              <a:gd name="T77" fmla="*/ 26 h 896"/>
              <a:gd name="T78" fmla="*/ 15 w 658"/>
              <a:gd name="T79" fmla="*/ 29 h 896"/>
              <a:gd name="T80" fmla="*/ 77 w 658"/>
              <a:gd name="T81" fmla="*/ 245 h 896"/>
              <a:gd name="T82" fmla="*/ 96 w 658"/>
              <a:gd name="T83" fmla="*/ 312 h 896"/>
              <a:gd name="T84" fmla="*/ 137 w 658"/>
              <a:gd name="T85" fmla="*/ 378 h 896"/>
              <a:gd name="T86" fmla="*/ 204 w 658"/>
              <a:gd name="T87" fmla="*/ 431 h 896"/>
              <a:gd name="T88" fmla="*/ 207 w 658"/>
              <a:gd name="T89" fmla="*/ 464 h 896"/>
              <a:gd name="T90" fmla="*/ 146 w 658"/>
              <a:gd name="T91" fmla="*/ 510 h 896"/>
              <a:gd name="T92" fmla="*/ 102 w 658"/>
              <a:gd name="T93" fmla="*/ 572 h 896"/>
              <a:gd name="T94" fmla="*/ 78 w 658"/>
              <a:gd name="T95" fmla="*/ 647 h 896"/>
              <a:gd name="T96" fmla="*/ 75 w 658"/>
              <a:gd name="T97" fmla="*/ 866 h 896"/>
              <a:gd name="T98" fmla="*/ 7 w 658"/>
              <a:gd name="T99" fmla="*/ 870 h 896"/>
              <a:gd name="T100" fmla="*/ 0 w 658"/>
              <a:gd name="T101" fmla="*/ 879 h 896"/>
              <a:gd name="T102" fmla="*/ 2 w 658"/>
              <a:gd name="T103" fmla="*/ 890 h 896"/>
              <a:gd name="T104" fmla="*/ 12 w 658"/>
              <a:gd name="T105" fmla="*/ 896 h 896"/>
              <a:gd name="T106" fmla="*/ 643 w 658"/>
              <a:gd name="T107" fmla="*/ 896 h 896"/>
              <a:gd name="T108" fmla="*/ 654 w 658"/>
              <a:gd name="T109" fmla="*/ 892 h 896"/>
              <a:gd name="T110" fmla="*/ 658 w 658"/>
              <a:gd name="T111" fmla="*/ 881 h 896"/>
              <a:gd name="T112" fmla="*/ 654 w 658"/>
              <a:gd name="T113" fmla="*/ 872 h 896"/>
              <a:gd name="T114" fmla="*/ 643 w 658"/>
              <a:gd name="T115" fmla="*/ 866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58" h="896">
                <a:moveTo>
                  <a:pt x="554" y="717"/>
                </a:moveTo>
                <a:lnTo>
                  <a:pt x="440" y="717"/>
                </a:lnTo>
                <a:lnTo>
                  <a:pt x="340" y="617"/>
                </a:lnTo>
                <a:lnTo>
                  <a:pt x="337" y="615"/>
                </a:lnTo>
                <a:lnTo>
                  <a:pt x="335" y="614"/>
                </a:lnTo>
                <a:lnTo>
                  <a:pt x="332" y="613"/>
                </a:lnTo>
                <a:lnTo>
                  <a:pt x="329" y="613"/>
                </a:lnTo>
                <a:lnTo>
                  <a:pt x="327" y="613"/>
                </a:lnTo>
                <a:lnTo>
                  <a:pt x="323" y="614"/>
                </a:lnTo>
                <a:lnTo>
                  <a:pt x="321" y="615"/>
                </a:lnTo>
                <a:lnTo>
                  <a:pt x="318" y="617"/>
                </a:lnTo>
                <a:lnTo>
                  <a:pt x="219" y="717"/>
                </a:lnTo>
                <a:lnTo>
                  <a:pt x="105" y="717"/>
                </a:lnTo>
                <a:lnTo>
                  <a:pt x="105" y="687"/>
                </a:lnTo>
                <a:lnTo>
                  <a:pt x="105" y="676"/>
                </a:lnTo>
                <a:lnTo>
                  <a:pt x="106" y="664"/>
                </a:lnTo>
                <a:lnTo>
                  <a:pt x="107" y="652"/>
                </a:lnTo>
                <a:lnTo>
                  <a:pt x="109" y="642"/>
                </a:lnTo>
                <a:lnTo>
                  <a:pt x="112" y="630"/>
                </a:lnTo>
                <a:lnTo>
                  <a:pt x="115" y="619"/>
                </a:lnTo>
                <a:lnTo>
                  <a:pt x="118" y="610"/>
                </a:lnTo>
                <a:lnTo>
                  <a:pt x="122" y="599"/>
                </a:lnTo>
                <a:lnTo>
                  <a:pt x="132" y="580"/>
                </a:lnTo>
                <a:lnTo>
                  <a:pt x="143" y="562"/>
                </a:lnTo>
                <a:lnTo>
                  <a:pt x="156" y="543"/>
                </a:lnTo>
                <a:lnTo>
                  <a:pt x="169" y="528"/>
                </a:lnTo>
                <a:lnTo>
                  <a:pt x="185" y="513"/>
                </a:lnTo>
                <a:lnTo>
                  <a:pt x="203" y="501"/>
                </a:lnTo>
                <a:lnTo>
                  <a:pt x="222" y="490"/>
                </a:lnTo>
                <a:lnTo>
                  <a:pt x="241" y="480"/>
                </a:lnTo>
                <a:lnTo>
                  <a:pt x="252" y="476"/>
                </a:lnTo>
                <a:lnTo>
                  <a:pt x="261" y="473"/>
                </a:lnTo>
                <a:lnTo>
                  <a:pt x="272" y="470"/>
                </a:lnTo>
                <a:lnTo>
                  <a:pt x="284" y="467"/>
                </a:lnTo>
                <a:lnTo>
                  <a:pt x="295" y="465"/>
                </a:lnTo>
                <a:lnTo>
                  <a:pt x="306" y="464"/>
                </a:lnTo>
                <a:lnTo>
                  <a:pt x="317" y="463"/>
                </a:lnTo>
                <a:lnTo>
                  <a:pt x="329" y="463"/>
                </a:lnTo>
                <a:lnTo>
                  <a:pt x="341" y="463"/>
                </a:lnTo>
                <a:lnTo>
                  <a:pt x="352" y="464"/>
                </a:lnTo>
                <a:lnTo>
                  <a:pt x="364" y="465"/>
                </a:lnTo>
                <a:lnTo>
                  <a:pt x="376" y="467"/>
                </a:lnTo>
                <a:lnTo>
                  <a:pt x="387" y="470"/>
                </a:lnTo>
                <a:lnTo>
                  <a:pt x="397" y="473"/>
                </a:lnTo>
                <a:lnTo>
                  <a:pt x="408" y="476"/>
                </a:lnTo>
                <a:lnTo>
                  <a:pt x="418" y="480"/>
                </a:lnTo>
                <a:lnTo>
                  <a:pt x="428" y="485"/>
                </a:lnTo>
                <a:lnTo>
                  <a:pt x="438" y="489"/>
                </a:lnTo>
                <a:lnTo>
                  <a:pt x="447" y="494"/>
                </a:lnTo>
                <a:lnTo>
                  <a:pt x="456" y="501"/>
                </a:lnTo>
                <a:lnTo>
                  <a:pt x="473" y="513"/>
                </a:lnTo>
                <a:lnTo>
                  <a:pt x="489" y="527"/>
                </a:lnTo>
                <a:lnTo>
                  <a:pt x="503" y="543"/>
                </a:lnTo>
                <a:lnTo>
                  <a:pt x="516" y="560"/>
                </a:lnTo>
                <a:lnTo>
                  <a:pt x="527" y="579"/>
                </a:lnTo>
                <a:lnTo>
                  <a:pt x="536" y="599"/>
                </a:lnTo>
                <a:lnTo>
                  <a:pt x="540" y="609"/>
                </a:lnTo>
                <a:lnTo>
                  <a:pt x="544" y="619"/>
                </a:lnTo>
                <a:lnTo>
                  <a:pt x="546" y="630"/>
                </a:lnTo>
                <a:lnTo>
                  <a:pt x="549" y="641"/>
                </a:lnTo>
                <a:lnTo>
                  <a:pt x="551" y="652"/>
                </a:lnTo>
                <a:lnTo>
                  <a:pt x="552" y="664"/>
                </a:lnTo>
                <a:lnTo>
                  <a:pt x="554" y="675"/>
                </a:lnTo>
                <a:lnTo>
                  <a:pt x="554" y="687"/>
                </a:lnTo>
                <a:lnTo>
                  <a:pt x="554" y="717"/>
                </a:lnTo>
                <a:close/>
                <a:moveTo>
                  <a:pt x="135" y="321"/>
                </a:moveTo>
                <a:lnTo>
                  <a:pt x="133" y="321"/>
                </a:lnTo>
                <a:lnTo>
                  <a:pt x="127" y="308"/>
                </a:lnTo>
                <a:lnTo>
                  <a:pt x="121" y="295"/>
                </a:lnTo>
                <a:lnTo>
                  <a:pt x="116" y="281"/>
                </a:lnTo>
                <a:lnTo>
                  <a:pt x="113" y="267"/>
                </a:lnTo>
                <a:lnTo>
                  <a:pt x="109" y="253"/>
                </a:lnTo>
                <a:lnTo>
                  <a:pt x="106" y="238"/>
                </a:lnTo>
                <a:lnTo>
                  <a:pt x="105" y="223"/>
                </a:lnTo>
                <a:lnTo>
                  <a:pt x="105" y="208"/>
                </a:lnTo>
                <a:lnTo>
                  <a:pt x="105" y="29"/>
                </a:lnTo>
                <a:lnTo>
                  <a:pt x="554" y="29"/>
                </a:lnTo>
                <a:lnTo>
                  <a:pt x="554" y="208"/>
                </a:lnTo>
                <a:lnTo>
                  <a:pt x="554" y="223"/>
                </a:lnTo>
                <a:lnTo>
                  <a:pt x="551" y="238"/>
                </a:lnTo>
                <a:lnTo>
                  <a:pt x="549" y="253"/>
                </a:lnTo>
                <a:lnTo>
                  <a:pt x="546" y="267"/>
                </a:lnTo>
                <a:lnTo>
                  <a:pt x="542" y="281"/>
                </a:lnTo>
                <a:lnTo>
                  <a:pt x="537" y="295"/>
                </a:lnTo>
                <a:lnTo>
                  <a:pt x="531" y="308"/>
                </a:lnTo>
                <a:lnTo>
                  <a:pt x="525" y="321"/>
                </a:lnTo>
                <a:lnTo>
                  <a:pt x="135" y="321"/>
                </a:lnTo>
                <a:close/>
                <a:moveTo>
                  <a:pt x="643" y="866"/>
                </a:moveTo>
                <a:lnTo>
                  <a:pt x="584" y="866"/>
                </a:lnTo>
                <a:lnTo>
                  <a:pt x="584" y="732"/>
                </a:lnTo>
                <a:lnTo>
                  <a:pt x="584" y="687"/>
                </a:lnTo>
                <a:lnTo>
                  <a:pt x="582" y="666"/>
                </a:lnTo>
                <a:lnTo>
                  <a:pt x="580" y="646"/>
                </a:lnTo>
                <a:lnTo>
                  <a:pt x="576" y="626"/>
                </a:lnTo>
                <a:lnTo>
                  <a:pt x="571" y="606"/>
                </a:lnTo>
                <a:lnTo>
                  <a:pt x="564" y="588"/>
                </a:lnTo>
                <a:lnTo>
                  <a:pt x="557" y="570"/>
                </a:lnTo>
                <a:lnTo>
                  <a:pt x="547" y="554"/>
                </a:lnTo>
                <a:lnTo>
                  <a:pt x="537" y="538"/>
                </a:lnTo>
                <a:lnTo>
                  <a:pt x="526" y="523"/>
                </a:lnTo>
                <a:lnTo>
                  <a:pt x="513" y="509"/>
                </a:lnTo>
                <a:lnTo>
                  <a:pt x="499" y="496"/>
                </a:lnTo>
                <a:lnTo>
                  <a:pt x="485" y="483"/>
                </a:lnTo>
                <a:lnTo>
                  <a:pt x="469" y="473"/>
                </a:lnTo>
                <a:lnTo>
                  <a:pt x="453" y="463"/>
                </a:lnTo>
                <a:lnTo>
                  <a:pt x="435" y="455"/>
                </a:lnTo>
                <a:lnTo>
                  <a:pt x="417" y="448"/>
                </a:lnTo>
                <a:lnTo>
                  <a:pt x="436" y="441"/>
                </a:lnTo>
                <a:lnTo>
                  <a:pt x="455" y="431"/>
                </a:lnTo>
                <a:lnTo>
                  <a:pt x="472" y="420"/>
                </a:lnTo>
                <a:lnTo>
                  <a:pt x="489" y="409"/>
                </a:lnTo>
                <a:lnTo>
                  <a:pt x="504" y="395"/>
                </a:lnTo>
                <a:lnTo>
                  <a:pt x="519" y="381"/>
                </a:lnTo>
                <a:lnTo>
                  <a:pt x="532" y="365"/>
                </a:lnTo>
                <a:lnTo>
                  <a:pt x="544" y="348"/>
                </a:lnTo>
                <a:lnTo>
                  <a:pt x="554" y="333"/>
                </a:lnTo>
                <a:lnTo>
                  <a:pt x="561" y="317"/>
                </a:lnTo>
                <a:lnTo>
                  <a:pt x="567" y="299"/>
                </a:lnTo>
                <a:lnTo>
                  <a:pt x="573" y="282"/>
                </a:lnTo>
                <a:lnTo>
                  <a:pt x="578" y="264"/>
                </a:lnTo>
                <a:lnTo>
                  <a:pt x="580" y="246"/>
                </a:lnTo>
                <a:lnTo>
                  <a:pt x="582" y="228"/>
                </a:lnTo>
                <a:lnTo>
                  <a:pt x="584" y="208"/>
                </a:lnTo>
                <a:lnTo>
                  <a:pt x="584" y="29"/>
                </a:lnTo>
                <a:lnTo>
                  <a:pt x="643" y="29"/>
                </a:lnTo>
                <a:lnTo>
                  <a:pt x="647" y="29"/>
                </a:lnTo>
                <a:lnTo>
                  <a:pt x="649" y="28"/>
                </a:lnTo>
                <a:lnTo>
                  <a:pt x="652" y="27"/>
                </a:lnTo>
                <a:lnTo>
                  <a:pt x="654" y="26"/>
                </a:lnTo>
                <a:lnTo>
                  <a:pt x="655" y="23"/>
                </a:lnTo>
                <a:lnTo>
                  <a:pt x="657" y="20"/>
                </a:lnTo>
                <a:lnTo>
                  <a:pt x="658" y="17"/>
                </a:lnTo>
                <a:lnTo>
                  <a:pt x="658" y="14"/>
                </a:lnTo>
                <a:lnTo>
                  <a:pt x="658" y="12"/>
                </a:lnTo>
                <a:lnTo>
                  <a:pt x="657" y="8"/>
                </a:lnTo>
                <a:lnTo>
                  <a:pt x="655" y="6"/>
                </a:lnTo>
                <a:lnTo>
                  <a:pt x="654" y="4"/>
                </a:lnTo>
                <a:lnTo>
                  <a:pt x="652" y="2"/>
                </a:lnTo>
                <a:lnTo>
                  <a:pt x="649" y="1"/>
                </a:lnTo>
                <a:lnTo>
                  <a:pt x="647" y="0"/>
                </a:lnTo>
                <a:lnTo>
                  <a:pt x="643" y="0"/>
                </a:lnTo>
                <a:lnTo>
                  <a:pt x="569" y="0"/>
                </a:lnTo>
                <a:lnTo>
                  <a:pt x="90" y="0"/>
                </a:lnTo>
                <a:lnTo>
                  <a:pt x="15" y="0"/>
                </a:lnTo>
                <a:lnTo>
                  <a:pt x="12" y="0"/>
                </a:lnTo>
                <a:lnTo>
                  <a:pt x="9" y="1"/>
                </a:lnTo>
                <a:lnTo>
                  <a:pt x="7" y="2"/>
                </a:lnTo>
                <a:lnTo>
                  <a:pt x="5" y="4"/>
                </a:lnTo>
                <a:lnTo>
                  <a:pt x="2" y="6"/>
                </a:lnTo>
                <a:lnTo>
                  <a:pt x="1" y="8"/>
                </a:lnTo>
                <a:lnTo>
                  <a:pt x="0" y="12"/>
                </a:lnTo>
                <a:lnTo>
                  <a:pt x="0" y="14"/>
                </a:lnTo>
                <a:lnTo>
                  <a:pt x="0" y="17"/>
                </a:lnTo>
                <a:lnTo>
                  <a:pt x="1" y="20"/>
                </a:lnTo>
                <a:lnTo>
                  <a:pt x="2" y="23"/>
                </a:lnTo>
                <a:lnTo>
                  <a:pt x="5" y="26"/>
                </a:lnTo>
                <a:lnTo>
                  <a:pt x="7" y="27"/>
                </a:lnTo>
                <a:lnTo>
                  <a:pt x="9" y="28"/>
                </a:lnTo>
                <a:lnTo>
                  <a:pt x="12" y="29"/>
                </a:lnTo>
                <a:lnTo>
                  <a:pt x="15" y="29"/>
                </a:lnTo>
                <a:lnTo>
                  <a:pt x="75" y="29"/>
                </a:lnTo>
                <a:lnTo>
                  <a:pt x="75" y="208"/>
                </a:lnTo>
                <a:lnTo>
                  <a:pt x="75" y="227"/>
                </a:lnTo>
                <a:lnTo>
                  <a:pt x="77" y="245"/>
                </a:lnTo>
                <a:lnTo>
                  <a:pt x="81" y="263"/>
                </a:lnTo>
                <a:lnTo>
                  <a:pt x="85" y="280"/>
                </a:lnTo>
                <a:lnTo>
                  <a:pt x="89" y="296"/>
                </a:lnTo>
                <a:lnTo>
                  <a:pt x="96" y="312"/>
                </a:lnTo>
                <a:lnTo>
                  <a:pt x="103" y="328"/>
                </a:lnTo>
                <a:lnTo>
                  <a:pt x="112" y="343"/>
                </a:lnTo>
                <a:lnTo>
                  <a:pt x="124" y="361"/>
                </a:lnTo>
                <a:lnTo>
                  <a:pt x="137" y="378"/>
                </a:lnTo>
                <a:lnTo>
                  <a:pt x="152" y="394"/>
                </a:lnTo>
                <a:lnTo>
                  <a:pt x="168" y="407"/>
                </a:lnTo>
                <a:lnTo>
                  <a:pt x="185" y="420"/>
                </a:lnTo>
                <a:lnTo>
                  <a:pt x="204" y="431"/>
                </a:lnTo>
                <a:lnTo>
                  <a:pt x="222" y="441"/>
                </a:lnTo>
                <a:lnTo>
                  <a:pt x="242" y="448"/>
                </a:lnTo>
                <a:lnTo>
                  <a:pt x="224" y="456"/>
                </a:lnTo>
                <a:lnTo>
                  <a:pt x="207" y="464"/>
                </a:lnTo>
                <a:lnTo>
                  <a:pt x="190" y="474"/>
                </a:lnTo>
                <a:lnTo>
                  <a:pt x="175" y="485"/>
                </a:lnTo>
                <a:lnTo>
                  <a:pt x="160" y="497"/>
                </a:lnTo>
                <a:lnTo>
                  <a:pt x="146" y="510"/>
                </a:lnTo>
                <a:lnTo>
                  <a:pt x="133" y="524"/>
                </a:lnTo>
                <a:lnTo>
                  <a:pt x="121" y="539"/>
                </a:lnTo>
                <a:lnTo>
                  <a:pt x="112" y="555"/>
                </a:lnTo>
                <a:lnTo>
                  <a:pt x="102" y="572"/>
                </a:lnTo>
                <a:lnTo>
                  <a:pt x="93" y="589"/>
                </a:lnTo>
                <a:lnTo>
                  <a:pt x="87" y="609"/>
                </a:lnTo>
                <a:lnTo>
                  <a:pt x="82" y="627"/>
                </a:lnTo>
                <a:lnTo>
                  <a:pt x="78" y="647"/>
                </a:lnTo>
                <a:lnTo>
                  <a:pt x="76" y="666"/>
                </a:lnTo>
                <a:lnTo>
                  <a:pt x="75" y="687"/>
                </a:lnTo>
                <a:lnTo>
                  <a:pt x="75" y="732"/>
                </a:lnTo>
                <a:lnTo>
                  <a:pt x="75" y="866"/>
                </a:lnTo>
                <a:lnTo>
                  <a:pt x="15" y="866"/>
                </a:lnTo>
                <a:lnTo>
                  <a:pt x="12" y="866"/>
                </a:lnTo>
                <a:lnTo>
                  <a:pt x="9" y="868"/>
                </a:lnTo>
                <a:lnTo>
                  <a:pt x="7" y="870"/>
                </a:lnTo>
                <a:lnTo>
                  <a:pt x="5" y="872"/>
                </a:lnTo>
                <a:lnTo>
                  <a:pt x="2" y="874"/>
                </a:lnTo>
                <a:lnTo>
                  <a:pt x="1" y="876"/>
                </a:lnTo>
                <a:lnTo>
                  <a:pt x="0" y="879"/>
                </a:lnTo>
                <a:lnTo>
                  <a:pt x="0" y="881"/>
                </a:lnTo>
                <a:lnTo>
                  <a:pt x="0" y="885"/>
                </a:lnTo>
                <a:lnTo>
                  <a:pt x="1" y="888"/>
                </a:lnTo>
                <a:lnTo>
                  <a:pt x="2" y="890"/>
                </a:lnTo>
                <a:lnTo>
                  <a:pt x="5" y="892"/>
                </a:lnTo>
                <a:lnTo>
                  <a:pt x="7" y="894"/>
                </a:lnTo>
                <a:lnTo>
                  <a:pt x="9" y="895"/>
                </a:lnTo>
                <a:lnTo>
                  <a:pt x="12" y="896"/>
                </a:lnTo>
                <a:lnTo>
                  <a:pt x="15" y="896"/>
                </a:lnTo>
                <a:lnTo>
                  <a:pt x="90" y="896"/>
                </a:lnTo>
                <a:lnTo>
                  <a:pt x="569" y="896"/>
                </a:lnTo>
                <a:lnTo>
                  <a:pt x="643" y="896"/>
                </a:lnTo>
                <a:lnTo>
                  <a:pt x="647" y="896"/>
                </a:lnTo>
                <a:lnTo>
                  <a:pt x="649" y="895"/>
                </a:lnTo>
                <a:lnTo>
                  <a:pt x="652" y="894"/>
                </a:lnTo>
                <a:lnTo>
                  <a:pt x="654" y="892"/>
                </a:lnTo>
                <a:lnTo>
                  <a:pt x="655" y="890"/>
                </a:lnTo>
                <a:lnTo>
                  <a:pt x="657" y="888"/>
                </a:lnTo>
                <a:lnTo>
                  <a:pt x="658" y="885"/>
                </a:lnTo>
                <a:lnTo>
                  <a:pt x="658" y="881"/>
                </a:lnTo>
                <a:lnTo>
                  <a:pt x="658" y="879"/>
                </a:lnTo>
                <a:lnTo>
                  <a:pt x="657" y="876"/>
                </a:lnTo>
                <a:lnTo>
                  <a:pt x="655" y="874"/>
                </a:lnTo>
                <a:lnTo>
                  <a:pt x="654" y="872"/>
                </a:lnTo>
                <a:lnTo>
                  <a:pt x="652" y="870"/>
                </a:lnTo>
                <a:lnTo>
                  <a:pt x="649" y="868"/>
                </a:lnTo>
                <a:lnTo>
                  <a:pt x="647" y="866"/>
                </a:lnTo>
                <a:lnTo>
                  <a:pt x="643" y="8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lt1"/>
              </a:solidFill>
            </a:endParaRPr>
          </a:p>
        </p:txBody>
      </p:sp>
      <p:sp>
        <p:nvSpPr>
          <p:cNvPr id="111" name="TextBox 47">
            <a:extLst>
              <a:ext uri="{FF2B5EF4-FFF2-40B4-BE49-F238E27FC236}">
                <a16:creationId xmlns:a16="http://schemas.microsoft.com/office/drawing/2014/main" id="{853D56A8-B36E-4520-9327-AFD45439C181}"/>
              </a:ext>
            </a:extLst>
          </p:cNvPr>
          <p:cNvSpPr txBox="1"/>
          <p:nvPr/>
        </p:nvSpPr>
        <p:spPr>
          <a:xfrm>
            <a:off x="7184003" y="1929813"/>
            <a:ext cx="4537090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ellentesq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i. Maecena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olutp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dio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t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isq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g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eo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apib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obor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l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Vestibul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lesuad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rttit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s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pulvinar. 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527B1B3A-4567-4AE9-A7C9-FA9D5A1F3929}"/>
              </a:ext>
            </a:extLst>
          </p:cNvPr>
          <p:cNvSpPr/>
          <p:nvPr/>
        </p:nvSpPr>
        <p:spPr>
          <a:xfrm>
            <a:off x="1584886" y="1392078"/>
            <a:ext cx="3952875" cy="49244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CE295E">
                  <a:shade val="30000"/>
                  <a:satMod val="115000"/>
                </a:srgbClr>
              </a:gs>
              <a:gs pos="50000">
                <a:srgbClr val="CE295E">
                  <a:shade val="67500"/>
                  <a:satMod val="115000"/>
                </a:srgbClr>
              </a:gs>
              <a:gs pos="100000">
                <a:srgbClr val="CE295E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922831E1-31DF-4125-9BCB-8937CAE543E1}"/>
              </a:ext>
            </a:extLst>
          </p:cNvPr>
          <p:cNvSpPr/>
          <p:nvPr/>
        </p:nvSpPr>
        <p:spPr>
          <a:xfrm>
            <a:off x="1642267" y="1440715"/>
            <a:ext cx="385764" cy="3857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08F666DF-6069-4309-98CB-67441794E384}"/>
              </a:ext>
            </a:extLst>
          </p:cNvPr>
          <p:cNvGrpSpPr/>
          <p:nvPr/>
        </p:nvGrpSpPr>
        <p:grpSpPr>
          <a:xfrm>
            <a:off x="1737022" y="1535470"/>
            <a:ext cx="196255" cy="196255"/>
            <a:chOff x="4319588" y="2492375"/>
            <a:chExt cx="287338" cy="287338"/>
          </a:xfrm>
          <a:solidFill>
            <a:srgbClr val="CE295E"/>
          </a:solidFill>
        </p:grpSpPr>
        <p:sp>
          <p:nvSpPr>
            <p:cNvPr id="124" name="Freeform 372">
              <a:extLst>
                <a:ext uri="{FF2B5EF4-FFF2-40B4-BE49-F238E27FC236}">
                  <a16:creationId xmlns:a16="http://schemas.microsoft.com/office/drawing/2014/main" id="{CC6C2715-550E-40A0-AB0F-10386CBA9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73">
              <a:extLst>
                <a:ext uri="{FF2B5EF4-FFF2-40B4-BE49-F238E27FC236}">
                  <a16:creationId xmlns:a16="http://schemas.microsoft.com/office/drawing/2014/main" id="{F7218EF6-60ED-4D4C-9831-CF6B6BB7D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8" name="Title 127">
            <a:extLst>
              <a:ext uri="{FF2B5EF4-FFF2-40B4-BE49-F238E27FC236}">
                <a16:creationId xmlns:a16="http://schemas.microsoft.com/office/drawing/2014/main" id="{212B4947-E6CD-467B-AF72-9BC942B53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</a:p>
        </p:txBody>
      </p:sp>
      <p:sp>
        <p:nvSpPr>
          <p:cNvPr id="129" name="Footer Placeholder 128">
            <a:extLst>
              <a:ext uri="{FF2B5EF4-FFF2-40B4-BE49-F238E27FC236}">
                <a16:creationId xmlns:a16="http://schemas.microsoft.com/office/drawing/2014/main" id="{B1EC8198-CF19-4894-AB0A-1568DC1EF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130" name="Slide Number Placeholder 129">
            <a:extLst>
              <a:ext uri="{FF2B5EF4-FFF2-40B4-BE49-F238E27FC236}">
                <a16:creationId xmlns:a16="http://schemas.microsoft.com/office/drawing/2014/main" id="{6B37FA8E-54BF-4AF0-BF0C-916033E8A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79043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>
            <a:extLst>
              <a:ext uri="{FF2B5EF4-FFF2-40B4-BE49-F238E27FC236}">
                <a16:creationId xmlns:a16="http://schemas.microsoft.com/office/drawing/2014/main" id="{89EE4202-00E7-40D6-8DFE-65BD1F34C13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45" b="4164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91998AC3-3F72-4E18-AD44-DA7123753FC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78000">
                <a:schemeClr val="bg1">
                  <a:alpha val="98000"/>
                </a:schemeClr>
              </a:gs>
              <a:gs pos="20000">
                <a:srgbClr val="FFFFFF"/>
              </a:gs>
              <a:gs pos="0">
                <a:schemeClr val="bg1">
                  <a:alpha val="2500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3456EF4-7336-4056-B580-6F2F127F2E86}"/>
              </a:ext>
            </a:extLst>
          </p:cNvPr>
          <p:cNvGrpSpPr/>
          <p:nvPr/>
        </p:nvGrpSpPr>
        <p:grpSpPr>
          <a:xfrm>
            <a:off x="682613" y="1132637"/>
            <a:ext cx="10826773" cy="4862513"/>
            <a:chOff x="682614" y="997743"/>
            <a:chExt cx="10826773" cy="4862513"/>
          </a:xfrm>
        </p:grpSpPr>
        <p:sp>
          <p:nvSpPr>
            <p:cNvPr id="23" name="Oval 19">
              <a:extLst>
                <a:ext uri="{FF2B5EF4-FFF2-40B4-BE49-F238E27FC236}">
                  <a16:creationId xmlns:a16="http://schemas.microsoft.com/office/drawing/2014/main" id="{BA2914FD-569D-4B9F-A2B1-4A170012E4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7725" y="1993106"/>
              <a:ext cx="2876550" cy="2873375"/>
            </a:xfrm>
            <a:prstGeom prst="ellipse">
              <a:avLst/>
            </a:prstGeom>
            <a:gradFill flip="none" rotWithShape="1">
              <a:gsLst>
                <a:gs pos="17000">
                  <a:srgbClr val="DFE8E8"/>
                </a:gs>
                <a:gs pos="61000">
                  <a:srgbClr val="A3BEBD"/>
                </a:gs>
              </a:gsLst>
              <a:path path="circle">
                <a:fillToRect l="100000" b="100000"/>
              </a:path>
              <a:tileRect t="-100000" r="-100000"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287C8BCA-E5D9-4C3B-94EE-457519647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400" y="3953668"/>
              <a:ext cx="1863725" cy="1906588"/>
            </a:xfrm>
            <a:custGeom>
              <a:avLst/>
              <a:gdLst>
                <a:gd name="T0" fmla="*/ 655 w 1151"/>
                <a:gd name="T1" fmla="*/ 392 h 1179"/>
                <a:gd name="T2" fmla="*/ 649 w 1151"/>
                <a:gd name="T3" fmla="*/ 313 h 1179"/>
                <a:gd name="T4" fmla="*/ 720 w 1151"/>
                <a:gd name="T5" fmla="*/ 98 h 1179"/>
                <a:gd name="T6" fmla="*/ 1077 w 1151"/>
                <a:gd name="T7" fmla="*/ 98 h 1179"/>
                <a:gd name="T8" fmla="*/ 1151 w 1151"/>
                <a:gd name="T9" fmla="*/ 269 h 1179"/>
                <a:gd name="T10" fmla="*/ 1149 w 1151"/>
                <a:gd name="T11" fmla="*/ 309 h 1179"/>
                <a:gd name="T12" fmla="*/ 965 w 1151"/>
                <a:gd name="T13" fmla="*/ 707 h 1179"/>
                <a:gd name="T14" fmla="*/ 0 w 1151"/>
                <a:gd name="T15" fmla="*/ 919 h 1179"/>
                <a:gd name="T16" fmla="*/ 655 w 1151"/>
                <a:gd name="T17" fmla="*/ 392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1" h="1179">
                  <a:moveTo>
                    <a:pt x="655" y="392"/>
                  </a:moveTo>
                  <a:cubicBezTo>
                    <a:pt x="656" y="367"/>
                    <a:pt x="649" y="315"/>
                    <a:pt x="649" y="313"/>
                  </a:cubicBezTo>
                  <a:cubicBezTo>
                    <a:pt x="638" y="237"/>
                    <a:pt x="662" y="157"/>
                    <a:pt x="720" y="98"/>
                  </a:cubicBezTo>
                  <a:cubicBezTo>
                    <a:pt x="819" y="0"/>
                    <a:pt x="979" y="0"/>
                    <a:pt x="1077" y="98"/>
                  </a:cubicBezTo>
                  <a:cubicBezTo>
                    <a:pt x="1125" y="146"/>
                    <a:pt x="1149" y="207"/>
                    <a:pt x="1151" y="269"/>
                  </a:cubicBezTo>
                  <a:cubicBezTo>
                    <a:pt x="1151" y="283"/>
                    <a:pt x="1150" y="296"/>
                    <a:pt x="1149" y="309"/>
                  </a:cubicBezTo>
                  <a:cubicBezTo>
                    <a:pt x="1137" y="459"/>
                    <a:pt x="1066" y="593"/>
                    <a:pt x="965" y="707"/>
                  </a:cubicBezTo>
                  <a:cubicBezTo>
                    <a:pt x="545" y="1179"/>
                    <a:pt x="0" y="919"/>
                    <a:pt x="0" y="919"/>
                  </a:cubicBezTo>
                  <a:cubicBezTo>
                    <a:pt x="0" y="919"/>
                    <a:pt x="643" y="943"/>
                    <a:pt x="655" y="39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58000">
                  <a:srgbClr val="3FBAEA"/>
                </a:gs>
              </a:gsLst>
              <a:lin ang="16800000" scaled="0"/>
              <a:tileRect/>
            </a:gradFill>
            <a:ln w="7938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Line 20">
              <a:extLst>
                <a:ext uri="{FF2B5EF4-FFF2-40B4-BE49-F238E27FC236}">
                  <a16:creationId xmlns:a16="http://schemas.microsoft.com/office/drawing/2014/main" id="{F71ED4C9-CF69-455D-8147-86151F4778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96000" y="337105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21">
              <a:extLst>
                <a:ext uri="{FF2B5EF4-FFF2-40B4-BE49-F238E27FC236}">
                  <a16:creationId xmlns:a16="http://schemas.microsoft.com/office/drawing/2014/main" id="{FE11B499-210C-47BA-B0A2-4AD3588D66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96000" y="3371056"/>
              <a:ext cx="0" cy="0"/>
            </a:xfrm>
            <a:prstGeom prst="line">
              <a:avLst/>
            </a:prstGeom>
            <a:noFill/>
            <a:ln w="63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F2B9BBB4-749F-4498-999F-4CB402BFA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8013" y="1429543"/>
              <a:ext cx="2171700" cy="1035050"/>
            </a:xfrm>
            <a:custGeom>
              <a:avLst/>
              <a:gdLst>
                <a:gd name="T0" fmla="*/ 506 w 1341"/>
                <a:gd name="T1" fmla="*/ 478 h 640"/>
                <a:gd name="T2" fmla="*/ 454 w 1341"/>
                <a:gd name="T3" fmla="*/ 538 h 640"/>
                <a:gd name="T4" fmla="*/ 252 w 1341"/>
                <a:gd name="T5" fmla="*/ 640 h 640"/>
                <a:gd name="T6" fmla="*/ 0 w 1341"/>
                <a:gd name="T7" fmla="*/ 387 h 640"/>
                <a:gd name="T8" fmla="*/ 68 w 1341"/>
                <a:gd name="T9" fmla="*/ 214 h 640"/>
                <a:gd name="T10" fmla="*/ 98 w 1341"/>
                <a:gd name="T11" fmla="*/ 188 h 640"/>
                <a:gd name="T12" fmla="*/ 510 w 1341"/>
                <a:gd name="T13" fmla="*/ 36 h 640"/>
                <a:gd name="T14" fmla="*/ 1341 w 1341"/>
                <a:gd name="T15" fmla="*/ 569 h 640"/>
                <a:gd name="T16" fmla="*/ 506 w 1341"/>
                <a:gd name="T17" fmla="*/ 47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1" h="640">
                  <a:moveTo>
                    <a:pt x="506" y="478"/>
                  </a:moveTo>
                  <a:cubicBezTo>
                    <a:pt x="488" y="495"/>
                    <a:pt x="455" y="537"/>
                    <a:pt x="454" y="538"/>
                  </a:cubicBezTo>
                  <a:cubicBezTo>
                    <a:pt x="408" y="600"/>
                    <a:pt x="335" y="640"/>
                    <a:pt x="252" y="640"/>
                  </a:cubicBezTo>
                  <a:cubicBezTo>
                    <a:pt x="113" y="640"/>
                    <a:pt x="0" y="527"/>
                    <a:pt x="0" y="387"/>
                  </a:cubicBezTo>
                  <a:cubicBezTo>
                    <a:pt x="0" y="320"/>
                    <a:pt x="26" y="260"/>
                    <a:pt x="68" y="214"/>
                  </a:cubicBezTo>
                  <a:cubicBezTo>
                    <a:pt x="78" y="205"/>
                    <a:pt x="88" y="196"/>
                    <a:pt x="98" y="188"/>
                  </a:cubicBezTo>
                  <a:cubicBezTo>
                    <a:pt x="213" y="90"/>
                    <a:pt x="357" y="45"/>
                    <a:pt x="510" y="36"/>
                  </a:cubicBezTo>
                  <a:cubicBezTo>
                    <a:pt x="1140" y="0"/>
                    <a:pt x="1341" y="569"/>
                    <a:pt x="1341" y="569"/>
                  </a:cubicBezTo>
                  <a:cubicBezTo>
                    <a:pt x="1341" y="569"/>
                    <a:pt x="904" y="97"/>
                    <a:pt x="506" y="47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7938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D1CE1D2C-5769-403C-B0BF-89C875AFB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2050256"/>
              <a:ext cx="1909763" cy="1862138"/>
            </a:xfrm>
            <a:custGeom>
              <a:avLst/>
              <a:gdLst>
                <a:gd name="T0" fmla="*/ 392 w 1179"/>
                <a:gd name="T1" fmla="*/ 496 h 1151"/>
                <a:gd name="T2" fmla="*/ 313 w 1179"/>
                <a:gd name="T3" fmla="*/ 502 h 1151"/>
                <a:gd name="T4" fmla="*/ 98 w 1179"/>
                <a:gd name="T5" fmla="*/ 431 h 1151"/>
                <a:gd name="T6" fmla="*/ 98 w 1179"/>
                <a:gd name="T7" fmla="*/ 74 h 1151"/>
                <a:gd name="T8" fmla="*/ 269 w 1179"/>
                <a:gd name="T9" fmla="*/ 0 h 1151"/>
                <a:gd name="T10" fmla="*/ 309 w 1179"/>
                <a:gd name="T11" fmla="*/ 2 h 1151"/>
                <a:gd name="T12" fmla="*/ 707 w 1179"/>
                <a:gd name="T13" fmla="*/ 186 h 1151"/>
                <a:gd name="T14" fmla="*/ 919 w 1179"/>
                <a:gd name="T15" fmla="*/ 1151 h 1151"/>
                <a:gd name="T16" fmla="*/ 392 w 1179"/>
                <a:gd name="T17" fmla="*/ 496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9" h="1151">
                  <a:moveTo>
                    <a:pt x="392" y="496"/>
                  </a:moveTo>
                  <a:cubicBezTo>
                    <a:pt x="367" y="495"/>
                    <a:pt x="315" y="502"/>
                    <a:pt x="313" y="502"/>
                  </a:cubicBezTo>
                  <a:cubicBezTo>
                    <a:pt x="237" y="513"/>
                    <a:pt x="157" y="489"/>
                    <a:pt x="98" y="431"/>
                  </a:cubicBezTo>
                  <a:cubicBezTo>
                    <a:pt x="0" y="332"/>
                    <a:pt x="0" y="172"/>
                    <a:pt x="98" y="74"/>
                  </a:cubicBezTo>
                  <a:cubicBezTo>
                    <a:pt x="146" y="26"/>
                    <a:pt x="207" y="2"/>
                    <a:pt x="269" y="0"/>
                  </a:cubicBezTo>
                  <a:cubicBezTo>
                    <a:pt x="283" y="0"/>
                    <a:pt x="296" y="1"/>
                    <a:pt x="309" y="2"/>
                  </a:cubicBezTo>
                  <a:cubicBezTo>
                    <a:pt x="459" y="14"/>
                    <a:pt x="593" y="85"/>
                    <a:pt x="707" y="186"/>
                  </a:cubicBezTo>
                  <a:cubicBezTo>
                    <a:pt x="1179" y="606"/>
                    <a:pt x="919" y="1151"/>
                    <a:pt x="919" y="1151"/>
                  </a:cubicBezTo>
                  <a:cubicBezTo>
                    <a:pt x="919" y="1151"/>
                    <a:pt x="943" y="508"/>
                    <a:pt x="392" y="496"/>
                  </a:cubicBezTo>
                  <a:close/>
                </a:path>
              </a:pathLst>
            </a:custGeom>
            <a:gradFill>
              <a:gsLst>
                <a:gs pos="10000">
                  <a:schemeClr val="bg1"/>
                </a:gs>
                <a:gs pos="75000">
                  <a:srgbClr val="59D2D8"/>
                </a:gs>
              </a:gsLst>
              <a:lin ang="12600000" scaled="0"/>
            </a:gradFill>
            <a:ln w="7938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9E4BD808-8A2E-4D82-8BA1-B29B4FC25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788" y="3021806"/>
              <a:ext cx="1036638" cy="2170113"/>
            </a:xfrm>
            <a:custGeom>
              <a:avLst/>
              <a:gdLst>
                <a:gd name="T0" fmla="*/ 162 w 640"/>
                <a:gd name="T1" fmla="*/ 506 h 1341"/>
                <a:gd name="T2" fmla="*/ 102 w 640"/>
                <a:gd name="T3" fmla="*/ 454 h 1341"/>
                <a:gd name="T4" fmla="*/ 0 w 640"/>
                <a:gd name="T5" fmla="*/ 252 h 1341"/>
                <a:gd name="T6" fmla="*/ 253 w 640"/>
                <a:gd name="T7" fmla="*/ 0 h 1341"/>
                <a:gd name="T8" fmla="*/ 426 w 640"/>
                <a:gd name="T9" fmla="*/ 68 h 1341"/>
                <a:gd name="T10" fmla="*/ 452 w 640"/>
                <a:gd name="T11" fmla="*/ 98 h 1341"/>
                <a:gd name="T12" fmla="*/ 604 w 640"/>
                <a:gd name="T13" fmla="*/ 510 h 1341"/>
                <a:gd name="T14" fmla="*/ 71 w 640"/>
                <a:gd name="T15" fmla="*/ 1341 h 1341"/>
                <a:gd name="T16" fmla="*/ 162 w 640"/>
                <a:gd name="T17" fmla="*/ 506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0" h="1341">
                  <a:moveTo>
                    <a:pt x="162" y="506"/>
                  </a:moveTo>
                  <a:cubicBezTo>
                    <a:pt x="145" y="488"/>
                    <a:pt x="103" y="455"/>
                    <a:pt x="102" y="454"/>
                  </a:cubicBezTo>
                  <a:cubicBezTo>
                    <a:pt x="40" y="408"/>
                    <a:pt x="0" y="335"/>
                    <a:pt x="0" y="252"/>
                  </a:cubicBezTo>
                  <a:cubicBezTo>
                    <a:pt x="0" y="113"/>
                    <a:pt x="113" y="0"/>
                    <a:pt x="253" y="0"/>
                  </a:cubicBezTo>
                  <a:cubicBezTo>
                    <a:pt x="320" y="0"/>
                    <a:pt x="380" y="26"/>
                    <a:pt x="426" y="68"/>
                  </a:cubicBezTo>
                  <a:cubicBezTo>
                    <a:pt x="435" y="78"/>
                    <a:pt x="444" y="88"/>
                    <a:pt x="452" y="98"/>
                  </a:cubicBezTo>
                  <a:cubicBezTo>
                    <a:pt x="550" y="213"/>
                    <a:pt x="595" y="357"/>
                    <a:pt x="604" y="510"/>
                  </a:cubicBezTo>
                  <a:cubicBezTo>
                    <a:pt x="640" y="1140"/>
                    <a:pt x="71" y="1341"/>
                    <a:pt x="71" y="1341"/>
                  </a:cubicBezTo>
                  <a:cubicBezTo>
                    <a:pt x="71" y="1341"/>
                    <a:pt x="543" y="904"/>
                    <a:pt x="162" y="506"/>
                  </a:cubicBezTo>
                  <a:close/>
                </a:path>
              </a:pathLst>
            </a:custGeom>
            <a:gradFill flip="none" rotWithShape="1">
              <a:gsLst>
                <a:gs pos="9000">
                  <a:schemeClr val="bg1"/>
                </a:gs>
                <a:gs pos="61000">
                  <a:srgbClr val="4BC5E2"/>
                </a:gs>
              </a:gsLst>
              <a:lin ang="15000000" scaled="0"/>
              <a:tileRect/>
            </a:gradFill>
            <a:ln w="7938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67297A8C-F00E-4D0E-9E33-4844B5906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288" y="4394993"/>
              <a:ext cx="2171700" cy="1035050"/>
            </a:xfrm>
            <a:custGeom>
              <a:avLst/>
              <a:gdLst>
                <a:gd name="T0" fmla="*/ 835 w 1341"/>
                <a:gd name="T1" fmla="*/ 162 h 640"/>
                <a:gd name="T2" fmla="*/ 887 w 1341"/>
                <a:gd name="T3" fmla="*/ 102 h 640"/>
                <a:gd name="T4" fmla="*/ 1089 w 1341"/>
                <a:gd name="T5" fmla="*/ 0 h 640"/>
                <a:gd name="T6" fmla="*/ 1341 w 1341"/>
                <a:gd name="T7" fmla="*/ 253 h 640"/>
                <a:gd name="T8" fmla="*/ 1273 w 1341"/>
                <a:gd name="T9" fmla="*/ 426 h 640"/>
                <a:gd name="T10" fmla="*/ 1243 w 1341"/>
                <a:gd name="T11" fmla="*/ 452 h 640"/>
                <a:gd name="T12" fmla="*/ 831 w 1341"/>
                <a:gd name="T13" fmla="*/ 604 h 640"/>
                <a:gd name="T14" fmla="*/ 0 w 1341"/>
                <a:gd name="T15" fmla="*/ 71 h 640"/>
                <a:gd name="T16" fmla="*/ 835 w 1341"/>
                <a:gd name="T17" fmla="*/ 162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1" h="640">
                  <a:moveTo>
                    <a:pt x="835" y="162"/>
                  </a:moveTo>
                  <a:cubicBezTo>
                    <a:pt x="853" y="145"/>
                    <a:pt x="886" y="103"/>
                    <a:pt x="887" y="102"/>
                  </a:cubicBezTo>
                  <a:cubicBezTo>
                    <a:pt x="933" y="40"/>
                    <a:pt x="1006" y="0"/>
                    <a:pt x="1089" y="0"/>
                  </a:cubicBezTo>
                  <a:cubicBezTo>
                    <a:pt x="1228" y="0"/>
                    <a:pt x="1341" y="113"/>
                    <a:pt x="1341" y="253"/>
                  </a:cubicBezTo>
                  <a:cubicBezTo>
                    <a:pt x="1341" y="320"/>
                    <a:pt x="1315" y="380"/>
                    <a:pt x="1273" y="426"/>
                  </a:cubicBezTo>
                  <a:cubicBezTo>
                    <a:pt x="1263" y="435"/>
                    <a:pt x="1253" y="444"/>
                    <a:pt x="1243" y="452"/>
                  </a:cubicBezTo>
                  <a:cubicBezTo>
                    <a:pt x="1128" y="550"/>
                    <a:pt x="984" y="595"/>
                    <a:pt x="831" y="604"/>
                  </a:cubicBezTo>
                  <a:cubicBezTo>
                    <a:pt x="201" y="640"/>
                    <a:pt x="0" y="71"/>
                    <a:pt x="0" y="71"/>
                  </a:cubicBezTo>
                  <a:cubicBezTo>
                    <a:pt x="0" y="71"/>
                    <a:pt x="437" y="543"/>
                    <a:pt x="835" y="162"/>
                  </a:cubicBezTo>
                  <a:close/>
                </a:path>
              </a:pathLst>
            </a:custGeom>
            <a:gradFill>
              <a:gsLst>
                <a:gs pos="76000">
                  <a:srgbClr val="3BB6ED"/>
                </a:gs>
                <a:gs pos="15000">
                  <a:schemeClr val="bg1"/>
                </a:gs>
              </a:gsLst>
              <a:lin ang="0" scaled="0"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5179591A-96CB-4695-99D7-C8D1D3C7C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0775" y="2947193"/>
              <a:ext cx="1909763" cy="1862138"/>
            </a:xfrm>
            <a:custGeom>
              <a:avLst/>
              <a:gdLst>
                <a:gd name="T0" fmla="*/ 787 w 1179"/>
                <a:gd name="T1" fmla="*/ 655 h 1151"/>
                <a:gd name="T2" fmla="*/ 866 w 1179"/>
                <a:gd name="T3" fmla="*/ 649 h 1151"/>
                <a:gd name="T4" fmla="*/ 1081 w 1179"/>
                <a:gd name="T5" fmla="*/ 720 h 1151"/>
                <a:gd name="T6" fmla="*/ 1081 w 1179"/>
                <a:gd name="T7" fmla="*/ 1077 h 1151"/>
                <a:gd name="T8" fmla="*/ 910 w 1179"/>
                <a:gd name="T9" fmla="*/ 1151 h 1151"/>
                <a:gd name="T10" fmla="*/ 870 w 1179"/>
                <a:gd name="T11" fmla="*/ 1149 h 1151"/>
                <a:gd name="T12" fmla="*/ 472 w 1179"/>
                <a:gd name="T13" fmla="*/ 965 h 1151"/>
                <a:gd name="T14" fmla="*/ 260 w 1179"/>
                <a:gd name="T15" fmla="*/ 0 h 1151"/>
                <a:gd name="T16" fmla="*/ 787 w 1179"/>
                <a:gd name="T17" fmla="*/ 655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9" h="1151">
                  <a:moveTo>
                    <a:pt x="787" y="655"/>
                  </a:moveTo>
                  <a:cubicBezTo>
                    <a:pt x="812" y="656"/>
                    <a:pt x="864" y="649"/>
                    <a:pt x="866" y="649"/>
                  </a:cubicBezTo>
                  <a:cubicBezTo>
                    <a:pt x="942" y="638"/>
                    <a:pt x="1022" y="662"/>
                    <a:pt x="1081" y="720"/>
                  </a:cubicBezTo>
                  <a:cubicBezTo>
                    <a:pt x="1179" y="819"/>
                    <a:pt x="1179" y="979"/>
                    <a:pt x="1081" y="1077"/>
                  </a:cubicBezTo>
                  <a:cubicBezTo>
                    <a:pt x="1033" y="1125"/>
                    <a:pt x="972" y="1149"/>
                    <a:pt x="910" y="1151"/>
                  </a:cubicBezTo>
                  <a:cubicBezTo>
                    <a:pt x="896" y="1151"/>
                    <a:pt x="883" y="1150"/>
                    <a:pt x="870" y="1149"/>
                  </a:cubicBezTo>
                  <a:cubicBezTo>
                    <a:pt x="720" y="1137"/>
                    <a:pt x="586" y="1066"/>
                    <a:pt x="472" y="965"/>
                  </a:cubicBezTo>
                  <a:cubicBezTo>
                    <a:pt x="0" y="545"/>
                    <a:pt x="260" y="0"/>
                    <a:pt x="260" y="0"/>
                  </a:cubicBezTo>
                  <a:cubicBezTo>
                    <a:pt x="260" y="0"/>
                    <a:pt x="236" y="643"/>
                    <a:pt x="787" y="655"/>
                  </a:cubicBezTo>
                  <a:close/>
                </a:path>
              </a:pathLst>
            </a:custGeom>
            <a:gradFill>
              <a:gsLst>
                <a:gs pos="16000">
                  <a:schemeClr val="bg1"/>
                </a:gs>
                <a:gs pos="89000">
                  <a:srgbClr val="37B2F0"/>
                </a:gs>
              </a:gsLst>
              <a:lin ang="2400000" scaled="0"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B1C8796-EBB3-4E20-B7E1-7395F4634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870" y="1667668"/>
              <a:ext cx="1036638" cy="2170113"/>
            </a:xfrm>
            <a:custGeom>
              <a:avLst/>
              <a:gdLst>
                <a:gd name="T0" fmla="*/ 478 w 640"/>
                <a:gd name="T1" fmla="*/ 835 h 1341"/>
                <a:gd name="T2" fmla="*/ 538 w 640"/>
                <a:gd name="T3" fmla="*/ 887 h 1341"/>
                <a:gd name="T4" fmla="*/ 640 w 640"/>
                <a:gd name="T5" fmla="*/ 1089 h 1341"/>
                <a:gd name="T6" fmla="*/ 387 w 640"/>
                <a:gd name="T7" fmla="*/ 1341 h 1341"/>
                <a:gd name="T8" fmla="*/ 214 w 640"/>
                <a:gd name="T9" fmla="*/ 1273 h 1341"/>
                <a:gd name="T10" fmla="*/ 188 w 640"/>
                <a:gd name="T11" fmla="*/ 1243 h 1341"/>
                <a:gd name="T12" fmla="*/ 36 w 640"/>
                <a:gd name="T13" fmla="*/ 831 h 1341"/>
                <a:gd name="T14" fmla="*/ 569 w 640"/>
                <a:gd name="T15" fmla="*/ 0 h 1341"/>
                <a:gd name="T16" fmla="*/ 478 w 640"/>
                <a:gd name="T17" fmla="*/ 835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0" h="1341">
                  <a:moveTo>
                    <a:pt x="478" y="835"/>
                  </a:moveTo>
                  <a:cubicBezTo>
                    <a:pt x="495" y="853"/>
                    <a:pt x="537" y="886"/>
                    <a:pt x="538" y="887"/>
                  </a:cubicBezTo>
                  <a:cubicBezTo>
                    <a:pt x="600" y="933"/>
                    <a:pt x="640" y="1006"/>
                    <a:pt x="640" y="1089"/>
                  </a:cubicBezTo>
                  <a:cubicBezTo>
                    <a:pt x="640" y="1228"/>
                    <a:pt x="527" y="1341"/>
                    <a:pt x="387" y="1341"/>
                  </a:cubicBezTo>
                  <a:cubicBezTo>
                    <a:pt x="320" y="1341"/>
                    <a:pt x="260" y="1315"/>
                    <a:pt x="214" y="1273"/>
                  </a:cubicBezTo>
                  <a:cubicBezTo>
                    <a:pt x="205" y="1263"/>
                    <a:pt x="196" y="1253"/>
                    <a:pt x="188" y="1243"/>
                  </a:cubicBezTo>
                  <a:cubicBezTo>
                    <a:pt x="90" y="1128"/>
                    <a:pt x="45" y="984"/>
                    <a:pt x="36" y="831"/>
                  </a:cubicBezTo>
                  <a:cubicBezTo>
                    <a:pt x="0" y="201"/>
                    <a:pt x="569" y="0"/>
                    <a:pt x="569" y="0"/>
                  </a:cubicBezTo>
                  <a:cubicBezTo>
                    <a:pt x="569" y="0"/>
                    <a:pt x="97" y="437"/>
                    <a:pt x="478" y="835"/>
                  </a:cubicBezTo>
                  <a:close/>
                </a:path>
              </a:pathLst>
            </a:custGeom>
            <a:gradFill>
              <a:gsLst>
                <a:gs pos="9000">
                  <a:schemeClr val="bg1"/>
                </a:gs>
                <a:gs pos="100000">
                  <a:srgbClr val="2FAAF5"/>
                </a:gs>
              </a:gsLst>
              <a:lin ang="5400000" scaled="0"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7AE8C31A-5B22-40DD-901A-2600BB51E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875" y="997743"/>
              <a:ext cx="1863725" cy="1908175"/>
            </a:xfrm>
            <a:custGeom>
              <a:avLst/>
              <a:gdLst>
                <a:gd name="T0" fmla="*/ 496 w 1151"/>
                <a:gd name="T1" fmla="*/ 787 h 1179"/>
                <a:gd name="T2" fmla="*/ 502 w 1151"/>
                <a:gd name="T3" fmla="*/ 866 h 1179"/>
                <a:gd name="T4" fmla="*/ 431 w 1151"/>
                <a:gd name="T5" fmla="*/ 1081 h 1179"/>
                <a:gd name="T6" fmla="*/ 74 w 1151"/>
                <a:gd name="T7" fmla="*/ 1081 h 1179"/>
                <a:gd name="T8" fmla="*/ 0 w 1151"/>
                <a:gd name="T9" fmla="*/ 910 h 1179"/>
                <a:gd name="T10" fmla="*/ 2 w 1151"/>
                <a:gd name="T11" fmla="*/ 870 h 1179"/>
                <a:gd name="T12" fmla="*/ 186 w 1151"/>
                <a:gd name="T13" fmla="*/ 472 h 1179"/>
                <a:gd name="T14" fmla="*/ 1151 w 1151"/>
                <a:gd name="T15" fmla="*/ 260 h 1179"/>
                <a:gd name="T16" fmla="*/ 496 w 1151"/>
                <a:gd name="T17" fmla="*/ 787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1" h="1179">
                  <a:moveTo>
                    <a:pt x="496" y="787"/>
                  </a:moveTo>
                  <a:cubicBezTo>
                    <a:pt x="495" y="812"/>
                    <a:pt x="502" y="864"/>
                    <a:pt x="502" y="866"/>
                  </a:cubicBezTo>
                  <a:cubicBezTo>
                    <a:pt x="513" y="942"/>
                    <a:pt x="489" y="1022"/>
                    <a:pt x="431" y="1081"/>
                  </a:cubicBezTo>
                  <a:cubicBezTo>
                    <a:pt x="332" y="1179"/>
                    <a:pt x="172" y="1179"/>
                    <a:pt x="74" y="1081"/>
                  </a:cubicBezTo>
                  <a:cubicBezTo>
                    <a:pt x="26" y="1033"/>
                    <a:pt x="2" y="972"/>
                    <a:pt x="0" y="910"/>
                  </a:cubicBezTo>
                  <a:cubicBezTo>
                    <a:pt x="0" y="896"/>
                    <a:pt x="1" y="883"/>
                    <a:pt x="2" y="870"/>
                  </a:cubicBezTo>
                  <a:cubicBezTo>
                    <a:pt x="14" y="720"/>
                    <a:pt x="85" y="586"/>
                    <a:pt x="186" y="472"/>
                  </a:cubicBezTo>
                  <a:cubicBezTo>
                    <a:pt x="606" y="0"/>
                    <a:pt x="1151" y="260"/>
                    <a:pt x="1151" y="260"/>
                  </a:cubicBezTo>
                  <a:cubicBezTo>
                    <a:pt x="1151" y="260"/>
                    <a:pt x="508" y="236"/>
                    <a:pt x="496" y="787"/>
                  </a:cubicBezTo>
                  <a:close/>
                </a:path>
              </a:pathLst>
            </a:custGeom>
            <a:gradFill>
              <a:gsLst>
                <a:gs pos="10000">
                  <a:schemeClr val="bg1"/>
                </a:gs>
                <a:gs pos="89000">
                  <a:srgbClr val="1C9BFE"/>
                </a:gs>
              </a:gsLst>
              <a:lin ang="6000000" scaled="0"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F4A193B-B7EB-4D75-9887-9EB5867EEEA7}"/>
                </a:ext>
              </a:extLst>
            </p:cNvPr>
            <p:cNvSpPr txBox="1"/>
            <p:nvPr/>
          </p:nvSpPr>
          <p:spPr>
            <a:xfrm>
              <a:off x="5803292" y="1811059"/>
              <a:ext cx="58541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d-ID" sz="2800" b="1" dirty="0">
                  <a:solidFill>
                    <a:schemeClr val="bg1"/>
                  </a:solidFill>
                </a:rPr>
                <a:t>A8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A50553A-E38D-4FA2-9C06-48421C7BE8C4}"/>
                </a:ext>
              </a:extLst>
            </p:cNvPr>
            <p:cNvSpPr txBox="1"/>
            <p:nvPr/>
          </p:nvSpPr>
          <p:spPr>
            <a:xfrm>
              <a:off x="6756074" y="2188230"/>
              <a:ext cx="58541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d-ID" sz="2800" b="1" dirty="0">
                  <a:solidFill>
                    <a:schemeClr val="bg1"/>
                  </a:solidFill>
                </a:rPr>
                <a:t>A7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AE79AAD-904E-4113-8A5E-3E5ECB1058BD}"/>
                </a:ext>
              </a:extLst>
            </p:cNvPr>
            <p:cNvSpPr txBox="1"/>
            <p:nvPr/>
          </p:nvSpPr>
          <p:spPr>
            <a:xfrm>
              <a:off x="7156734" y="3165801"/>
              <a:ext cx="58541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d-ID" sz="2800" b="1" dirty="0">
                  <a:solidFill>
                    <a:schemeClr val="bg1"/>
                  </a:solidFill>
                </a:rPr>
                <a:t>A6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EC45CBD-1196-4BDF-B736-3EBD5A8B6FC8}"/>
                </a:ext>
              </a:extLst>
            </p:cNvPr>
            <p:cNvSpPr txBox="1"/>
            <p:nvPr/>
          </p:nvSpPr>
          <p:spPr>
            <a:xfrm>
              <a:off x="6759251" y="4153692"/>
              <a:ext cx="58541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d-ID" sz="2800" b="1" dirty="0">
                  <a:solidFill>
                    <a:schemeClr val="bg1"/>
                  </a:solidFill>
                </a:rPr>
                <a:t>A5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5C43A5D-735B-46DE-B911-3D1497763EDC}"/>
                </a:ext>
              </a:extLst>
            </p:cNvPr>
            <p:cNvSpPr txBox="1"/>
            <p:nvPr/>
          </p:nvSpPr>
          <p:spPr>
            <a:xfrm>
              <a:off x="5803292" y="4578538"/>
              <a:ext cx="58541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d-ID" sz="2800" b="1" dirty="0">
                  <a:solidFill>
                    <a:schemeClr val="bg1"/>
                  </a:solidFill>
                </a:rPr>
                <a:t>A4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602E254B-71F9-49F2-B98B-83F200264921}"/>
                </a:ext>
              </a:extLst>
            </p:cNvPr>
            <p:cNvSpPr txBox="1"/>
            <p:nvPr/>
          </p:nvSpPr>
          <p:spPr>
            <a:xfrm>
              <a:off x="4873463" y="4153692"/>
              <a:ext cx="58541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d-ID" sz="2800" b="1" dirty="0">
                  <a:solidFill>
                    <a:schemeClr val="bg1"/>
                  </a:solidFill>
                </a:rPr>
                <a:t>A3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FDF6B72-EB07-4308-B412-36BA7CCD4C1A}"/>
                </a:ext>
              </a:extLst>
            </p:cNvPr>
            <p:cNvSpPr txBox="1"/>
            <p:nvPr/>
          </p:nvSpPr>
          <p:spPr>
            <a:xfrm>
              <a:off x="4422167" y="3165801"/>
              <a:ext cx="58541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d-ID" sz="2800" b="1" dirty="0">
                  <a:solidFill>
                    <a:schemeClr val="bg1"/>
                  </a:solidFill>
                </a:rPr>
                <a:t>A2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BBDF9B8-2A60-4F69-877E-B29DC81A9552}"/>
                </a:ext>
              </a:extLst>
            </p:cNvPr>
            <p:cNvSpPr txBox="1"/>
            <p:nvPr/>
          </p:nvSpPr>
          <p:spPr>
            <a:xfrm>
              <a:off x="4873463" y="2188230"/>
              <a:ext cx="58541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d-ID" sz="2800" b="1" dirty="0">
                  <a:solidFill>
                    <a:schemeClr val="bg1"/>
                  </a:solidFill>
                </a:rPr>
                <a:t>A1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4B662BC-015D-4D73-BDCB-F609D3E2010F}"/>
                </a:ext>
              </a:extLst>
            </p:cNvPr>
            <p:cNvSpPr txBox="1"/>
            <p:nvPr/>
          </p:nvSpPr>
          <p:spPr>
            <a:xfrm>
              <a:off x="5129214" y="3382029"/>
              <a:ext cx="1933574" cy="6908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d-ID" sz="2000" b="1" dirty="0">
                  <a:solidFill>
                    <a:schemeClr val="bg1"/>
                  </a:solidFill>
                </a:rPr>
                <a:t>Strategic </a:t>
              </a:r>
              <a:br>
                <a:rPr lang="id-ID" sz="2000" b="1" dirty="0">
                  <a:solidFill>
                    <a:schemeClr val="bg1"/>
                  </a:solidFill>
                </a:rPr>
              </a:br>
              <a:r>
                <a:rPr lang="id-ID" sz="2000" b="1" dirty="0">
                  <a:solidFill>
                    <a:schemeClr val="bg1"/>
                  </a:solidFill>
                </a:rPr>
                <a:t>Planning Cycle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84C3A3AA-FF82-4097-AA2F-A52DF297E8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3772" y="2832347"/>
              <a:ext cx="464458" cy="511236"/>
            </a:xfrm>
            <a:custGeom>
              <a:avLst/>
              <a:gdLst>
                <a:gd name="T0" fmla="*/ 78 w 87"/>
                <a:gd name="T1" fmla="*/ 34 h 96"/>
                <a:gd name="T2" fmla="*/ 40 w 87"/>
                <a:gd name="T3" fmla="*/ 0 h 96"/>
                <a:gd name="T4" fmla="*/ 0 w 87"/>
                <a:gd name="T5" fmla="*/ 40 h 96"/>
                <a:gd name="T6" fmla="*/ 16 w 87"/>
                <a:gd name="T7" fmla="*/ 72 h 96"/>
                <a:gd name="T8" fmla="*/ 16 w 87"/>
                <a:gd name="T9" fmla="*/ 94 h 96"/>
                <a:gd name="T10" fmla="*/ 18 w 87"/>
                <a:gd name="T11" fmla="*/ 96 h 96"/>
                <a:gd name="T12" fmla="*/ 58 w 87"/>
                <a:gd name="T13" fmla="*/ 96 h 96"/>
                <a:gd name="T14" fmla="*/ 60 w 87"/>
                <a:gd name="T15" fmla="*/ 94 h 96"/>
                <a:gd name="T16" fmla="*/ 60 w 87"/>
                <a:gd name="T17" fmla="*/ 82 h 96"/>
                <a:gd name="T18" fmla="*/ 74 w 87"/>
                <a:gd name="T19" fmla="*/ 78 h 96"/>
                <a:gd name="T20" fmla="*/ 78 w 87"/>
                <a:gd name="T21" fmla="*/ 60 h 96"/>
                <a:gd name="T22" fmla="*/ 82 w 87"/>
                <a:gd name="T23" fmla="*/ 60 h 96"/>
                <a:gd name="T24" fmla="*/ 87 w 87"/>
                <a:gd name="T25" fmla="*/ 54 h 96"/>
                <a:gd name="T26" fmla="*/ 78 w 87"/>
                <a:gd name="T27" fmla="*/ 34 h 96"/>
                <a:gd name="T28" fmla="*/ 58 w 87"/>
                <a:gd name="T29" fmla="*/ 31 h 96"/>
                <a:gd name="T30" fmla="*/ 35 w 87"/>
                <a:gd name="T31" fmla="*/ 66 h 96"/>
                <a:gd name="T32" fmla="*/ 32 w 87"/>
                <a:gd name="T33" fmla="*/ 67 h 96"/>
                <a:gd name="T34" fmla="*/ 31 w 87"/>
                <a:gd name="T35" fmla="*/ 64 h 96"/>
                <a:gd name="T36" fmla="*/ 35 w 87"/>
                <a:gd name="T37" fmla="*/ 44 h 96"/>
                <a:gd name="T38" fmla="*/ 27 w 87"/>
                <a:gd name="T39" fmla="*/ 44 h 96"/>
                <a:gd name="T40" fmla="*/ 25 w 87"/>
                <a:gd name="T41" fmla="*/ 43 h 96"/>
                <a:gd name="T42" fmla="*/ 25 w 87"/>
                <a:gd name="T43" fmla="*/ 41 h 96"/>
                <a:gd name="T44" fmla="*/ 37 w 87"/>
                <a:gd name="T45" fmla="*/ 13 h 96"/>
                <a:gd name="T46" fmla="*/ 38 w 87"/>
                <a:gd name="T47" fmla="*/ 12 h 96"/>
                <a:gd name="T48" fmla="*/ 53 w 87"/>
                <a:gd name="T49" fmla="*/ 12 h 96"/>
                <a:gd name="T50" fmla="*/ 54 w 87"/>
                <a:gd name="T51" fmla="*/ 13 h 96"/>
                <a:gd name="T52" fmla="*/ 54 w 87"/>
                <a:gd name="T53" fmla="*/ 15 h 96"/>
                <a:gd name="T54" fmla="*/ 49 w 87"/>
                <a:gd name="T55" fmla="*/ 28 h 96"/>
                <a:gd name="T56" fmla="*/ 56 w 87"/>
                <a:gd name="T57" fmla="*/ 28 h 96"/>
                <a:gd name="T58" fmla="*/ 58 w 87"/>
                <a:gd name="T59" fmla="*/ 29 h 96"/>
                <a:gd name="T60" fmla="*/ 58 w 87"/>
                <a:gd name="T61" fmla="*/ 3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7" h="96">
                  <a:moveTo>
                    <a:pt x="78" y="34"/>
                  </a:move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7" y="58"/>
                    <a:pt x="87" y="54"/>
                  </a:cubicBezTo>
                  <a:cubicBezTo>
                    <a:pt x="87" y="47"/>
                    <a:pt x="81" y="41"/>
                    <a:pt x="78" y="34"/>
                  </a:cubicBezTo>
                  <a:close/>
                  <a:moveTo>
                    <a:pt x="58" y="31"/>
                  </a:moveTo>
                  <a:cubicBezTo>
                    <a:pt x="35" y="66"/>
                    <a:pt x="35" y="66"/>
                    <a:pt x="35" y="66"/>
                  </a:cubicBezTo>
                  <a:cubicBezTo>
                    <a:pt x="34" y="67"/>
                    <a:pt x="33" y="67"/>
                    <a:pt x="32" y="67"/>
                  </a:cubicBezTo>
                  <a:cubicBezTo>
                    <a:pt x="32" y="66"/>
                    <a:pt x="31" y="65"/>
                    <a:pt x="31" y="6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6" y="44"/>
                    <a:pt x="26" y="44"/>
                    <a:pt x="25" y="43"/>
                  </a:cubicBezTo>
                  <a:cubicBezTo>
                    <a:pt x="25" y="43"/>
                    <a:pt x="25" y="42"/>
                    <a:pt x="25" y="41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2"/>
                    <a:pt x="38" y="12"/>
                    <a:pt x="38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12"/>
                    <a:pt x="54" y="12"/>
                    <a:pt x="54" y="13"/>
                  </a:cubicBezTo>
                  <a:cubicBezTo>
                    <a:pt x="55" y="13"/>
                    <a:pt x="55" y="14"/>
                    <a:pt x="54" y="15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7" y="28"/>
                    <a:pt x="58" y="28"/>
                    <a:pt x="58" y="29"/>
                  </a:cubicBezTo>
                  <a:cubicBezTo>
                    <a:pt x="58" y="30"/>
                    <a:pt x="58" y="30"/>
                    <a:pt x="58" y="3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D77F6283-F99E-46C2-8D11-45EE51C69AEF}"/>
                </a:ext>
              </a:extLst>
            </p:cNvPr>
            <p:cNvGrpSpPr/>
            <p:nvPr/>
          </p:nvGrpSpPr>
          <p:grpSpPr>
            <a:xfrm>
              <a:off x="8592730" y="1171856"/>
              <a:ext cx="2916657" cy="846460"/>
              <a:chOff x="8421135" y="1564764"/>
              <a:chExt cx="2916657" cy="846460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E67CBCE5-FB3B-4BA7-97A2-2C5D7E958676}"/>
                  </a:ext>
                </a:extLst>
              </p:cNvPr>
              <p:cNvSpPr/>
              <p:nvPr/>
            </p:nvSpPr>
            <p:spPr>
              <a:xfrm>
                <a:off x="8421135" y="1564764"/>
                <a:ext cx="492592" cy="492592"/>
              </a:xfrm>
              <a:prstGeom prst="ellipse">
                <a:avLst/>
              </a:prstGeom>
              <a:gradFill>
                <a:gsLst>
                  <a:gs pos="100000">
                    <a:srgbClr val="79E3D5"/>
                  </a:gs>
                  <a:gs pos="9000">
                    <a:srgbClr val="3DD7C1"/>
                  </a:gs>
                </a:gsLst>
                <a:lin ang="10200000" scaled="0"/>
              </a:gradFill>
              <a:ln w="7938" cap="flat">
                <a:noFill/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id-ID" sz="1400" b="1" dirty="0">
                    <a:solidFill>
                      <a:schemeClr val="bg1"/>
                    </a:solidFill>
                  </a:rPr>
                  <a:t>A5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E828F3C5-4ABF-429E-9043-CE33CCBE9495}"/>
                  </a:ext>
                </a:extLst>
              </p:cNvPr>
              <p:cNvSpPr txBox="1"/>
              <p:nvPr/>
            </p:nvSpPr>
            <p:spPr>
              <a:xfrm>
                <a:off x="9043871" y="1672561"/>
                <a:ext cx="187682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id-ID" sz="1400" b="1" dirty="0"/>
                  <a:t>Formulate Strategy</a:t>
                </a:r>
                <a:endParaRPr lang="en-US" sz="1400" b="1" dirty="0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F84FF158-5234-4965-8CE4-0DEC67DC9657}"/>
                  </a:ext>
                </a:extLst>
              </p:cNvPr>
              <p:cNvSpPr txBox="1"/>
              <p:nvPr/>
            </p:nvSpPr>
            <p:spPr>
              <a:xfrm>
                <a:off x="9043871" y="2072670"/>
                <a:ext cx="229392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E7DAA51F-11BF-4A84-B3EC-17B01EAF954D}"/>
                </a:ext>
              </a:extLst>
            </p:cNvPr>
            <p:cNvGrpSpPr/>
            <p:nvPr/>
          </p:nvGrpSpPr>
          <p:grpSpPr>
            <a:xfrm>
              <a:off x="8592730" y="2394465"/>
              <a:ext cx="2916657" cy="846460"/>
              <a:chOff x="8421135" y="1564764"/>
              <a:chExt cx="2916657" cy="846460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9908DF73-4870-42D5-B1D0-DFF8A3F42EBB}"/>
                  </a:ext>
                </a:extLst>
              </p:cNvPr>
              <p:cNvSpPr/>
              <p:nvPr/>
            </p:nvSpPr>
            <p:spPr>
              <a:xfrm>
                <a:off x="8421135" y="1564764"/>
                <a:ext cx="492592" cy="492592"/>
              </a:xfrm>
              <a:prstGeom prst="ellipse">
                <a:avLst/>
              </a:prstGeom>
              <a:gradFill>
                <a:gsLst>
                  <a:gs pos="84000">
                    <a:srgbClr val="59D2D8"/>
                  </a:gs>
                  <a:gs pos="29000">
                    <a:srgbClr val="2BB0B7"/>
                  </a:gs>
                </a:gsLst>
                <a:lin ang="10200000" scaled="0"/>
              </a:gradFill>
              <a:ln w="7938" cap="flat">
                <a:noFill/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id-ID" sz="1400" b="1" dirty="0">
                    <a:solidFill>
                      <a:schemeClr val="bg1"/>
                    </a:solidFill>
                  </a:rPr>
                  <a:t>A6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2FB5BA97-3514-431D-B3D5-62C82BDB2152}"/>
                  </a:ext>
                </a:extLst>
              </p:cNvPr>
              <p:cNvSpPr txBox="1"/>
              <p:nvPr/>
            </p:nvSpPr>
            <p:spPr>
              <a:xfrm>
                <a:off x="9043871" y="1672561"/>
                <a:ext cx="187682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id-ID" sz="1400" b="1" dirty="0"/>
                  <a:t>Propose Mission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B87CE67B-38E6-4061-AC23-B024D7D34AA7}"/>
                  </a:ext>
                </a:extLst>
              </p:cNvPr>
              <p:cNvSpPr txBox="1"/>
              <p:nvPr/>
            </p:nvSpPr>
            <p:spPr>
              <a:xfrm>
                <a:off x="9043871" y="2072670"/>
                <a:ext cx="229392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4BC83493-DDB6-4605-A3AD-645D5EBCA7D4}"/>
                </a:ext>
              </a:extLst>
            </p:cNvPr>
            <p:cNvGrpSpPr/>
            <p:nvPr/>
          </p:nvGrpSpPr>
          <p:grpSpPr>
            <a:xfrm>
              <a:off x="8592730" y="3617074"/>
              <a:ext cx="2916657" cy="846460"/>
              <a:chOff x="8421135" y="1564764"/>
              <a:chExt cx="2916657" cy="846460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43DDEF26-0C06-473B-9B65-36603316D3F5}"/>
                  </a:ext>
                </a:extLst>
              </p:cNvPr>
              <p:cNvSpPr/>
              <p:nvPr/>
            </p:nvSpPr>
            <p:spPr>
              <a:xfrm>
                <a:off x="8421135" y="1564764"/>
                <a:ext cx="492592" cy="492592"/>
              </a:xfrm>
              <a:prstGeom prst="ellipse">
                <a:avLst/>
              </a:prstGeom>
              <a:gradFill flip="none" rotWithShape="1">
                <a:gsLst>
                  <a:gs pos="81416">
                    <a:srgbClr val="4BC5E2"/>
                  </a:gs>
                  <a:gs pos="14000">
                    <a:srgbClr val="2BBBDD"/>
                  </a:gs>
                </a:gsLst>
                <a:lin ang="15000000" scaled="0"/>
                <a:tileRect/>
              </a:gradFill>
              <a:ln w="7938" cap="flat">
                <a:noFill/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id-ID" sz="1400" b="1" dirty="0">
                    <a:solidFill>
                      <a:schemeClr val="bg1"/>
                    </a:solidFill>
                  </a:rPr>
                  <a:t>A7</a:t>
                </a:r>
                <a:endParaRPr lang="en-US" sz="1400" dirty="0"/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8F2ABF50-0D1F-4872-8516-6C3299C338FC}"/>
                  </a:ext>
                </a:extLst>
              </p:cNvPr>
              <p:cNvSpPr txBox="1"/>
              <p:nvPr/>
            </p:nvSpPr>
            <p:spPr>
              <a:xfrm>
                <a:off x="9043871" y="1672561"/>
                <a:ext cx="187682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id-ID" sz="1400" b="1" dirty="0"/>
                  <a:t>Propose Goal</a:t>
                </a:r>
                <a:endParaRPr lang="en-US" sz="1400" b="1" dirty="0"/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D3D3945C-6680-483A-A96A-BD20E6D4068C}"/>
                  </a:ext>
                </a:extLst>
              </p:cNvPr>
              <p:cNvSpPr txBox="1"/>
              <p:nvPr/>
            </p:nvSpPr>
            <p:spPr>
              <a:xfrm>
                <a:off x="9043871" y="2072670"/>
                <a:ext cx="229392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24AD00B0-124A-461D-B2FA-44583F2725A5}"/>
                </a:ext>
              </a:extLst>
            </p:cNvPr>
            <p:cNvSpPr/>
            <p:nvPr/>
          </p:nvSpPr>
          <p:spPr>
            <a:xfrm>
              <a:off x="8592730" y="4839682"/>
              <a:ext cx="492592" cy="492592"/>
            </a:xfrm>
            <a:prstGeom prst="ellipse">
              <a:avLst/>
            </a:prstGeom>
            <a:gradFill flip="none" rotWithShape="1">
              <a:gsLst>
                <a:gs pos="95575">
                  <a:srgbClr val="3FBAEA"/>
                </a:gs>
                <a:gs pos="14000">
                  <a:srgbClr val="19ABE5"/>
                </a:gs>
              </a:gsLst>
              <a:lin ang="16800000" scaled="0"/>
              <a:tileRect/>
            </a:gradFill>
            <a:ln w="7938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id-ID" sz="1400" b="1" dirty="0">
                  <a:solidFill>
                    <a:schemeClr val="bg1"/>
                  </a:solidFill>
                </a:rPr>
                <a:t>A8</a:t>
              </a:r>
              <a:endParaRPr lang="en-US" sz="1400" dirty="0"/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585EF13-BDF5-4E18-B0EA-B6264F35E768}"/>
                </a:ext>
              </a:extLst>
            </p:cNvPr>
            <p:cNvSpPr txBox="1"/>
            <p:nvPr/>
          </p:nvSpPr>
          <p:spPr>
            <a:xfrm>
              <a:off x="9215466" y="4947479"/>
              <a:ext cx="1876827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id-ID" sz="1400" b="1" dirty="0"/>
                <a:t>Examine Internal issue</a:t>
              </a:r>
              <a:endParaRPr lang="en-US" sz="1400" b="1" dirty="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B2BA0993-AC42-4FBA-8E75-5B1F490F0A6A}"/>
                </a:ext>
              </a:extLst>
            </p:cNvPr>
            <p:cNvSpPr txBox="1"/>
            <p:nvPr/>
          </p:nvSpPr>
          <p:spPr>
            <a:xfrm>
              <a:off x="9215466" y="5347588"/>
              <a:ext cx="2293921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Lorem Ipsum is simply dummy text of the printing and typesetting industry. 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6BE945FB-A4C2-45B8-AA33-DC042256226F}"/>
                </a:ext>
              </a:extLst>
            </p:cNvPr>
            <p:cNvSpPr/>
            <p:nvPr/>
          </p:nvSpPr>
          <p:spPr>
            <a:xfrm flipH="1">
              <a:off x="3106679" y="1171857"/>
              <a:ext cx="492592" cy="492592"/>
            </a:xfrm>
            <a:prstGeom prst="ellipse">
              <a:avLst/>
            </a:prstGeom>
            <a:gradFill>
              <a:gsLst>
                <a:gs pos="100000">
                  <a:srgbClr val="1C9BFE"/>
                </a:gs>
                <a:gs pos="12000">
                  <a:srgbClr val="018CF5"/>
                </a:gs>
              </a:gsLst>
              <a:lin ang="10200000" scaled="0"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id-ID" sz="1400" b="1" dirty="0">
                  <a:solidFill>
                    <a:schemeClr val="bg1"/>
                  </a:solidFill>
                </a:rPr>
                <a:t>A1</a:t>
              </a:r>
              <a:endParaRPr lang="en-US" sz="1400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B2C544C1-75B6-45D0-B16E-9E5EDF279A80}"/>
                </a:ext>
              </a:extLst>
            </p:cNvPr>
            <p:cNvSpPr txBox="1"/>
            <p:nvPr/>
          </p:nvSpPr>
          <p:spPr>
            <a:xfrm flipH="1">
              <a:off x="1099708" y="1279654"/>
              <a:ext cx="1876827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id-ID" sz="1400" b="1" dirty="0"/>
                <a:t>Planning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1142C4D-3858-4ABC-BC69-C00FA47AD3F1}"/>
                </a:ext>
              </a:extLst>
            </p:cNvPr>
            <p:cNvSpPr txBox="1"/>
            <p:nvPr/>
          </p:nvSpPr>
          <p:spPr>
            <a:xfrm flipH="1">
              <a:off x="682614" y="1679763"/>
              <a:ext cx="2293921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Lorem Ipsum is simply dummy text of the printing and typesetting industry. 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0E67C8B8-3F94-4170-BE1A-3AFBC1B9B283}"/>
                </a:ext>
              </a:extLst>
            </p:cNvPr>
            <p:cNvSpPr/>
            <p:nvPr/>
          </p:nvSpPr>
          <p:spPr>
            <a:xfrm flipH="1">
              <a:off x="3106679" y="2394466"/>
              <a:ext cx="492592" cy="492592"/>
            </a:xfrm>
            <a:prstGeom prst="ellipse">
              <a:avLst/>
            </a:prstGeom>
            <a:gradFill>
              <a:gsLst>
                <a:gs pos="86726">
                  <a:srgbClr val="2FAAF5"/>
                </a:gs>
                <a:gs pos="18000">
                  <a:srgbClr val="0B91E3"/>
                </a:gs>
              </a:gsLst>
              <a:lin ang="10200000" scaled="0"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id-ID" sz="1400" b="1" dirty="0">
                  <a:solidFill>
                    <a:schemeClr val="bg1"/>
                  </a:solidFill>
                </a:rPr>
                <a:t>A2</a:t>
              </a:r>
              <a:endParaRPr lang="en-US" sz="1400" dirty="0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1C03F5D-3E81-4EBA-88D4-337A54CC007A}"/>
                </a:ext>
              </a:extLst>
            </p:cNvPr>
            <p:cNvSpPr txBox="1"/>
            <p:nvPr/>
          </p:nvSpPr>
          <p:spPr>
            <a:xfrm flipH="1">
              <a:off x="1099708" y="2502263"/>
              <a:ext cx="1876827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id-ID" sz="1400" b="1" dirty="0"/>
                <a:t>Company Strategy</a:t>
              </a:r>
              <a:endParaRPr lang="en-US" sz="1400" b="1" dirty="0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80C7A5D-C81D-42A5-92B7-580952C968D3}"/>
                </a:ext>
              </a:extLst>
            </p:cNvPr>
            <p:cNvSpPr txBox="1"/>
            <p:nvPr/>
          </p:nvSpPr>
          <p:spPr>
            <a:xfrm flipH="1">
              <a:off x="682614" y="2902372"/>
              <a:ext cx="2293921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Lorem Ipsum is simply dummy text of the printing and typesetting industry. 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3B619DB0-A711-4EF7-922F-B5FD4698CEB9}"/>
                </a:ext>
              </a:extLst>
            </p:cNvPr>
            <p:cNvSpPr/>
            <p:nvPr/>
          </p:nvSpPr>
          <p:spPr>
            <a:xfrm flipH="1">
              <a:off x="3106679" y="3617075"/>
              <a:ext cx="492592" cy="492592"/>
            </a:xfrm>
            <a:prstGeom prst="ellipse">
              <a:avLst/>
            </a:prstGeom>
            <a:gradFill>
              <a:gsLst>
                <a:gs pos="87000">
                  <a:srgbClr val="37B2F0"/>
                </a:gs>
                <a:gs pos="19000">
                  <a:srgbClr val="0F8CCB"/>
                </a:gs>
              </a:gsLst>
              <a:lin ang="10200000" scaled="0"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id-ID" sz="1400" b="1" dirty="0">
                  <a:solidFill>
                    <a:schemeClr val="bg1"/>
                  </a:solidFill>
                </a:rPr>
                <a:t>A3</a:t>
              </a:r>
              <a:endParaRPr lang="en-US" sz="1400" dirty="0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812D8A36-B7B6-41CC-AD7F-0FE3B6BBB12C}"/>
                </a:ext>
              </a:extLst>
            </p:cNvPr>
            <p:cNvSpPr txBox="1"/>
            <p:nvPr/>
          </p:nvSpPr>
          <p:spPr>
            <a:xfrm flipH="1">
              <a:off x="1099708" y="3724872"/>
              <a:ext cx="1876827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id-ID" sz="1400" b="1" dirty="0"/>
                <a:t>Formulate</a:t>
              </a:r>
              <a:endParaRPr lang="en-US" sz="1400" b="1" dirty="0"/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3B90E3B-80C0-49E2-8885-FF49FBD63FDC}"/>
                </a:ext>
              </a:extLst>
            </p:cNvPr>
            <p:cNvSpPr txBox="1"/>
            <p:nvPr/>
          </p:nvSpPr>
          <p:spPr>
            <a:xfrm flipH="1">
              <a:off x="682614" y="4124981"/>
              <a:ext cx="2293921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Lorem Ipsum is simply dummy text of the printing and typesetting industry. 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BF19D683-57B4-4559-AB4C-19EF0440160B}"/>
                </a:ext>
              </a:extLst>
            </p:cNvPr>
            <p:cNvSpPr/>
            <p:nvPr/>
          </p:nvSpPr>
          <p:spPr>
            <a:xfrm flipH="1">
              <a:off x="3106679" y="4839683"/>
              <a:ext cx="492592" cy="492592"/>
            </a:xfrm>
            <a:prstGeom prst="ellipse">
              <a:avLst/>
            </a:prstGeom>
            <a:gradFill>
              <a:gsLst>
                <a:gs pos="70000">
                  <a:srgbClr val="3BB6ED"/>
                </a:gs>
                <a:gs pos="19000">
                  <a:srgbClr val="149AD6"/>
                </a:gs>
              </a:gsLst>
              <a:lin ang="10200000" scaled="0"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id-ID" sz="1400" b="1" dirty="0">
                  <a:solidFill>
                    <a:schemeClr val="bg1"/>
                  </a:solidFill>
                </a:rPr>
                <a:t>A4</a:t>
              </a:r>
              <a:endParaRPr lang="en-US" sz="1400" dirty="0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C69E77EE-9F46-4593-A55E-95AABAF36916}"/>
                </a:ext>
              </a:extLst>
            </p:cNvPr>
            <p:cNvSpPr txBox="1"/>
            <p:nvPr/>
          </p:nvSpPr>
          <p:spPr>
            <a:xfrm flipH="1">
              <a:off x="1099708" y="4947480"/>
              <a:ext cx="1876827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id-ID" sz="1400" b="1" dirty="0"/>
                <a:t>Goals</a:t>
              </a:r>
              <a:endParaRPr lang="en-US" sz="1400" b="1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83F2DC5-C108-47DF-A22E-5D57D8FD3857}"/>
                </a:ext>
              </a:extLst>
            </p:cNvPr>
            <p:cNvSpPr txBox="1"/>
            <p:nvPr/>
          </p:nvSpPr>
          <p:spPr>
            <a:xfrm flipH="1">
              <a:off x="682614" y="5347589"/>
              <a:ext cx="2293921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Lorem Ipsum is simply dummy text of the printing and typesetting industry. </a:t>
              </a:r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F183445-2593-4D22-9BAF-36C7F707ADCD}"/>
              </a:ext>
            </a:extLst>
          </p:cNvPr>
          <p:cNvGrpSpPr/>
          <p:nvPr/>
        </p:nvGrpSpPr>
        <p:grpSpPr>
          <a:xfrm>
            <a:off x="9003892" y="1539101"/>
            <a:ext cx="53498" cy="3727594"/>
            <a:chOff x="9003892" y="1388269"/>
            <a:chExt cx="53498" cy="3727594"/>
          </a:xfrm>
        </p:grpSpPr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6004B377-67CD-4BFF-9A08-6E29A24BEB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3892" y="1388269"/>
              <a:ext cx="53498" cy="59768"/>
            </a:xfrm>
            <a:prstGeom prst="rect">
              <a:avLst/>
            </a:prstGeom>
          </p:spPr>
        </p:pic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1ACB4F67-3155-4A5F-A4AC-3765F424C7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3892" y="2610878"/>
              <a:ext cx="53498" cy="59768"/>
            </a:xfrm>
            <a:prstGeom prst="rect">
              <a:avLst/>
            </a:prstGeom>
          </p:spPr>
        </p:pic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CE2DE343-743C-4694-A7B2-5C424409AB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3892" y="3833487"/>
              <a:ext cx="53498" cy="59768"/>
            </a:xfrm>
            <a:prstGeom prst="rect">
              <a:avLst/>
            </a:prstGeom>
          </p:spPr>
        </p:pic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09A57C4D-432A-42BC-9716-FF2A10F42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3892" y="5056095"/>
              <a:ext cx="53498" cy="59768"/>
            </a:xfrm>
            <a:prstGeom prst="rect">
              <a:avLst/>
            </a:prstGeom>
          </p:spPr>
        </p:pic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6DBC7E78-7A0A-49A7-A646-D7365EA1E2FE}"/>
              </a:ext>
            </a:extLst>
          </p:cNvPr>
          <p:cNvGrpSpPr/>
          <p:nvPr/>
        </p:nvGrpSpPr>
        <p:grpSpPr>
          <a:xfrm flipH="1">
            <a:off x="3167852" y="1539101"/>
            <a:ext cx="53498" cy="3727594"/>
            <a:chOff x="9003892" y="1388269"/>
            <a:chExt cx="53498" cy="3727594"/>
          </a:xfrm>
        </p:grpSpPr>
        <p:pic>
          <p:nvPicPr>
            <p:cNvPr id="160" name="Picture 159">
              <a:extLst>
                <a:ext uri="{FF2B5EF4-FFF2-40B4-BE49-F238E27FC236}">
                  <a16:creationId xmlns:a16="http://schemas.microsoft.com/office/drawing/2014/main" id="{4E8975F3-DCDA-434E-89E9-F4658CFB2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3892" y="1388269"/>
              <a:ext cx="53498" cy="59768"/>
            </a:xfrm>
            <a:prstGeom prst="rect">
              <a:avLst/>
            </a:prstGeom>
          </p:spPr>
        </p:pic>
        <p:pic>
          <p:nvPicPr>
            <p:cNvPr id="161" name="Picture 160">
              <a:extLst>
                <a:ext uri="{FF2B5EF4-FFF2-40B4-BE49-F238E27FC236}">
                  <a16:creationId xmlns:a16="http://schemas.microsoft.com/office/drawing/2014/main" id="{9135981F-4079-4F15-A60F-F9771640D7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3892" y="2610878"/>
              <a:ext cx="53498" cy="59768"/>
            </a:xfrm>
            <a:prstGeom prst="rect">
              <a:avLst/>
            </a:prstGeom>
          </p:spPr>
        </p:pic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D13C854D-D942-4049-8522-BFDB9508C1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3892" y="3833487"/>
              <a:ext cx="53498" cy="59768"/>
            </a:xfrm>
            <a:prstGeom prst="rect">
              <a:avLst/>
            </a:prstGeom>
          </p:spPr>
        </p:pic>
        <p:pic>
          <p:nvPicPr>
            <p:cNvPr id="163" name="Picture 162">
              <a:extLst>
                <a:ext uri="{FF2B5EF4-FFF2-40B4-BE49-F238E27FC236}">
                  <a16:creationId xmlns:a16="http://schemas.microsoft.com/office/drawing/2014/main" id="{A64CAB20-23F4-44D1-830B-A912B09B2A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3892" y="5056095"/>
              <a:ext cx="53498" cy="59768"/>
            </a:xfrm>
            <a:prstGeom prst="rect">
              <a:avLst/>
            </a:prstGeom>
          </p:spPr>
        </p:pic>
      </p:grpSp>
      <p:pic>
        <p:nvPicPr>
          <p:cNvPr id="168" name="Picture 167">
            <a:extLst>
              <a:ext uri="{FF2B5EF4-FFF2-40B4-BE49-F238E27FC236}">
                <a16:creationId xmlns:a16="http://schemas.microsoft.com/office/drawing/2014/main" id="{E24FC832-2039-4693-AA7F-B9F514B5756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4087"/>
          <a:stretch/>
        </p:blipFill>
        <p:spPr>
          <a:xfrm>
            <a:off x="2520" y="5941035"/>
            <a:ext cx="12186960" cy="916966"/>
          </a:xfrm>
          <a:prstGeom prst="rect">
            <a:avLst/>
          </a:prstGeom>
        </p:spPr>
      </p:pic>
      <p:pic>
        <p:nvPicPr>
          <p:cNvPr id="169" name="Picture 168">
            <a:extLst>
              <a:ext uri="{FF2B5EF4-FFF2-40B4-BE49-F238E27FC236}">
                <a16:creationId xmlns:a16="http://schemas.microsoft.com/office/drawing/2014/main" id="{E9FD4DD9-2251-40C9-B727-10F6139EF8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330" y="6444164"/>
            <a:ext cx="745234" cy="211062"/>
          </a:xfrm>
          <a:prstGeom prst="rect">
            <a:avLst/>
          </a:prstGeom>
        </p:spPr>
      </p:pic>
      <p:sp>
        <p:nvSpPr>
          <p:cNvPr id="170" name="TextBox 169">
            <a:extLst>
              <a:ext uri="{FF2B5EF4-FFF2-40B4-BE49-F238E27FC236}">
                <a16:creationId xmlns:a16="http://schemas.microsoft.com/office/drawing/2014/main" id="{0012B6B5-44F9-4806-BD75-78C652A489B7}"/>
              </a:ext>
            </a:extLst>
          </p:cNvPr>
          <p:cNvSpPr txBox="1"/>
          <p:nvPr/>
        </p:nvSpPr>
        <p:spPr>
          <a:xfrm>
            <a:off x="3670300" y="418774"/>
            <a:ext cx="5156200" cy="378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pPr algn="ctr"/>
            <a:r>
              <a:rPr lang="id-ID" sz="2800" dirty="0"/>
              <a:t>Strategic Planning Cycl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0749650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>
            <a:extLst>
              <a:ext uri="{FF2B5EF4-FFF2-40B4-BE49-F238E27FC236}">
                <a16:creationId xmlns:a16="http://schemas.microsoft.com/office/drawing/2014/main" id="{24024928-9A16-4447-9306-E75A2F9395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02" b="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40" name="Freeform 36">
            <a:extLst>
              <a:ext uri="{FF2B5EF4-FFF2-40B4-BE49-F238E27FC236}">
                <a16:creationId xmlns:a16="http://schemas.microsoft.com/office/drawing/2014/main" id="{344182D9-62EB-462B-8206-E1A23067F498}"/>
              </a:ext>
            </a:extLst>
          </p:cNvPr>
          <p:cNvSpPr>
            <a:spLocks/>
          </p:cNvSpPr>
          <p:nvPr/>
        </p:nvSpPr>
        <p:spPr bwMode="auto">
          <a:xfrm rot="10800000">
            <a:off x="6350" y="5603760"/>
            <a:ext cx="12185650" cy="1277069"/>
          </a:xfrm>
          <a:custGeom>
            <a:avLst/>
            <a:gdLst>
              <a:gd name="T0" fmla="*/ 5184 w 5184"/>
              <a:gd name="T1" fmla="*/ 732 h 732"/>
              <a:gd name="T2" fmla="*/ 5184 w 5184"/>
              <a:gd name="T3" fmla="*/ 732 h 732"/>
              <a:gd name="T4" fmla="*/ 3361 w 5184"/>
              <a:gd name="T5" fmla="*/ 186 h 732"/>
              <a:gd name="T6" fmla="*/ 0 w 5184"/>
              <a:gd name="T7" fmla="*/ 0 h 732"/>
              <a:gd name="T8" fmla="*/ 5184 w 5184"/>
              <a:gd name="T9" fmla="*/ 0 h 732"/>
              <a:gd name="T10" fmla="*/ 5184 w 5184"/>
              <a:gd name="T11" fmla="*/ 732 h 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184" h="732">
                <a:moveTo>
                  <a:pt x="5184" y="732"/>
                </a:moveTo>
                <a:cubicBezTo>
                  <a:pt x="5184" y="732"/>
                  <a:pt x="5184" y="732"/>
                  <a:pt x="5184" y="732"/>
                </a:cubicBezTo>
                <a:cubicBezTo>
                  <a:pt x="4628" y="409"/>
                  <a:pt x="4004" y="222"/>
                  <a:pt x="3361" y="186"/>
                </a:cubicBezTo>
                <a:cubicBezTo>
                  <a:pt x="0" y="0"/>
                  <a:pt x="0" y="0"/>
                  <a:pt x="0" y="0"/>
                </a:cubicBezTo>
                <a:cubicBezTo>
                  <a:pt x="5184" y="0"/>
                  <a:pt x="5184" y="0"/>
                  <a:pt x="5184" y="0"/>
                </a:cubicBezTo>
                <a:lnTo>
                  <a:pt x="5184" y="732"/>
                </a:lnTo>
                <a:close/>
              </a:path>
            </a:pathLst>
          </a:custGeom>
          <a:gradFill>
            <a:gsLst>
              <a:gs pos="61104">
                <a:srgbClr val="ED1263">
                  <a:alpha val="38000"/>
                </a:srgbClr>
              </a:gs>
              <a:gs pos="97000">
                <a:srgbClr val="FF7437">
                  <a:alpha val="61000"/>
                </a:srgbClr>
              </a:gs>
              <a:gs pos="5310">
                <a:srgbClr val="38116E">
                  <a:alpha val="0"/>
                </a:srgbClr>
              </a:gs>
              <a:gs pos="26000">
                <a:srgbClr val="38116E">
                  <a:alpha val="42000"/>
                </a:srgbClr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39" name="Freeform 36">
            <a:extLst>
              <a:ext uri="{FF2B5EF4-FFF2-40B4-BE49-F238E27FC236}">
                <a16:creationId xmlns:a16="http://schemas.microsoft.com/office/drawing/2014/main" id="{7D971109-02A3-4A4C-A529-E7AA2409DF82}"/>
              </a:ext>
            </a:extLst>
          </p:cNvPr>
          <p:cNvSpPr>
            <a:spLocks/>
          </p:cNvSpPr>
          <p:nvPr/>
        </p:nvSpPr>
        <p:spPr bwMode="auto">
          <a:xfrm>
            <a:off x="6350" y="1589"/>
            <a:ext cx="12185650" cy="1277069"/>
          </a:xfrm>
          <a:custGeom>
            <a:avLst/>
            <a:gdLst>
              <a:gd name="T0" fmla="*/ 5184 w 5184"/>
              <a:gd name="T1" fmla="*/ 732 h 732"/>
              <a:gd name="T2" fmla="*/ 5184 w 5184"/>
              <a:gd name="T3" fmla="*/ 732 h 732"/>
              <a:gd name="T4" fmla="*/ 3361 w 5184"/>
              <a:gd name="T5" fmla="*/ 186 h 732"/>
              <a:gd name="T6" fmla="*/ 0 w 5184"/>
              <a:gd name="T7" fmla="*/ 0 h 732"/>
              <a:gd name="T8" fmla="*/ 5184 w 5184"/>
              <a:gd name="T9" fmla="*/ 0 h 732"/>
              <a:gd name="T10" fmla="*/ 5184 w 5184"/>
              <a:gd name="T11" fmla="*/ 732 h 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184" h="732">
                <a:moveTo>
                  <a:pt x="5184" y="732"/>
                </a:moveTo>
                <a:cubicBezTo>
                  <a:pt x="5184" y="732"/>
                  <a:pt x="5184" y="732"/>
                  <a:pt x="5184" y="732"/>
                </a:cubicBezTo>
                <a:cubicBezTo>
                  <a:pt x="4628" y="409"/>
                  <a:pt x="4004" y="222"/>
                  <a:pt x="3361" y="186"/>
                </a:cubicBezTo>
                <a:cubicBezTo>
                  <a:pt x="0" y="0"/>
                  <a:pt x="0" y="0"/>
                  <a:pt x="0" y="0"/>
                </a:cubicBezTo>
                <a:cubicBezTo>
                  <a:pt x="5184" y="0"/>
                  <a:pt x="5184" y="0"/>
                  <a:pt x="5184" y="0"/>
                </a:cubicBezTo>
                <a:lnTo>
                  <a:pt x="5184" y="732"/>
                </a:lnTo>
                <a:close/>
              </a:path>
            </a:pathLst>
          </a:custGeom>
          <a:gradFill>
            <a:gsLst>
              <a:gs pos="61104">
                <a:srgbClr val="ED1263">
                  <a:alpha val="38000"/>
                </a:srgbClr>
              </a:gs>
              <a:gs pos="97000">
                <a:srgbClr val="FF7437">
                  <a:alpha val="61000"/>
                </a:srgbClr>
              </a:gs>
              <a:gs pos="0">
                <a:schemeClr val="bg1">
                  <a:alpha val="0"/>
                </a:schemeClr>
              </a:gs>
              <a:gs pos="32000">
                <a:srgbClr val="38116E">
                  <a:alpha val="42000"/>
                </a:srgbClr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4A83B1B-C7B8-4DB8-AD63-F42216D7EF9C}"/>
              </a:ext>
            </a:extLst>
          </p:cNvPr>
          <p:cNvSpPr/>
          <p:nvPr/>
        </p:nvSpPr>
        <p:spPr>
          <a:xfrm>
            <a:off x="257088" y="202133"/>
            <a:ext cx="11744412" cy="6488362"/>
          </a:xfrm>
          <a:prstGeom prst="rect">
            <a:avLst/>
          </a:prstGeom>
          <a:gradFill>
            <a:gsLst>
              <a:gs pos="85000">
                <a:schemeClr val="bg1">
                  <a:alpha val="50000"/>
                </a:schemeClr>
              </a:gs>
              <a:gs pos="65000">
                <a:schemeClr val="bg1">
                  <a:alpha val="98000"/>
                </a:schemeClr>
              </a:gs>
              <a:gs pos="35000">
                <a:schemeClr val="bg1">
                  <a:alpha val="98000"/>
                </a:schemeClr>
              </a:gs>
              <a:gs pos="9000">
                <a:schemeClr val="bg1">
                  <a:alpha val="50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1707FF41-B93B-4A4B-A563-6A364CDFAA92}"/>
              </a:ext>
            </a:extLst>
          </p:cNvPr>
          <p:cNvGrpSpPr/>
          <p:nvPr/>
        </p:nvGrpSpPr>
        <p:grpSpPr>
          <a:xfrm>
            <a:off x="1515976" y="1228939"/>
            <a:ext cx="9152024" cy="4472628"/>
            <a:chOff x="356540" y="662318"/>
            <a:chExt cx="11470896" cy="560587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593D2361-99DE-47EF-BAAE-39FD4EAECDD1}"/>
                </a:ext>
              </a:extLst>
            </p:cNvPr>
            <p:cNvGrpSpPr/>
            <p:nvPr/>
          </p:nvGrpSpPr>
          <p:grpSpPr>
            <a:xfrm>
              <a:off x="3540841" y="1139372"/>
              <a:ext cx="5110318" cy="4579258"/>
              <a:chOff x="3540841" y="1139372"/>
              <a:chExt cx="5110318" cy="4579258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B429E594-C5D2-4ADB-81C5-EE1BAAE65545}"/>
                  </a:ext>
                </a:extLst>
              </p:cNvPr>
              <p:cNvGrpSpPr/>
              <p:nvPr/>
            </p:nvGrpSpPr>
            <p:grpSpPr>
              <a:xfrm>
                <a:off x="4785040" y="2121076"/>
                <a:ext cx="2621921" cy="2615852"/>
                <a:chOff x="4785040" y="2121076"/>
                <a:chExt cx="2621921" cy="2615852"/>
              </a:xfrm>
            </p:grpSpPr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02D136EA-C8A4-4299-A2CD-084C8E5B21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85040" y="2121076"/>
                  <a:ext cx="2621921" cy="2615852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  <a:effectLst>
                  <a:outerShdw blurRad="63500" sx="102000" sy="102000" algn="ctr" rotWithShape="0">
                    <a:prstClr val="black">
                      <a:alpha val="10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" name="Freeform 28">
                  <a:extLst>
                    <a:ext uri="{FF2B5EF4-FFF2-40B4-BE49-F238E27FC236}">
                      <a16:creationId xmlns:a16="http://schemas.microsoft.com/office/drawing/2014/main" id="{FA692F02-A177-44D4-AF03-C44054F910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85040" y="2121076"/>
                  <a:ext cx="2567297" cy="2615852"/>
                </a:xfrm>
                <a:custGeom>
                  <a:avLst/>
                  <a:gdLst>
                    <a:gd name="T0" fmla="*/ 990 w 1179"/>
                    <a:gd name="T1" fmla="*/ 195 h 1202"/>
                    <a:gd name="T2" fmla="*/ 976 w 1179"/>
                    <a:gd name="T3" fmla="*/ 237 h 1202"/>
                    <a:gd name="T4" fmla="*/ 896 w 1179"/>
                    <a:gd name="T5" fmla="*/ 315 h 1202"/>
                    <a:gd name="T6" fmla="*/ 930 w 1179"/>
                    <a:gd name="T7" fmla="*/ 377 h 1202"/>
                    <a:gd name="T8" fmla="*/ 1057 w 1179"/>
                    <a:gd name="T9" fmla="*/ 356 h 1202"/>
                    <a:gd name="T10" fmla="*/ 1066 w 1179"/>
                    <a:gd name="T11" fmla="*/ 351 h 1202"/>
                    <a:gd name="T12" fmla="*/ 1062 w 1179"/>
                    <a:gd name="T13" fmla="*/ 309 h 1202"/>
                    <a:gd name="T14" fmla="*/ 1139 w 1179"/>
                    <a:gd name="T15" fmla="*/ 362 h 1202"/>
                    <a:gd name="T16" fmla="*/ 1090 w 1179"/>
                    <a:gd name="T17" fmla="*/ 412 h 1202"/>
                    <a:gd name="T18" fmla="*/ 946 w 1179"/>
                    <a:gd name="T19" fmla="*/ 380 h 1202"/>
                    <a:gd name="T20" fmla="*/ 782 w 1179"/>
                    <a:gd name="T21" fmla="*/ 493 h 1202"/>
                    <a:gd name="T22" fmla="*/ 846 w 1179"/>
                    <a:gd name="T23" fmla="*/ 656 h 1202"/>
                    <a:gd name="T24" fmla="*/ 973 w 1179"/>
                    <a:gd name="T25" fmla="*/ 653 h 1202"/>
                    <a:gd name="T26" fmla="*/ 1046 w 1179"/>
                    <a:gd name="T27" fmla="*/ 867 h 1202"/>
                    <a:gd name="T28" fmla="*/ 2 w 1179"/>
                    <a:gd name="T29" fmla="*/ 662 h 1202"/>
                    <a:gd name="T30" fmla="*/ 0 w 1179"/>
                    <a:gd name="T31" fmla="*/ 581 h 1202"/>
                    <a:gd name="T32" fmla="*/ 48 w 1179"/>
                    <a:gd name="T33" fmla="*/ 396 h 1202"/>
                    <a:gd name="T34" fmla="*/ 98 w 1179"/>
                    <a:gd name="T35" fmla="*/ 451 h 1202"/>
                    <a:gd name="T36" fmla="*/ 159 w 1179"/>
                    <a:gd name="T37" fmla="*/ 550 h 1202"/>
                    <a:gd name="T38" fmla="*/ 275 w 1179"/>
                    <a:gd name="T39" fmla="*/ 584 h 1202"/>
                    <a:gd name="T40" fmla="*/ 326 w 1179"/>
                    <a:gd name="T41" fmla="*/ 745 h 1202"/>
                    <a:gd name="T42" fmla="*/ 445 w 1179"/>
                    <a:gd name="T43" fmla="*/ 963 h 1202"/>
                    <a:gd name="T44" fmla="*/ 555 w 1179"/>
                    <a:gd name="T45" fmla="*/ 1171 h 1202"/>
                    <a:gd name="T46" fmla="*/ 520 w 1179"/>
                    <a:gd name="T47" fmla="*/ 1097 h 1202"/>
                    <a:gd name="T48" fmla="*/ 537 w 1179"/>
                    <a:gd name="T49" fmla="*/ 1041 h 1202"/>
                    <a:gd name="T50" fmla="*/ 662 w 1179"/>
                    <a:gd name="T51" fmla="*/ 895 h 1202"/>
                    <a:gd name="T52" fmla="*/ 684 w 1179"/>
                    <a:gd name="T53" fmla="*/ 713 h 1202"/>
                    <a:gd name="T54" fmla="*/ 510 w 1179"/>
                    <a:gd name="T55" fmla="*/ 605 h 1202"/>
                    <a:gd name="T56" fmla="*/ 370 w 1179"/>
                    <a:gd name="T57" fmla="*/ 618 h 1202"/>
                    <a:gd name="T58" fmla="*/ 245 w 1179"/>
                    <a:gd name="T59" fmla="*/ 537 h 1202"/>
                    <a:gd name="T60" fmla="*/ 339 w 1179"/>
                    <a:gd name="T61" fmla="*/ 437 h 1202"/>
                    <a:gd name="T62" fmla="*/ 421 w 1179"/>
                    <a:gd name="T63" fmla="*/ 373 h 1202"/>
                    <a:gd name="T64" fmla="*/ 537 w 1179"/>
                    <a:gd name="T65" fmla="*/ 291 h 1202"/>
                    <a:gd name="T66" fmla="*/ 533 w 1179"/>
                    <a:gd name="T67" fmla="*/ 257 h 1202"/>
                    <a:gd name="T68" fmla="*/ 567 w 1179"/>
                    <a:gd name="T69" fmla="*/ 269 h 1202"/>
                    <a:gd name="T70" fmla="*/ 589 w 1179"/>
                    <a:gd name="T71" fmla="*/ 277 h 1202"/>
                    <a:gd name="T72" fmla="*/ 606 w 1179"/>
                    <a:gd name="T73" fmla="*/ 271 h 1202"/>
                    <a:gd name="T74" fmla="*/ 571 w 1179"/>
                    <a:gd name="T75" fmla="*/ 200 h 1202"/>
                    <a:gd name="T76" fmla="*/ 467 w 1179"/>
                    <a:gd name="T77" fmla="*/ 228 h 1202"/>
                    <a:gd name="T78" fmla="*/ 389 w 1179"/>
                    <a:gd name="T79" fmla="*/ 186 h 1202"/>
                    <a:gd name="T80" fmla="*/ 505 w 1179"/>
                    <a:gd name="T81" fmla="*/ 151 h 1202"/>
                    <a:gd name="T82" fmla="*/ 528 w 1179"/>
                    <a:gd name="T83" fmla="*/ 122 h 1202"/>
                    <a:gd name="T84" fmla="*/ 602 w 1179"/>
                    <a:gd name="T85" fmla="*/ 167 h 1202"/>
                    <a:gd name="T86" fmla="*/ 569 w 1179"/>
                    <a:gd name="T87" fmla="*/ 78 h 1202"/>
                    <a:gd name="T88" fmla="*/ 504 w 1179"/>
                    <a:gd name="T89" fmla="*/ 82 h 1202"/>
                    <a:gd name="T90" fmla="*/ 433 w 1179"/>
                    <a:gd name="T91" fmla="*/ 117 h 1202"/>
                    <a:gd name="T92" fmla="*/ 428 w 1179"/>
                    <a:gd name="T93" fmla="*/ 78 h 1202"/>
                    <a:gd name="T94" fmla="*/ 330 w 1179"/>
                    <a:gd name="T95" fmla="*/ 97 h 1202"/>
                    <a:gd name="T96" fmla="*/ 323 w 1179"/>
                    <a:gd name="T97" fmla="*/ 118 h 1202"/>
                    <a:gd name="T98" fmla="*/ 902 w 1179"/>
                    <a:gd name="T99" fmla="*/ 197 h 1202"/>
                    <a:gd name="T100" fmla="*/ 946 w 1179"/>
                    <a:gd name="T101" fmla="*/ 262 h 1202"/>
                    <a:gd name="T102" fmla="*/ 906 w 1179"/>
                    <a:gd name="T103" fmla="*/ 221 h 1202"/>
                    <a:gd name="T104" fmla="*/ 904 w 1179"/>
                    <a:gd name="T105" fmla="*/ 225 h 1202"/>
                    <a:gd name="T106" fmla="*/ 517 w 1179"/>
                    <a:gd name="T107" fmla="*/ 320 h 1202"/>
                    <a:gd name="T108" fmla="*/ 574 w 1179"/>
                    <a:gd name="T109" fmla="*/ 303 h 1202"/>
                    <a:gd name="T110" fmla="*/ 542 w 1179"/>
                    <a:gd name="T111" fmla="*/ 312 h 1202"/>
                    <a:gd name="T112" fmla="*/ 574 w 1179"/>
                    <a:gd name="T113" fmla="*/ 303 h 1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179" h="1202">
                      <a:moveTo>
                        <a:pt x="602" y="0"/>
                      </a:moveTo>
                      <a:cubicBezTo>
                        <a:pt x="757" y="0"/>
                        <a:pt x="899" y="59"/>
                        <a:pt x="1006" y="156"/>
                      </a:cubicBezTo>
                      <a:cubicBezTo>
                        <a:pt x="984" y="165"/>
                        <a:pt x="984" y="165"/>
                        <a:pt x="984" y="165"/>
                      </a:cubicBezTo>
                      <a:cubicBezTo>
                        <a:pt x="972" y="178"/>
                        <a:pt x="972" y="178"/>
                        <a:pt x="972" y="178"/>
                      </a:cubicBezTo>
                      <a:cubicBezTo>
                        <a:pt x="974" y="193"/>
                        <a:pt x="974" y="193"/>
                        <a:pt x="974" y="193"/>
                      </a:cubicBezTo>
                      <a:cubicBezTo>
                        <a:pt x="990" y="195"/>
                        <a:pt x="990" y="195"/>
                        <a:pt x="990" y="195"/>
                      </a:cubicBezTo>
                      <a:cubicBezTo>
                        <a:pt x="999" y="217"/>
                        <a:pt x="999" y="217"/>
                        <a:pt x="999" y="217"/>
                      </a:cubicBezTo>
                      <a:cubicBezTo>
                        <a:pt x="1024" y="206"/>
                        <a:pt x="1024" y="206"/>
                        <a:pt x="1024" y="206"/>
                      </a:cubicBezTo>
                      <a:cubicBezTo>
                        <a:pt x="1027" y="236"/>
                        <a:pt x="1027" y="236"/>
                        <a:pt x="1027" y="236"/>
                      </a:cubicBezTo>
                      <a:cubicBezTo>
                        <a:pt x="1020" y="236"/>
                        <a:pt x="1020" y="236"/>
                        <a:pt x="1020" y="236"/>
                      </a:cubicBezTo>
                      <a:cubicBezTo>
                        <a:pt x="999" y="233"/>
                        <a:pt x="999" y="233"/>
                        <a:pt x="999" y="233"/>
                      </a:cubicBezTo>
                      <a:cubicBezTo>
                        <a:pt x="976" y="237"/>
                        <a:pt x="976" y="237"/>
                        <a:pt x="976" y="237"/>
                      </a:cubicBezTo>
                      <a:cubicBezTo>
                        <a:pt x="954" y="268"/>
                        <a:pt x="954" y="268"/>
                        <a:pt x="954" y="268"/>
                      </a:cubicBezTo>
                      <a:cubicBezTo>
                        <a:pt x="922" y="273"/>
                        <a:pt x="922" y="273"/>
                        <a:pt x="922" y="273"/>
                      </a:cubicBezTo>
                      <a:cubicBezTo>
                        <a:pt x="918" y="300"/>
                        <a:pt x="918" y="300"/>
                        <a:pt x="918" y="300"/>
                      </a:cubicBezTo>
                      <a:cubicBezTo>
                        <a:pt x="931" y="303"/>
                        <a:pt x="931" y="303"/>
                        <a:pt x="931" y="303"/>
                      </a:cubicBezTo>
                      <a:cubicBezTo>
                        <a:pt x="927" y="321"/>
                        <a:pt x="927" y="321"/>
                        <a:pt x="927" y="321"/>
                      </a:cubicBezTo>
                      <a:cubicBezTo>
                        <a:pt x="896" y="315"/>
                        <a:pt x="896" y="315"/>
                        <a:pt x="896" y="315"/>
                      </a:cubicBezTo>
                      <a:cubicBezTo>
                        <a:pt x="867" y="321"/>
                        <a:pt x="867" y="321"/>
                        <a:pt x="867" y="321"/>
                      </a:cubicBezTo>
                      <a:cubicBezTo>
                        <a:pt x="861" y="337"/>
                        <a:pt x="861" y="337"/>
                        <a:pt x="861" y="337"/>
                      </a:cubicBezTo>
                      <a:cubicBezTo>
                        <a:pt x="866" y="371"/>
                        <a:pt x="866" y="371"/>
                        <a:pt x="866" y="371"/>
                      </a:cubicBezTo>
                      <a:cubicBezTo>
                        <a:pt x="883" y="379"/>
                        <a:pt x="883" y="379"/>
                        <a:pt x="883" y="379"/>
                      </a:cubicBezTo>
                      <a:cubicBezTo>
                        <a:pt x="911" y="378"/>
                        <a:pt x="911" y="378"/>
                        <a:pt x="911" y="378"/>
                      </a:cubicBezTo>
                      <a:cubicBezTo>
                        <a:pt x="930" y="377"/>
                        <a:pt x="930" y="377"/>
                        <a:pt x="930" y="377"/>
                      </a:cubicBezTo>
                      <a:cubicBezTo>
                        <a:pt x="937" y="362"/>
                        <a:pt x="937" y="362"/>
                        <a:pt x="937" y="362"/>
                      </a:cubicBezTo>
                      <a:cubicBezTo>
                        <a:pt x="966" y="322"/>
                        <a:pt x="966" y="322"/>
                        <a:pt x="966" y="322"/>
                      </a:cubicBezTo>
                      <a:cubicBezTo>
                        <a:pt x="986" y="327"/>
                        <a:pt x="986" y="327"/>
                        <a:pt x="986" y="327"/>
                      </a:cubicBezTo>
                      <a:cubicBezTo>
                        <a:pt x="1005" y="309"/>
                        <a:pt x="1005" y="309"/>
                        <a:pt x="1005" y="309"/>
                      </a:cubicBezTo>
                      <a:cubicBezTo>
                        <a:pt x="1009" y="323"/>
                        <a:pt x="1009" y="323"/>
                        <a:pt x="1009" y="323"/>
                      </a:cubicBezTo>
                      <a:cubicBezTo>
                        <a:pt x="1057" y="356"/>
                        <a:pt x="1057" y="356"/>
                        <a:pt x="1057" y="356"/>
                      </a:cubicBezTo>
                      <a:cubicBezTo>
                        <a:pt x="1052" y="363"/>
                        <a:pt x="1052" y="363"/>
                        <a:pt x="1052" y="363"/>
                      </a:cubicBezTo>
                      <a:cubicBezTo>
                        <a:pt x="1030" y="362"/>
                        <a:pt x="1030" y="362"/>
                        <a:pt x="1030" y="362"/>
                      </a:cubicBezTo>
                      <a:cubicBezTo>
                        <a:pt x="1038" y="374"/>
                        <a:pt x="1038" y="374"/>
                        <a:pt x="1038" y="374"/>
                      </a:cubicBezTo>
                      <a:cubicBezTo>
                        <a:pt x="1052" y="377"/>
                        <a:pt x="1052" y="377"/>
                        <a:pt x="1052" y="377"/>
                      </a:cubicBezTo>
                      <a:cubicBezTo>
                        <a:pt x="1067" y="370"/>
                        <a:pt x="1067" y="370"/>
                        <a:pt x="1067" y="370"/>
                      </a:cubicBezTo>
                      <a:cubicBezTo>
                        <a:pt x="1066" y="351"/>
                        <a:pt x="1066" y="351"/>
                        <a:pt x="1066" y="351"/>
                      </a:cubicBezTo>
                      <a:cubicBezTo>
                        <a:pt x="1074" y="348"/>
                        <a:pt x="1074" y="348"/>
                        <a:pt x="1074" y="348"/>
                      </a:cubicBezTo>
                      <a:cubicBezTo>
                        <a:pt x="1068" y="342"/>
                        <a:pt x="1068" y="342"/>
                        <a:pt x="1068" y="342"/>
                      </a:cubicBezTo>
                      <a:cubicBezTo>
                        <a:pt x="1036" y="325"/>
                        <a:pt x="1036" y="325"/>
                        <a:pt x="1036" y="325"/>
                      </a:cubicBezTo>
                      <a:cubicBezTo>
                        <a:pt x="1027" y="300"/>
                        <a:pt x="1027" y="300"/>
                        <a:pt x="1027" y="300"/>
                      </a:cubicBezTo>
                      <a:cubicBezTo>
                        <a:pt x="1054" y="300"/>
                        <a:pt x="1054" y="300"/>
                        <a:pt x="1054" y="300"/>
                      </a:cubicBezTo>
                      <a:cubicBezTo>
                        <a:pt x="1062" y="309"/>
                        <a:pt x="1062" y="309"/>
                        <a:pt x="1062" y="309"/>
                      </a:cubicBezTo>
                      <a:cubicBezTo>
                        <a:pt x="1086" y="329"/>
                        <a:pt x="1086" y="329"/>
                        <a:pt x="1086" y="329"/>
                      </a:cubicBezTo>
                      <a:cubicBezTo>
                        <a:pt x="1087" y="353"/>
                        <a:pt x="1087" y="353"/>
                        <a:pt x="1087" y="353"/>
                      </a:cubicBezTo>
                      <a:cubicBezTo>
                        <a:pt x="1110" y="378"/>
                        <a:pt x="1110" y="378"/>
                        <a:pt x="1110" y="378"/>
                      </a:cubicBezTo>
                      <a:cubicBezTo>
                        <a:pt x="1119" y="343"/>
                        <a:pt x="1119" y="343"/>
                        <a:pt x="1119" y="343"/>
                      </a:cubicBezTo>
                      <a:cubicBezTo>
                        <a:pt x="1136" y="334"/>
                        <a:pt x="1136" y="334"/>
                        <a:pt x="1136" y="334"/>
                      </a:cubicBezTo>
                      <a:cubicBezTo>
                        <a:pt x="1139" y="362"/>
                        <a:pt x="1139" y="362"/>
                        <a:pt x="1139" y="362"/>
                      </a:cubicBezTo>
                      <a:cubicBezTo>
                        <a:pt x="1155" y="380"/>
                        <a:pt x="1155" y="380"/>
                        <a:pt x="1155" y="380"/>
                      </a:cubicBezTo>
                      <a:cubicBezTo>
                        <a:pt x="1162" y="380"/>
                        <a:pt x="1162" y="380"/>
                        <a:pt x="1162" y="380"/>
                      </a:cubicBezTo>
                      <a:cubicBezTo>
                        <a:pt x="1168" y="396"/>
                        <a:pt x="1174" y="414"/>
                        <a:pt x="1179" y="431"/>
                      </a:cubicBezTo>
                      <a:cubicBezTo>
                        <a:pt x="1151" y="431"/>
                        <a:pt x="1151" y="431"/>
                        <a:pt x="1151" y="431"/>
                      </a:cubicBezTo>
                      <a:cubicBezTo>
                        <a:pt x="1121" y="409"/>
                        <a:pt x="1121" y="409"/>
                        <a:pt x="1121" y="409"/>
                      </a:cubicBezTo>
                      <a:cubicBezTo>
                        <a:pt x="1090" y="412"/>
                        <a:pt x="1090" y="412"/>
                        <a:pt x="1090" y="412"/>
                      </a:cubicBezTo>
                      <a:cubicBezTo>
                        <a:pt x="1090" y="431"/>
                        <a:pt x="1090" y="431"/>
                        <a:pt x="1090" y="431"/>
                      </a:cubicBezTo>
                      <a:cubicBezTo>
                        <a:pt x="1080" y="431"/>
                        <a:pt x="1080" y="431"/>
                        <a:pt x="1080" y="431"/>
                      </a:cubicBezTo>
                      <a:cubicBezTo>
                        <a:pt x="1069" y="424"/>
                        <a:pt x="1069" y="424"/>
                        <a:pt x="1069" y="424"/>
                      </a:cubicBezTo>
                      <a:cubicBezTo>
                        <a:pt x="1015" y="409"/>
                        <a:pt x="1015" y="409"/>
                        <a:pt x="1015" y="409"/>
                      </a:cubicBezTo>
                      <a:cubicBezTo>
                        <a:pt x="1015" y="375"/>
                        <a:pt x="1015" y="375"/>
                        <a:pt x="1015" y="375"/>
                      </a:cubicBezTo>
                      <a:cubicBezTo>
                        <a:pt x="946" y="380"/>
                        <a:pt x="946" y="380"/>
                        <a:pt x="946" y="380"/>
                      </a:cubicBezTo>
                      <a:cubicBezTo>
                        <a:pt x="924" y="391"/>
                        <a:pt x="924" y="391"/>
                        <a:pt x="924" y="391"/>
                      </a:cubicBezTo>
                      <a:cubicBezTo>
                        <a:pt x="896" y="391"/>
                        <a:pt x="896" y="391"/>
                        <a:pt x="896" y="391"/>
                      </a:cubicBezTo>
                      <a:cubicBezTo>
                        <a:pt x="883" y="390"/>
                        <a:pt x="883" y="390"/>
                        <a:pt x="883" y="390"/>
                      </a:cubicBezTo>
                      <a:cubicBezTo>
                        <a:pt x="850" y="409"/>
                        <a:pt x="850" y="409"/>
                        <a:pt x="850" y="409"/>
                      </a:cubicBezTo>
                      <a:cubicBezTo>
                        <a:pt x="850" y="443"/>
                        <a:pt x="850" y="443"/>
                        <a:pt x="850" y="443"/>
                      </a:cubicBezTo>
                      <a:cubicBezTo>
                        <a:pt x="782" y="493"/>
                        <a:pt x="782" y="493"/>
                        <a:pt x="782" y="493"/>
                      </a:cubicBezTo>
                      <a:cubicBezTo>
                        <a:pt x="788" y="513"/>
                        <a:pt x="788" y="513"/>
                        <a:pt x="788" y="513"/>
                      </a:cubicBezTo>
                      <a:cubicBezTo>
                        <a:pt x="802" y="513"/>
                        <a:pt x="802" y="513"/>
                        <a:pt x="802" y="513"/>
                      </a:cubicBezTo>
                      <a:cubicBezTo>
                        <a:pt x="798" y="533"/>
                        <a:pt x="798" y="533"/>
                        <a:pt x="798" y="533"/>
                      </a:cubicBezTo>
                      <a:cubicBezTo>
                        <a:pt x="788" y="537"/>
                        <a:pt x="788" y="537"/>
                        <a:pt x="788" y="537"/>
                      </a:cubicBezTo>
                      <a:cubicBezTo>
                        <a:pt x="788" y="589"/>
                        <a:pt x="788" y="589"/>
                        <a:pt x="788" y="589"/>
                      </a:cubicBezTo>
                      <a:cubicBezTo>
                        <a:pt x="846" y="656"/>
                        <a:pt x="846" y="656"/>
                        <a:pt x="846" y="656"/>
                      </a:cubicBezTo>
                      <a:cubicBezTo>
                        <a:pt x="872" y="656"/>
                        <a:pt x="872" y="656"/>
                        <a:pt x="872" y="656"/>
                      </a:cubicBezTo>
                      <a:cubicBezTo>
                        <a:pt x="874" y="652"/>
                        <a:pt x="874" y="652"/>
                        <a:pt x="874" y="652"/>
                      </a:cubicBezTo>
                      <a:cubicBezTo>
                        <a:pt x="919" y="652"/>
                        <a:pt x="919" y="652"/>
                        <a:pt x="919" y="652"/>
                      </a:cubicBezTo>
                      <a:cubicBezTo>
                        <a:pt x="933" y="639"/>
                        <a:pt x="933" y="639"/>
                        <a:pt x="933" y="639"/>
                      </a:cubicBezTo>
                      <a:cubicBezTo>
                        <a:pt x="959" y="639"/>
                        <a:pt x="959" y="639"/>
                        <a:pt x="959" y="639"/>
                      </a:cubicBezTo>
                      <a:cubicBezTo>
                        <a:pt x="973" y="653"/>
                        <a:pt x="973" y="653"/>
                        <a:pt x="973" y="653"/>
                      </a:cubicBezTo>
                      <a:cubicBezTo>
                        <a:pt x="1012" y="657"/>
                        <a:pt x="1012" y="657"/>
                        <a:pt x="1012" y="657"/>
                      </a:cubicBezTo>
                      <a:cubicBezTo>
                        <a:pt x="1007" y="709"/>
                        <a:pt x="1007" y="709"/>
                        <a:pt x="1007" y="709"/>
                      </a:cubicBezTo>
                      <a:cubicBezTo>
                        <a:pt x="1050" y="785"/>
                        <a:pt x="1050" y="785"/>
                        <a:pt x="1050" y="785"/>
                      </a:cubicBezTo>
                      <a:cubicBezTo>
                        <a:pt x="1027" y="829"/>
                        <a:pt x="1027" y="829"/>
                        <a:pt x="1027" y="829"/>
                      </a:cubicBezTo>
                      <a:cubicBezTo>
                        <a:pt x="1029" y="849"/>
                        <a:pt x="1029" y="849"/>
                        <a:pt x="1029" y="849"/>
                      </a:cubicBezTo>
                      <a:cubicBezTo>
                        <a:pt x="1046" y="867"/>
                        <a:pt x="1046" y="867"/>
                        <a:pt x="1046" y="867"/>
                      </a:cubicBezTo>
                      <a:cubicBezTo>
                        <a:pt x="1046" y="916"/>
                        <a:pt x="1046" y="916"/>
                        <a:pt x="1046" y="916"/>
                      </a:cubicBezTo>
                      <a:cubicBezTo>
                        <a:pt x="1070" y="947"/>
                        <a:pt x="1070" y="947"/>
                        <a:pt x="1070" y="947"/>
                      </a:cubicBezTo>
                      <a:cubicBezTo>
                        <a:pt x="1070" y="979"/>
                        <a:pt x="1070" y="979"/>
                        <a:pt x="1070" y="979"/>
                      </a:cubicBezTo>
                      <a:cubicBezTo>
                        <a:pt x="959" y="1115"/>
                        <a:pt x="790" y="1202"/>
                        <a:pt x="602" y="1202"/>
                      </a:cubicBezTo>
                      <a:cubicBezTo>
                        <a:pt x="290" y="1202"/>
                        <a:pt x="33" y="966"/>
                        <a:pt x="2" y="662"/>
                      </a:cubicBezTo>
                      <a:cubicBezTo>
                        <a:pt x="2" y="662"/>
                        <a:pt x="2" y="662"/>
                        <a:pt x="2" y="662"/>
                      </a:cubicBezTo>
                      <a:cubicBezTo>
                        <a:pt x="2" y="658"/>
                        <a:pt x="2" y="653"/>
                        <a:pt x="1" y="648"/>
                      </a:cubicBezTo>
                      <a:cubicBezTo>
                        <a:pt x="1" y="648"/>
                        <a:pt x="1" y="648"/>
                        <a:pt x="1" y="648"/>
                      </a:cubicBezTo>
                      <a:cubicBezTo>
                        <a:pt x="0" y="633"/>
                        <a:pt x="0" y="617"/>
                        <a:pt x="0" y="601"/>
                      </a:cubicBezTo>
                      <a:cubicBezTo>
                        <a:pt x="0" y="597"/>
                        <a:pt x="0" y="597"/>
                        <a:pt x="0" y="597"/>
                      </a:cubicBezTo>
                      <a:cubicBezTo>
                        <a:pt x="0" y="590"/>
                        <a:pt x="0" y="590"/>
                        <a:pt x="0" y="590"/>
                      </a:cubicBezTo>
                      <a:cubicBezTo>
                        <a:pt x="0" y="581"/>
                        <a:pt x="0" y="581"/>
                        <a:pt x="0" y="581"/>
                      </a:cubicBezTo>
                      <a:cubicBezTo>
                        <a:pt x="0" y="573"/>
                        <a:pt x="0" y="573"/>
                        <a:pt x="0" y="573"/>
                      </a:cubicBezTo>
                      <a:cubicBezTo>
                        <a:pt x="1" y="568"/>
                        <a:pt x="1" y="568"/>
                        <a:pt x="1" y="568"/>
                      </a:cubicBezTo>
                      <a:cubicBezTo>
                        <a:pt x="1" y="564"/>
                        <a:pt x="1" y="560"/>
                        <a:pt x="1" y="556"/>
                      </a:cubicBezTo>
                      <a:cubicBezTo>
                        <a:pt x="1" y="554"/>
                        <a:pt x="1" y="554"/>
                        <a:pt x="1" y="554"/>
                      </a:cubicBezTo>
                      <a:cubicBezTo>
                        <a:pt x="7" y="487"/>
                        <a:pt x="23" y="422"/>
                        <a:pt x="48" y="363"/>
                      </a:cubicBezTo>
                      <a:cubicBezTo>
                        <a:pt x="48" y="396"/>
                        <a:pt x="48" y="396"/>
                        <a:pt x="48" y="396"/>
                      </a:cubicBezTo>
                      <a:cubicBezTo>
                        <a:pt x="74" y="408"/>
                        <a:pt x="74" y="408"/>
                        <a:pt x="74" y="408"/>
                      </a:cubicBezTo>
                      <a:cubicBezTo>
                        <a:pt x="74" y="457"/>
                        <a:pt x="74" y="457"/>
                        <a:pt x="74" y="457"/>
                      </a:cubicBezTo>
                      <a:cubicBezTo>
                        <a:pt x="98" y="498"/>
                        <a:pt x="98" y="498"/>
                        <a:pt x="98" y="498"/>
                      </a:cubicBezTo>
                      <a:cubicBezTo>
                        <a:pt x="118" y="502"/>
                        <a:pt x="118" y="502"/>
                        <a:pt x="118" y="502"/>
                      </a:cubicBezTo>
                      <a:cubicBezTo>
                        <a:pt x="121" y="487"/>
                        <a:pt x="121" y="487"/>
                        <a:pt x="121" y="487"/>
                      </a:cubicBezTo>
                      <a:cubicBezTo>
                        <a:pt x="98" y="451"/>
                        <a:pt x="98" y="451"/>
                        <a:pt x="98" y="451"/>
                      </a:cubicBezTo>
                      <a:cubicBezTo>
                        <a:pt x="93" y="415"/>
                        <a:pt x="93" y="415"/>
                        <a:pt x="93" y="415"/>
                      </a:cubicBezTo>
                      <a:cubicBezTo>
                        <a:pt x="107" y="415"/>
                        <a:pt x="107" y="415"/>
                        <a:pt x="107" y="415"/>
                      </a:cubicBezTo>
                      <a:cubicBezTo>
                        <a:pt x="113" y="452"/>
                        <a:pt x="113" y="452"/>
                        <a:pt x="113" y="452"/>
                      </a:cubicBezTo>
                      <a:cubicBezTo>
                        <a:pt x="147" y="502"/>
                        <a:pt x="147" y="502"/>
                        <a:pt x="147" y="502"/>
                      </a:cubicBezTo>
                      <a:cubicBezTo>
                        <a:pt x="138" y="518"/>
                        <a:pt x="138" y="518"/>
                        <a:pt x="138" y="518"/>
                      </a:cubicBezTo>
                      <a:cubicBezTo>
                        <a:pt x="159" y="550"/>
                        <a:pt x="159" y="550"/>
                        <a:pt x="159" y="550"/>
                      </a:cubicBezTo>
                      <a:cubicBezTo>
                        <a:pt x="213" y="564"/>
                        <a:pt x="213" y="564"/>
                        <a:pt x="213" y="564"/>
                      </a:cubicBezTo>
                      <a:cubicBezTo>
                        <a:pt x="213" y="555"/>
                        <a:pt x="213" y="555"/>
                        <a:pt x="213" y="555"/>
                      </a:cubicBezTo>
                      <a:cubicBezTo>
                        <a:pt x="235" y="559"/>
                        <a:pt x="235" y="559"/>
                        <a:pt x="235" y="559"/>
                      </a:cubicBezTo>
                      <a:cubicBezTo>
                        <a:pt x="233" y="573"/>
                        <a:pt x="233" y="573"/>
                        <a:pt x="233" y="573"/>
                      </a:cubicBezTo>
                      <a:cubicBezTo>
                        <a:pt x="249" y="577"/>
                        <a:pt x="249" y="577"/>
                        <a:pt x="249" y="577"/>
                      </a:cubicBezTo>
                      <a:cubicBezTo>
                        <a:pt x="275" y="584"/>
                        <a:pt x="275" y="584"/>
                        <a:pt x="275" y="584"/>
                      </a:cubicBezTo>
                      <a:cubicBezTo>
                        <a:pt x="312" y="625"/>
                        <a:pt x="312" y="625"/>
                        <a:pt x="312" y="625"/>
                      </a:cubicBezTo>
                      <a:cubicBezTo>
                        <a:pt x="359" y="629"/>
                        <a:pt x="359" y="629"/>
                        <a:pt x="359" y="629"/>
                      </a:cubicBezTo>
                      <a:cubicBezTo>
                        <a:pt x="364" y="668"/>
                        <a:pt x="364" y="668"/>
                        <a:pt x="364" y="668"/>
                      </a:cubicBezTo>
                      <a:cubicBezTo>
                        <a:pt x="331" y="690"/>
                        <a:pt x="331" y="690"/>
                        <a:pt x="331" y="690"/>
                      </a:cubicBezTo>
                      <a:cubicBezTo>
                        <a:pt x="330" y="724"/>
                        <a:pt x="330" y="724"/>
                        <a:pt x="330" y="724"/>
                      </a:cubicBezTo>
                      <a:cubicBezTo>
                        <a:pt x="326" y="745"/>
                        <a:pt x="326" y="745"/>
                        <a:pt x="326" y="745"/>
                      </a:cubicBezTo>
                      <a:cubicBezTo>
                        <a:pt x="372" y="803"/>
                        <a:pt x="372" y="803"/>
                        <a:pt x="372" y="803"/>
                      </a:cubicBezTo>
                      <a:cubicBezTo>
                        <a:pt x="375" y="823"/>
                        <a:pt x="375" y="823"/>
                        <a:pt x="375" y="823"/>
                      </a:cubicBezTo>
                      <a:cubicBezTo>
                        <a:pt x="375" y="823"/>
                        <a:pt x="392" y="827"/>
                        <a:pt x="394" y="827"/>
                      </a:cubicBezTo>
                      <a:cubicBezTo>
                        <a:pt x="396" y="827"/>
                        <a:pt x="432" y="855"/>
                        <a:pt x="432" y="855"/>
                      </a:cubicBezTo>
                      <a:cubicBezTo>
                        <a:pt x="432" y="960"/>
                        <a:pt x="432" y="960"/>
                        <a:pt x="432" y="960"/>
                      </a:cubicBezTo>
                      <a:cubicBezTo>
                        <a:pt x="445" y="963"/>
                        <a:pt x="445" y="963"/>
                        <a:pt x="445" y="963"/>
                      </a:cubicBezTo>
                      <a:cubicBezTo>
                        <a:pt x="436" y="1012"/>
                        <a:pt x="436" y="1012"/>
                        <a:pt x="436" y="1012"/>
                      </a:cubicBezTo>
                      <a:cubicBezTo>
                        <a:pt x="458" y="1040"/>
                        <a:pt x="458" y="1040"/>
                        <a:pt x="458" y="1040"/>
                      </a:cubicBezTo>
                      <a:cubicBezTo>
                        <a:pt x="454" y="1089"/>
                        <a:pt x="454" y="1089"/>
                        <a:pt x="454" y="1089"/>
                      </a:cubicBezTo>
                      <a:cubicBezTo>
                        <a:pt x="482" y="1138"/>
                        <a:pt x="482" y="1138"/>
                        <a:pt x="482" y="1138"/>
                      </a:cubicBezTo>
                      <a:cubicBezTo>
                        <a:pt x="518" y="1170"/>
                        <a:pt x="518" y="1170"/>
                        <a:pt x="518" y="1170"/>
                      </a:cubicBezTo>
                      <a:cubicBezTo>
                        <a:pt x="555" y="1171"/>
                        <a:pt x="555" y="1171"/>
                        <a:pt x="555" y="1171"/>
                      </a:cubicBezTo>
                      <a:cubicBezTo>
                        <a:pt x="558" y="1159"/>
                        <a:pt x="558" y="1159"/>
                        <a:pt x="558" y="1159"/>
                      </a:cubicBezTo>
                      <a:cubicBezTo>
                        <a:pt x="532" y="1137"/>
                        <a:pt x="532" y="1137"/>
                        <a:pt x="532" y="1137"/>
                      </a:cubicBezTo>
                      <a:cubicBezTo>
                        <a:pt x="533" y="1125"/>
                        <a:pt x="533" y="1125"/>
                        <a:pt x="533" y="1125"/>
                      </a:cubicBezTo>
                      <a:cubicBezTo>
                        <a:pt x="538" y="1112"/>
                        <a:pt x="538" y="1112"/>
                        <a:pt x="538" y="1112"/>
                      </a:cubicBezTo>
                      <a:cubicBezTo>
                        <a:pt x="539" y="1097"/>
                        <a:pt x="539" y="1097"/>
                        <a:pt x="539" y="1097"/>
                      </a:cubicBezTo>
                      <a:cubicBezTo>
                        <a:pt x="520" y="1097"/>
                        <a:pt x="520" y="1097"/>
                        <a:pt x="520" y="1097"/>
                      </a:cubicBezTo>
                      <a:cubicBezTo>
                        <a:pt x="511" y="1086"/>
                        <a:pt x="511" y="1086"/>
                        <a:pt x="511" y="1086"/>
                      </a:cubicBezTo>
                      <a:cubicBezTo>
                        <a:pt x="527" y="1071"/>
                        <a:pt x="527" y="1071"/>
                        <a:pt x="527" y="1071"/>
                      </a:cubicBezTo>
                      <a:cubicBezTo>
                        <a:pt x="529" y="1059"/>
                        <a:pt x="529" y="1059"/>
                        <a:pt x="529" y="1059"/>
                      </a:cubicBezTo>
                      <a:cubicBezTo>
                        <a:pt x="511" y="1055"/>
                        <a:pt x="511" y="1055"/>
                        <a:pt x="511" y="1055"/>
                      </a:cubicBezTo>
                      <a:cubicBezTo>
                        <a:pt x="513" y="1045"/>
                        <a:pt x="513" y="1045"/>
                        <a:pt x="513" y="1045"/>
                      </a:cubicBezTo>
                      <a:cubicBezTo>
                        <a:pt x="537" y="1041"/>
                        <a:pt x="537" y="1041"/>
                        <a:pt x="537" y="1041"/>
                      </a:cubicBezTo>
                      <a:cubicBezTo>
                        <a:pt x="574" y="1024"/>
                        <a:pt x="574" y="1024"/>
                        <a:pt x="574" y="1024"/>
                      </a:cubicBezTo>
                      <a:cubicBezTo>
                        <a:pt x="586" y="1001"/>
                        <a:pt x="586" y="1001"/>
                        <a:pt x="586" y="1001"/>
                      </a:cubicBezTo>
                      <a:cubicBezTo>
                        <a:pt x="624" y="952"/>
                        <a:pt x="624" y="952"/>
                        <a:pt x="624" y="952"/>
                      </a:cubicBezTo>
                      <a:cubicBezTo>
                        <a:pt x="615" y="914"/>
                        <a:pt x="615" y="914"/>
                        <a:pt x="615" y="914"/>
                      </a:cubicBezTo>
                      <a:cubicBezTo>
                        <a:pt x="627" y="893"/>
                        <a:pt x="627" y="893"/>
                        <a:pt x="627" y="893"/>
                      </a:cubicBezTo>
                      <a:cubicBezTo>
                        <a:pt x="662" y="895"/>
                        <a:pt x="662" y="895"/>
                        <a:pt x="662" y="895"/>
                      </a:cubicBezTo>
                      <a:cubicBezTo>
                        <a:pt x="686" y="876"/>
                        <a:pt x="686" y="876"/>
                        <a:pt x="686" y="876"/>
                      </a:cubicBezTo>
                      <a:cubicBezTo>
                        <a:pt x="693" y="802"/>
                        <a:pt x="693" y="802"/>
                        <a:pt x="693" y="802"/>
                      </a:cubicBezTo>
                      <a:cubicBezTo>
                        <a:pt x="720" y="768"/>
                        <a:pt x="720" y="768"/>
                        <a:pt x="720" y="768"/>
                      </a:cubicBezTo>
                      <a:cubicBezTo>
                        <a:pt x="724" y="747"/>
                        <a:pt x="724" y="747"/>
                        <a:pt x="724" y="747"/>
                      </a:cubicBezTo>
                      <a:cubicBezTo>
                        <a:pt x="701" y="740"/>
                        <a:pt x="701" y="740"/>
                        <a:pt x="701" y="740"/>
                      </a:cubicBezTo>
                      <a:cubicBezTo>
                        <a:pt x="684" y="713"/>
                        <a:pt x="684" y="713"/>
                        <a:pt x="684" y="713"/>
                      </a:cubicBezTo>
                      <a:cubicBezTo>
                        <a:pt x="630" y="713"/>
                        <a:pt x="630" y="713"/>
                        <a:pt x="630" y="713"/>
                      </a:cubicBezTo>
                      <a:cubicBezTo>
                        <a:pt x="588" y="696"/>
                        <a:pt x="588" y="696"/>
                        <a:pt x="588" y="696"/>
                      </a:cubicBezTo>
                      <a:cubicBezTo>
                        <a:pt x="586" y="665"/>
                        <a:pt x="586" y="665"/>
                        <a:pt x="586" y="665"/>
                      </a:cubicBezTo>
                      <a:cubicBezTo>
                        <a:pt x="571" y="641"/>
                        <a:pt x="571" y="641"/>
                        <a:pt x="571" y="641"/>
                      </a:cubicBezTo>
                      <a:cubicBezTo>
                        <a:pt x="533" y="640"/>
                        <a:pt x="533" y="640"/>
                        <a:pt x="533" y="640"/>
                      </a:cubicBezTo>
                      <a:cubicBezTo>
                        <a:pt x="510" y="605"/>
                        <a:pt x="510" y="605"/>
                        <a:pt x="510" y="605"/>
                      </a:cubicBezTo>
                      <a:cubicBezTo>
                        <a:pt x="490" y="595"/>
                        <a:pt x="490" y="595"/>
                        <a:pt x="490" y="595"/>
                      </a:cubicBezTo>
                      <a:cubicBezTo>
                        <a:pt x="489" y="606"/>
                        <a:pt x="489" y="606"/>
                        <a:pt x="489" y="606"/>
                      </a:cubicBezTo>
                      <a:cubicBezTo>
                        <a:pt x="453" y="608"/>
                        <a:pt x="453" y="608"/>
                        <a:pt x="453" y="608"/>
                      </a:cubicBezTo>
                      <a:cubicBezTo>
                        <a:pt x="439" y="590"/>
                        <a:pt x="439" y="590"/>
                        <a:pt x="439" y="590"/>
                      </a:cubicBezTo>
                      <a:cubicBezTo>
                        <a:pt x="402" y="582"/>
                        <a:pt x="402" y="582"/>
                        <a:pt x="402" y="582"/>
                      </a:cubicBezTo>
                      <a:cubicBezTo>
                        <a:pt x="370" y="618"/>
                        <a:pt x="370" y="618"/>
                        <a:pt x="370" y="618"/>
                      </a:cubicBezTo>
                      <a:cubicBezTo>
                        <a:pt x="321" y="610"/>
                        <a:pt x="321" y="610"/>
                        <a:pt x="321" y="610"/>
                      </a:cubicBezTo>
                      <a:cubicBezTo>
                        <a:pt x="318" y="555"/>
                        <a:pt x="318" y="555"/>
                        <a:pt x="318" y="555"/>
                      </a:cubicBezTo>
                      <a:cubicBezTo>
                        <a:pt x="283" y="549"/>
                        <a:pt x="283" y="549"/>
                        <a:pt x="283" y="549"/>
                      </a:cubicBezTo>
                      <a:cubicBezTo>
                        <a:pt x="297" y="521"/>
                        <a:pt x="297" y="521"/>
                        <a:pt x="297" y="521"/>
                      </a:cubicBezTo>
                      <a:cubicBezTo>
                        <a:pt x="292" y="506"/>
                        <a:pt x="292" y="506"/>
                        <a:pt x="292" y="506"/>
                      </a:cubicBezTo>
                      <a:cubicBezTo>
                        <a:pt x="245" y="537"/>
                        <a:pt x="245" y="537"/>
                        <a:pt x="245" y="537"/>
                      </a:cubicBezTo>
                      <a:cubicBezTo>
                        <a:pt x="216" y="534"/>
                        <a:pt x="216" y="534"/>
                        <a:pt x="216" y="534"/>
                      </a:cubicBezTo>
                      <a:cubicBezTo>
                        <a:pt x="205" y="510"/>
                        <a:pt x="205" y="510"/>
                        <a:pt x="205" y="510"/>
                      </a:cubicBezTo>
                      <a:cubicBezTo>
                        <a:pt x="212" y="487"/>
                        <a:pt x="212" y="487"/>
                        <a:pt x="212" y="487"/>
                      </a:cubicBezTo>
                      <a:cubicBezTo>
                        <a:pt x="228" y="457"/>
                        <a:pt x="228" y="457"/>
                        <a:pt x="228" y="457"/>
                      </a:cubicBezTo>
                      <a:cubicBezTo>
                        <a:pt x="266" y="437"/>
                        <a:pt x="266" y="437"/>
                        <a:pt x="266" y="437"/>
                      </a:cubicBezTo>
                      <a:cubicBezTo>
                        <a:pt x="339" y="437"/>
                        <a:pt x="339" y="437"/>
                        <a:pt x="339" y="437"/>
                      </a:cubicBezTo>
                      <a:cubicBezTo>
                        <a:pt x="338" y="460"/>
                        <a:pt x="338" y="460"/>
                        <a:pt x="338" y="460"/>
                      </a:cubicBezTo>
                      <a:cubicBezTo>
                        <a:pt x="364" y="471"/>
                        <a:pt x="364" y="471"/>
                        <a:pt x="364" y="471"/>
                      </a:cubicBezTo>
                      <a:cubicBezTo>
                        <a:pt x="362" y="434"/>
                        <a:pt x="362" y="434"/>
                        <a:pt x="362" y="434"/>
                      </a:cubicBezTo>
                      <a:cubicBezTo>
                        <a:pt x="381" y="415"/>
                        <a:pt x="381" y="415"/>
                        <a:pt x="381" y="415"/>
                      </a:cubicBezTo>
                      <a:cubicBezTo>
                        <a:pt x="418" y="390"/>
                        <a:pt x="418" y="390"/>
                        <a:pt x="418" y="390"/>
                      </a:cubicBezTo>
                      <a:cubicBezTo>
                        <a:pt x="421" y="373"/>
                        <a:pt x="421" y="373"/>
                        <a:pt x="421" y="373"/>
                      </a:cubicBezTo>
                      <a:cubicBezTo>
                        <a:pt x="459" y="334"/>
                        <a:pt x="459" y="334"/>
                        <a:pt x="459" y="334"/>
                      </a:cubicBezTo>
                      <a:cubicBezTo>
                        <a:pt x="499" y="311"/>
                        <a:pt x="499" y="311"/>
                        <a:pt x="499" y="311"/>
                      </a:cubicBezTo>
                      <a:cubicBezTo>
                        <a:pt x="495" y="309"/>
                        <a:pt x="495" y="309"/>
                        <a:pt x="495" y="309"/>
                      </a:cubicBezTo>
                      <a:cubicBezTo>
                        <a:pt x="523" y="283"/>
                        <a:pt x="523" y="283"/>
                        <a:pt x="523" y="283"/>
                      </a:cubicBezTo>
                      <a:cubicBezTo>
                        <a:pt x="533" y="285"/>
                        <a:pt x="533" y="285"/>
                        <a:pt x="533" y="285"/>
                      </a:cubicBezTo>
                      <a:cubicBezTo>
                        <a:pt x="537" y="291"/>
                        <a:pt x="537" y="291"/>
                        <a:pt x="537" y="291"/>
                      </a:cubicBezTo>
                      <a:cubicBezTo>
                        <a:pt x="548" y="280"/>
                        <a:pt x="548" y="280"/>
                        <a:pt x="548" y="280"/>
                      </a:cubicBezTo>
                      <a:cubicBezTo>
                        <a:pt x="550" y="278"/>
                        <a:pt x="550" y="278"/>
                        <a:pt x="550" y="278"/>
                      </a:cubicBezTo>
                      <a:cubicBezTo>
                        <a:pt x="539" y="277"/>
                        <a:pt x="539" y="277"/>
                        <a:pt x="539" y="277"/>
                      </a:cubicBezTo>
                      <a:cubicBezTo>
                        <a:pt x="527" y="273"/>
                        <a:pt x="527" y="273"/>
                        <a:pt x="527" y="273"/>
                      </a:cubicBezTo>
                      <a:cubicBezTo>
                        <a:pt x="527" y="262"/>
                        <a:pt x="527" y="262"/>
                        <a:pt x="527" y="262"/>
                      </a:cubicBezTo>
                      <a:cubicBezTo>
                        <a:pt x="533" y="257"/>
                        <a:pt x="533" y="257"/>
                        <a:pt x="533" y="257"/>
                      </a:cubicBezTo>
                      <a:cubicBezTo>
                        <a:pt x="547" y="257"/>
                        <a:pt x="547" y="257"/>
                        <a:pt x="547" y="257"/>
                      </a:cubicBezTo>
                      <a:cubicBezTo>
                        <a:pt x="553" y="259"/>
                        <a:pt x="553" y="259"/>
                        <a:pt x="553" y="259"/>
                      </a:cubicBezTo>
                      <a:cubicBezTo>
                        <a:pt x="558" y="271"/>
                        <a:pt x="558" y="271"/>
                        <a:pt x="558" y="271"/>
                      </a:cubicBezTo>
                      <a:cubicBezTo>
                        <a:pt x="564" y="269"/>
                        <a:pt x="564" y="269"/>
                        <a:pt x="564" y="269"/>
                      </a:cubicBezTo>
                      <a:cubicBezTo>
                        <a:pt x="564" y="268"/>
                        <a:pt x="564" y="268"/>
                        <a:pt x="564" y="268"/>
                      </a:cubicBezTo>
                      <a:cubicBezTo>
                        <a:pt x="567" y="269"/>
                        <a:pt x="567" y="269"/>
                        <a:pt x="567" y="269"/>
                      </a:cubicBezTo>
                      <a:cubicBezTo>
                        <a:pt x="586" y="266"/>
                        <a:pt x="586" y="266"/>
                        <a:pt x="586" y="266"/>
                      </a:cubicBezTo>
                      <a:cubicBezTo>
                        <a:pt x="588" y="257"/>
                        <a:pt x="588" y="257"/>
                        <a:pt x="588" y="257"/>
                      </a:cubicBezTo>
                      <a:cubicBezTo>
                        <a:pt x="599" y="259"/>
                        <a:pt x="599" y="259"/>
                        <a:pt x="599" y="259"/>
                      </a:cubicBezTo>
                      <a:cubicBezTo>
                        <a:pt x="599" y="270"/>
                        <a:pt x="599" y="270"/>
                        <a:pt x="599" y="270"/>
                      </a:cubicBezTo>
                      <a:cubicBezTo>
                        <a:pt x="589" y="277"/>
                        <a:pt x="589" y="277"/>
                        <a:pt x="589" y="277"/>
                      </a:cubicBezTo>
                      <a:cubicBezTo>
                        <a:pt x="589" y="277"/>
                        <a:pt x="589" y="277"/>
                        <a:pt x="589" y="277"/>
                      </a:cubicBezTo>
                      <a:cubicBezTo>
                        <a:pt x="591" y="287"/>
                        <a:pt x="591" y="287"/>
                        <a:pt x="591" y="287"/>
                      </a:cubicBezTo>
                      <a:cubicBezTo>
                        <a:pt x="624" y="298"/>
                        <a:pt x="624" y="298"/>
                        <a:pt x="624" y="298"/>
                      </a:cubicBezTo>
                      <a:cubicBezTo>
                        <a:pt x="625" y="298"/>
                        <a:pt x="625" y="298"/>
                        <a:pt x="625" y="298"/>
                      </a:cubicBezTo>
                      <a:cubicBezTo>
                        <a:pt x="633" y="298"/>
                        <a:pt x="633" y="298"/>
                        <a:pt x="633" y="298"/>
                      </a:cubicBezTo>
                      <a:cubicBezTo>
                        <a:pt x="633" y="283"/>
                        <a:pt x="633" y="283"/>
                        <a:pt x="633" y="283"/>
                      </a:cubicBezTo>
                      <a:cubicBezTo>
                        <a:pt x="606" y="271"/>
                        <a:pt x="606" y="271"/>
                        <a:pt x="606" y="271"/>
                      </a:cubicBezTo>
                      <a:cubicBezTo>
                        <a:pt x="605" y="263"/>
                        <a:pt x="605" y="263"/>
                        <a:pt x="605" y="263"/>
                      </a:cubicBezTo>
                      <a:cubicBezTo>
                        <a:pt x="627" y="256"/>
                        <a:pt x="627" y="256"/>
                        <a:pt x="627" y="256"/>
                      </a:cubicBezTo>
                      <a:cubicBezTo>
                        <a:pt x="628" y="234"/>
                        <a:pt x="628" y="234"/>
                        <a:pt x="628" y="234"/>
                      </a:cubicBezTo>
                      <a:cubicBezTo>
                        <a:pt x="605" y="220"/>
                        <a:pt x="605" y="220"/>
                        <a:pt x="605" y="220"/>
                      </a:cubicBezTo>
                      <a:cubicBezTo>
                        <a:pt x="603" y="184"/>
                        <a:pt x="603" y="184"/>
                        <a:pt x="603" y="184"/>
                      </a:cubicBezTo>
                      <a:cubicBezTo>
                        <a:pt x="571" y="200"/>
                        <a:pt x="571" y="200"/>
                        <a:pt x="571" y="200"/>
                      </a:cubicBezTo>
                      <a:cubicBezTo>
                        <a:pt x="559" y="200"/>
                        <a:pt x="559" y="200"/>
                        <a:pt x="559" y="200"/>
                      </a:cubicBezTo>
                      <a:cubicBezTo>
                        <a:pt x="562" y="172"/>
                        <a:pt x="562" y="172"/>
                        <a:pt x="562" y="172"/>
                      </a:cubicBezTo>
                      <a:cubicBezTo>
                        <a:pt x="518" y="162"/>
                        <a:pt x="518" y="162"/>
                        <a:pt x="518" y="162"/>
                      </a:cubicBezTo>
                      <a:cubicBezTo>
                        <a:pt x="500" y="175"/>
                        <a:pt x="500" y="175"/>
                        <a:pt x="500" y="175"/>
                      </a:cubicBezTo>
                      <a:cubicBezTo>
                        <a:pt x="500" y="218"/>
                        <a:pt x="500" y="218"/>
                        <a:pt x="500" y="218"/>
                      </a:cubicBezTo>
                      <a:cubicBezTo>
                        <a:pt x="467" y="228"/>
                        <a:pt x="467" y="228"/>
                        <a:pt x="467" y="228"/>
                      </a:cubicBezTo>
                      <a:cubicBezTo>
                        <a:pt x="455" y="255"/>
                        <a:pt x="455" y="255"/>
                        <a:pt x="455" y="255"/>
                      </a:cubicBezTo>
                      <a:cubicBezTo>
                        <a:pt x="441" y="257"/>
                        <a:pt x="441" y="257"/>
                        <a:pt x="441" y="257"/>
                      </a:cubicBezTo>
                      <a:cubicBezTo>
                        <a:pt x="441" y="222"/>
                        <a:pt x="441" y="222"/>
                        <a:pt x="441" y="222"/>
                      </a:cubicBezTo>
                      <a:cubicBezTo>
                        <a:pt x="410" y="218"/>
                        <a:pt x="410" y="218"/>
                        <a:pt x="410" y="218"/>
                      </a:cubicBezTo>
                      <a:cubicBezTo>
                        <a:pt x="395" y="208"/>
                        <a:pt x="395" y="208"/>
                        <a:pt x="395" y="208"/>
                      </a:cubicBezTo>
                      <a:cubicBezTo>
                        <a:pt x="389" y="186"/>
                        <a:pt x="389" y="186"/>
                        <a:pt x="389" y="186"/>
                      </a:cubicBezTo>
                      <a:cubicBezTo>
                        <a:pt x="443" y="153"/>
                        <a:pt x="443" y="153"/>
                        <a:pt x="443" y="153"/>
                      </a:cubicBezTo>
                      <a:cubicBezTo>
                        <a:pt x="470" y="145"/>
                        <a:pt x="470" y="145"/>
                        <a:pt x="470" y="145"/>
                      </a:cubicBezTo>
                      <a:cubicBezTo>
                        <a:pt x="473" y="163"/>
                        <a:pt x="473" y="163"/>
                        <a:pt x="473" y="163"/>
                      </a:cubicBezTo>
                      <a:cubicBezTo>
                        <a:pt x="488" y="162"/>
                        <a:pt x="488" y="162"/>
                        <a:pt x="488" y="162"/>
                      </a:cubicBezTo>
                      <a:cubicBezTo>
                        <a:pt x="489" y="153"/>
                        <a:pt x="489" y="153"/>
                        <a:pt x="489" y="153"/>
                      </a:cubicBezTo>
                      <a:cubicBezTo>
                        <a:pt x="505" y="151"/>
                        <a:pt x="505" y="151"/>
                        <a:pt x="505" y="151"/>
                      </a:cubicBezTo>
                      <a:cubicBezTo>
                        <a:pt x="505" y="148"/>
                        <a:pt x="505" y="148"/>
                        <a:pt x="505" y="148"/>
                      </a:cubicBezTo>
                      <a:cubicBezTo>
                        <a:pt x="498" y="145"/>
                        <a:pt x="498" y="145"/>
                        <a:pt x="498" y="145"/>
                      </a:cubicBezTo>
                      <a:cubicBezTo>
                        <a:pt x="496" y="136"/>
                        <a:pt x="496" y="136"/>
                        <a:pt x="496" y="136"/>
                      </a:cubicBezTo>
                      <a:cubicBezTo>
                        <a:pt x="516" y="134"/>
                        <a:pt x="516" y="134"/>
                        <a:pt x="516" y="134"/>
                      </a:cubicBezTo>
                      <a:cubicBezTo>
                        <a:pt x="527" y="122"/>
                        <a:pt x="527" y="122"/>
                        <a:pt x="527" y="122"/>
                      </a:cubicBezTo>
                      <a:cubicBezTo>
                        <a:pt x="528" y="122"/>
                        <a:pt x="528" y="122"/>
                        <a:pt x="528" y="122"/>
                      </a:cubicBezTo>
                      <a:cubicBezTo>
                        <a:pt x="528" y="122"/>
                        <a:pt x="528" y="122"/>
                        <a:pt x="528" y="122"/>
                      </a:cubicBezTo>
                      <a:cubicBezTo>
                        <a:pt x="532" y="118"/>
                        <a:pt x="532" y="118"/>
                        <a:pt x="532" y="118"/>
                      </a:cubicBezTo>
                      <a:cubicBezTo>
                        <a:pt x="572" y="112"/>
                        <a:pt x="572" y="112"/>
                        <a:pt x="572" y="112"/>
                      </a:cubicBezTo>
                      <a:cubicBezTo>
                        <a:pt x="589" y="128"/>
                        <a:pt x="589" y="128"/>
                        <a:pt x="589" y="128"/>
                      </a:cubicBezTo>
                      <a:cubicBezTo>
                        <a:pt x="542" y="153"/>
                        <a:pt x="542" y="153"/>
                        <a:pt x="542" y="153"/>
                      </a:cubicBezTo>
                      <a:cubicBezTo>
                        <a:pt x="602" y="167"/>
                        <a:pt x="602" y="167"/>
                        <a:pt x="602" y="167"/>
                      </a:cubicBezTo>
                      <a:cubicBezTo>
                        <a:pt x="610" y="147"/>
                        <a:pt x="610" y="147"/>
                        <a:pt x="610" y="147"/>
                      </a:cubicBezTo>
                      <a:cubicBezTo>
                        <a:pt x="636" y="147"/>
                        <a:pt x="636" y="147"/>
                        <a:pt x="636" y="147"/>
                      </a:cubicBezTo>
                      <a:cubicBezTo>
                        <a:pt x="646" y="130"/>
                        <a:pt x="646" y="130"/>
                        <a:pt x="646" y="130"/>
                      </a:cubicBezTo>
                      <a:cubicBezTo>
                        <a:pt x="627" y="125"/>
                        <a:pt x="627" y="125"/>
                        <a:pt x="627" y="125"/>
                      </a:cubicBezTo>
                      <a:cubicBezTo>
                        <a:pt x="627" y="103"/>
                        <a:pt x="627" y="103"/>
                        <a:pt x="627" y="103"/>
                      </a:cubicBezTo>
                      <a:cubicBezTo>
                        <a:pt x="569" y="78"/>
                        <a:pt x="569" y="78"/>
                        <a:pt x="569" y="78"/>
                      </a:cubicBezTo>
                      <a:cubicBezTo>
                        <a:pt x="530" y="82"/>
                        <a:pt x="530" y="82"/>
                        <a:pt x="530" y="82"/>
                      </a:cubicBezTo>
                      <a:cubicBezTo>
                        <a:pt x="507" y="94"/>
                        <a:pt x="507" y="94"/>
                        <a:pt x="507" y="94"/>
                      </a:cubicBezTo>
                      <a:cubicBezTo>
                        <a:pt x="508" y="122"/>
                        <a:pt x="508" y="122"/>
                        <a:pt x="508" y="122"/>
                      </a:cubicBezTo>
                      <a:cubicBezTo>
                        <a:pt x="485" y="119"/>
                        <a:pt x="485" y="119"/>
                        <a:pt x="485" y="119"/>
                      </a:cubicBezTo>
                      <a:cubicBezTo>
                        <a:pt x="481" y="103"/>
                        <a:pt x="481" y="103"/>
                        <a:pt x="481" y="103"/>
                      </a:cubicBezTo>
                      <a:cubicBezTo>
                        <a:pt x="504" y="82"/>
                        <a:pt x="504" y="82"/>
                        <a:pt x="504" y="82"/>
                      </a:cubicBezTo>
                      <a:cubicBezTo>
                        <a:pt x="463" y="81"/>
                        <a:pt x="463" y="81"/>
                        <a:pt x="463" y="81"/>
                      </a:cubicBezTo>
                      <a:cubicBezTo>
                        <a:pt x="452" y="84"/>
                        <a:pt x="452" y="84"/>
                        <a:pt x="452" y="84"/>
                      </a:cubicBezTo>
                      <a:cubicBezTo>
                        <a:pt x="446" y="98"/>
                        <a:pt x="446" y="98"/>
                        <a:pt x="446" y="98"/>
                      </a:cubicBezTo>
                      <a:cubicBezTo>
                        <a:pt x="461" y="100"/>
                        <a:pt x="461" y="100"/>
                        <a:pt x="461" y="100"/>
                      </a:cubicBezTo>
                      <a:cubicBezTo>
                        <a:pt x="458" y="115"/>
                        <a:pt x="458" y="115"/>
                        <a:pt x="458" y="115"/>
                      </a:cubicBezTo>
                      <a:cubicBezTo>
                        <a:pt x="433" y="117"/>
                        <a:pt x="433" y="117"/>
                        <a:pt x="433" y="117"/>
                      </a:cubicBezTo>
                      <a:cubicBezTo>
                        <a:pt x="428" y="128"/>
                        <a:pt x="428" y="128"/>
                        <a:pt x="428" y="128"/>
                      </a:cubicBezTo>
                      <a:cubicBezTo>
                        <a:pt x="391" y="128"/>
                        <a:pt x="391" y="128"/>
                        <a:pt x="391" y="128"/>
                      </a:cubicBezTo>
                      <a:cubicBezTo>
                        <a:pt x="391" y="128"/>
                        <a:pt x="389" y="107"/>
                        <a:pt x="388" y="107"/>
                      </a:cubicBezTo>
                      <a:cubicBezTo>
                        <a:pt x="386" y="107"/>
                        <a:pt x="417" y="106"/>
                        <a:pt x="417" y="106"/>
                      </a:cubicBezTo>
                      <a:cubicBezTo>
                        <a:pt x="440" y="84"/>
                        <a:pt x="440" y="84"/>
                        <a:pt x="440" y="84"/>
                      </a:cubicBezTo>
                      <a:cubicBezTo>
                        <a:pt x="428" y="78"/>
                        <a:pt x="428" y="78"/>
                        <a:pt x="428" y="78"/>
                      </a:cubicBezTo>
                      <a:cubicBezTo>
                        <a:pt x="411" y="94"/>
                        <a:pt x="411" y="94"/>
                        <a:pt x="411" y="94"/>
                      </a:cubicBezTo>
                      <a:cubicBezTo>
                        <a:pt x="384" y="93"/>
                        <a:pt x="384" y="93"/>
                        <a:pt x="384" y="93"/>
                      </a:cubicBezTo>
                      <a:cubicBezTo>
                        <a:pt x="368" y="70"/>
                        <a:pt x="368" y="70"/>
                        <a:pt x="368" y="70"/>
                      </a:cubicBezTo>
                      <a:cubicBezTo>
                        <a:pt x="333" y="70"/>
                        <a:pt x="333" y="70"/>
                        <a:pt x="333" y="70"/>
                      </a:cubicBezTo>
                      <a:cubicBezTo>
                        <a:pt x="297" y="97"/>
                        <a:pt x="297" y="97"/>
                        <a:pt x="297" y="97"/>
                      </a:cubicBezTo>
                      <a:cubicBezTo>
                        <a:pt x="330" y="97"/>
                        <a:pt x="330" y="97"/>
                        <a:pt x="330" y="97"/>
                      </a:cubicBezTo>
                      <a:cubicBezTo>
                        <a:pt x="333" y="107"/>
                        <a:pt x="333" y="107"/>
                        <a:pt x="333" y="107"/>
                      </a:cubicBezTo>
                      <a:cubicBezTo>
                        <a:pt x="325" y="115"/>
                        <a:pt x="325" y="115"/>
                        <a:pt x="325" y="115"/>
                      </a:cubicBezTo>
                      <a:cubicBezTo>
                        <a:pt x="361" y="116"/>
                        <a:pt x="361" y="116"/>
                        <a:pt x="361" y="116"/>
                      </a:cubicBezTo>
                      <a:cubicBezTo>
                        <a:pt x="367" y="130"/>
                        <a:pt x="367" y="130"/>
                        <a:pt x="367" y="130"/>
                      </a:cubicBezTo>
                      <a:cubicBezTo>
                        <a:pt x="326" y="128"/>
                        <a:pt x="326" y="128"/>
                        <a:pt x="326" y="128"/>
                      </a:cubicBezTo>
                      <a:cubicBezTo>
                        <a:pt x="323" y="118"/>
                        <a:pt x="323" y="118"/>
                        <a:pt x="323" y="118"/>
                      </a:cubicBezTo>
                      <a:cubicBezTo>
                        <a:pt x="298" y="112"/>
                        <a:pt x="298" y="112"/>
                        <a:pt x="298" y="112"/>
                      </a:cubicBezTo>
                      <a:cubicBezTo>
                        <a:pt x="284" y="104"/>
                        <a:pt x="284" y="104"/>
                        <a:pt x="284" y="104"/>
                      </a:cubicBezTo>
                      <a:cubicBezTo>
                        <a:pt x="261" y="105"/>
                        <a:pt x="261" y="105"/>
                        <a:pt x="261" y="105"/>
                      </a:cubicBezTo>
                      <a:cubicBezTo>
                        <a:pt x="358" y="38"/>
                        <a:pt x="475" y="0"/>
                        <a:pt x="602" y="0"/>
                      </a:cubicBezTo>
                      <a:close/>
                      <a:moveTo>
                        <a:pt x="896" y="205"/>
                      </a:moveTo>
                      <a:cubicBezTo>
                        <a:pt x="902" y="197"/>
                        <a:pt x="902" y="197"/>
                        <a:pt x="902" y="197"/>
                      </a:cubicBezTo>
                      <a:cubicBezTo>
                        <a:pt x="922" y="192"/>
                        <a:pt x="922" y="192"/>
                        <a:pt x="922" y="192"/>
                      </a:cubicBezTo>
                      <a:cubicBezTo>
                        <a:pt x="927" y="216"/>
                        <a:pt x="927" y="216"/>
                        <a:pt x="927" y="216"/>
                      </a:cubicBezTo>
                      <a:cubicBezTo>
                        <a:pt x="938" y="234"/>
                        <a:pt x="938" y="234"/>
                        <a:pt x="938" y="234"/>
                      </a:cubicBezTo>
                      <a:cubicBezTo>
                        <a:pt x="946" y="242"/>
                        <a:pt x="946" y="242"/>
                        <a:pt x="946" y="242"/>
                      </a:cubicBezTo>
                      <a:cubicBezTo>
                        <a:pt x="959" y="247"/>
                        <a:pt x="959" y="247"/>
                        <a:pt x="959" y="247"/>
                      </a:cubicBezTo>
                      <a:cubicBezTo>
                        <a:pt x="946" y="262"/>
                        <a:pt x="946" y="262"/>
                        <a:pt x="946" y="262"/>
                      </a:cubicBezTo>
                      <a:cubicBezTo>
                        <a:pt x="922" y="264"/>
                        <a:pt x="922" y="264"/>
                        <a:pt x="922" y="264"/>
                      </a:cubicBezTo>
                      <a:cubicBezTo>
                        <a:pt x="905" y="264"/>
                        <a:pt x="905" y="264"/>
                        <a:pt x="905" y="264"/>
                      </a:cubicBezTo>
                      <a:cubicBezTo>
                        <a:pt x="906" y="243"/>
                        <a:pt x="906" y="243"/>
                        <a:pt x="906" y="243"/>
                      </a:cubicBezTo>
                      <a:cubicBezTo>
                        <a:pt x="921" y="240"/>
                        <a:pt x="921" y="240"/>
                        <a:pt x="921" y="240"/>
                      </a:cubicBezTo>
                      <a:cubicBezTo>
                        <a:pt x="920" y="230"/>
                        <a:pt x="920" y="230"/>
                        <a:pt x="920" y="230"/>
                      </a:cubicBezTo>
                      <a:cubicBezTo>
                        <a:pt x="906" y="221"/>
                        <a:pt x="906" y="221"/>
                        <a:pt x="906" y="221"/>
                      </a:cubicBezTo>
                      <a:cubicBezTo>
                        <a:pt x="896" y="214"/>
                        <a:pt x="896" y="214"/>
                        <a:pt x="896" y="214"/>
                      </a:cubicBezTo>
                      <a:cubicBezTo>
                        <a:pt x="896" y="205"/>
                        <a:pt x="896" y="205"/>
                        <a:pt x="896" y="205"/>
                      </a:cubicBezTo>
                      <a:close/>
                      <a:moveTo>
                        <a:pt x="863" y="243"/>
                      </a:moveTo>
                      <a:cubicBezTo>
                        <a:pt x="875" y="223"/>
                        <a:pt x="875" y="223"/>
                        <a:pt x="875" y="223"/>
                      </a:cubicBezTo>
                      <a:cubicBezTo>
                        <a:pt x="893" y="219"/>
                        <a:pt x="893" y="219"/>
                        <a:pt x="893" y="219"/>
                      </a:cubicBezTo>
                      <a:cubicBezTo>
                        <a:pt x="904" y="225"/>
                        <a:pt x="904" y="225"/>
                        <a:pt x="904" y="225"/>
                      </a:cubicBezTo>
                      <a:cubicBezTo>
                        <a:pt x="902" y="238"/>
                        <a:pt x="902" y="238"/>
                        <a:pt x="902" y="238"/>
                      </a:cubicBezTo>
                      <a:cubicBezTo>
                        <a:pt x="877" y="256"/>
                        <a:pt x="877" y="256"/>
                        <a:pt x="877" y="256"/>
                      </a:cubicBezTo>
                      <a:cubicBezTo>
                        <a:pt x="863" y="256"/>
                        <a:pt x="863" y="256"/>
                        <a:pt x="863" y="256"/>
                      </a:cubicBezTo>
                      <a:cubicBezTo>
                        <a:pt x="863" y="243"/>
                        <a:pt x="863" y="243"/>
                        <a:pt x="863" y="243"/>
                      </a:cubicBezTo>
                      <a:close/>
                      <a:moveTo>
                        <a:pt x="530" y="318"/>
                      </a:moveTo>
                      <a:cubicBezTo>
                        <a:pt x="517" y="320"/>
                        <a:pt x="517" y="320"/>
                        <a:pt x="517" y="320"/>
                      </a:cubicBezTo>
                      <a:cubicBezTo>
                        <a:pt x="517" y="311"/>
                        <a:pt x="517" y="311"/>
                        <a:pt x="517" y="311"/>
                      </a:cubicBezTo>
                      <a:cubicBezTo>
                        <a:pt x="524" y="303"/>
                        <a:pt x="524" y="303"/>
                        <a:pt x="524" y="303"/>
                      </a:cubicBezTo>
                      <a:cubicBezTo>
                        <a:pt x="531" y="309"/>
                        <a:pt x="531" y="309"/>
                        <a:pt x="531" y="309"/>
                      </a:cubicBezTo>
                      <a:cubicBezTo>
                        <a:pt x="530" y="318"/>
                        <a:pt x="530" y="318"/>
                        <a:pt x="530" y="318"/>
                      </a:cubicBezTo>
                      <a:cubicBezTo>
                        <a:pt x="530" y="318"/>
                        <a:pt x="530" y="318"/>
                        <a:pt x="530" y="318"/>
                      </a:cubicBezTo>
                      <a:close/>
                      <a:moveTo>
                        <a:pt x="574" y="303"/>
                      </a:moveTo>
                      <a:cubicBezTo>
                        <a:pt x="566" y="303"/>
                        <a:pt x="566" y="303"/>
                        <a:pt x="566" y="303"/>
                      </a:cubicBezTo>
                      <a:cubicBezTo>
                        <a:pt x="564" y="312"/>
                        <a:pt x="564" y="312"/>
                        <a:pt x="564" y="312"/>
                      </a:cubicBezTo>
                      <a:cubicBezTo>
                        <a:pt x="557" y="316"/>
                        <a:pt x="557" y="316"/>
                        <a:pt x="557" y="316"/>
                      </a:cubicBezTo>
                      <a:cubicBezTo>
                        <a:pt x="546" y="317"/>
                        <a:pt x="546" y="317"/>
                        <a:pt x="546" y="317"/>
                      </a:cubicBezTo>
                      <a:cubicBezTo>
                        <a:pt x="546" y="315"/>
                        <a:pt x="546" y="312"/>
                        <a:pt x="546" y="312"/>
                      </a:cubicBezTo>
                      <a:cubicBezTo>
                        <a:pt x="542" y="312"/>
                        <a:pt x="542" y="312"/>
                        <a:pt x="542" y="312"/>
                      </a:cubicBezTo>
                      <a:cubicBezTo>
                        <a:pt x="542" y="303"/>
                        <a:pt x="542" y="303"/>
                        <a:pt x="542" y="303"/>
                      </a:cubicBezTo>
                      <a:cubicBezTo>
                        <a:pt x="559" y="303"/>
                        <a:pt x="559" y="303"/>
                        <a:pt x="559" y="303"/>
                      </a:cubicBezTo>
                      <a:cubicBezTo>
                        <a:pt x="563" y="294"/>
                        <a:pt x="563" y="294"/>
                        <a:pt x="563" y="294"/>
                      </a:cubicBezTo>
                      <a:cubicBezTo>
                        <a:pt x="570" y="294"/>
                        <a:pt x="570" y="294"/>
                        <a:pt x="570" y="294"/>
                      </a:cubicBezTo>
                      <a:cubicBezTo>
                        <a:pt x="578" y="296"/>
                        <a:pt x="578" y="296"/>
                        <a:pt x="578" y="296"/>
                      </a:cubicBezTo>
                      <a:cubicBezTo>
                        <a:pt x="574" y="303"/>
                        <a:pt x="574" y="303"/>
                        <a:pt x="574" y="303"/>
                      </a:cubicBezTo>
                      <a:cubicBezTo>
                        <a:pt x="574" y="303"/>
                        <a:pt x="574" y="303"/>
                        <a:pt x="574" y="303"/>
                      </a:cubicBezTo>
                      <a:close/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8FA0C82D-2496-4A88-A74E-D71BAAB92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904" y="1216756"/>
                <a:ext cx="529544" cy="609961"/>
              </a:xfrm>
              <a:custGeom>
                <a:avLst/>
                <a:gdLst>
                  <a:gd name="T0" fmla="*/ 0 w 349"/>
                  <a:gd name="T1" fmla="*/ 0 h 402"/>
                  <a:gd name="T2" fmla="*/ 0 w 349"/>
                  <a:gd name="T3" fmla="*/ 402 h 402"/>
                  <a:gd name="T4" fmla="*/ 349 w 349"/>
                  <a:gd name="T5" fmla="*/ 201 h 402"/>
                  <a:gd name="T6" fmla="*/ 0 w 349"/>
                  <a:gd name="T7" fmla="*/ 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9" h="402">
                    <a:moveTo>
                      <a:pt x="0" y="0"/>
                    </a:moveTo>
                    <a:lnTo>
                      <a:pt x="0" y="402"/>
                    </a:lnTo>
                    <a:lnTo>
                      <a:pt x="349" y="20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D79AF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1F9860D6-576E-4565-90DF-20FFC7605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0841" y="3124021"/>
                <a:ext cx="526509" cy="609961"/>
              </a:xfrm>
              <a:custGeom>
                <a:avLst/>
                <a:gdLst>
                  <a:gd name="T0" fmla="*/ 0 w 347"/>
                  <a:gd name="T1" fmla="*/ 201 h 402"/>
                  <a:gd name="T2" fmla="*/ 347 w 347"/>
                  <a:gd name="T3" fmla="*/ 402 h 402"/>
                  <a:gd name="T4" fmla="*/ 347 w 347"/>
                  <a:gd name="T5" fmla="*/ 0 h 402"/>
                  <a:gd name="T6" fmla="*/ 0 w 347"/>
                  <a:gd name="T7" fmla="*/ 201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7" h="402">
                    <a:moveTo>
                      <a:pt x="0" y="201"/>
                    </a:moveTo>
                    <a:lnTo>
                      <a:pt x="347" y="402"/>
                    </a:lnTo>
                    <a:lnTo>
                      <a:pt x="347" y="0"/>
                    </a:lnTo>
                    <a:lnTo>
                      <a:pt x="0" y="201"/>
                    </a:lnTo>
                    <a:close/>
                  </a:path>
                </a:pathLst>
              </a:custGeom>
              <a:solidFill>
                <a:srgbClr val="29C9B2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22563DCF-C0C6-4AB9-BC9B-FD0D44E9D8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904" y="5029769"/>
                <a:ext cx="529544" cy="609961"/>
              </a:xfrm>
              <a:custGeom>
                <a:avLst/>
                <a:gdLst>
                  <a:gd name="T0" fmla="*/ 0 w 349"/>
                  <a:gd name="T1" fmla="*/ 402 h 402"/>
                  <a:gd name="T2" fmla="*/ 349 w 349"/>
                  <a:gd name="T3" fmla="*/ 201 h 402"/>
                  <a:gd name="T4" fmla="*/ 0 w 349"/>
                  <a:gd name="T5" fmla="*/ 0 h 402"/>
                  <a:gd name="T6" fmla="*/ 0 w 349"/>
                  <a:gd name="T7" fmla="*/ 402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9" h="402">
                    <a:moveTo>
                      <a:pt x="0" y="402"/>
                    </a:moveTo>
                    <a:lnTo>
                      <a:pt x="349" y="201"/>
                    </a:lnTo>
                    <a:lnTo>
                      <a:pt x="0" y="0"/>
                    </a:lnTo>
                    <a:lnTo>
                      <a:pt x="0" y="402"/>
                    </a:lnTo>
                    <a:close/>
                  </a:path>
                </a:pathLst>
              </a:custGeom>
              <a:solidFill>
                <a:srgbClr val="218A8F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3DDC874A-E1A7-46C8-BB2C-EED56F348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5554" y="5029769"/>
                <a:ext cx="528026" cy="609961"/>
              </a:xfrm>
              <a:custGeom>
                <a:avLst/>
                <a:gdLst>
                  <a:gd name="T0" fmla="*/ 348 w 348"/>
                  <a:gd name="T1" fmla="*/ 402 h 402"/>
                  <a:gd name="T2" fmla="*/ 348 w 348"/>
                  <a:gd name="T3" fmla="*/ 0 h 402"/>
                  <a:gd name="T4" fmla="*/ 0 w 348"/>
                  <a:gd name="T5" fmla="*/ 201 h 402"/>
                  <a:gd name="T6" fmla="*/ 348 w 348"/>
                  <a:gd name="T7" fmla="*/ 402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8" h="402">
                    <a:moveTo>
                      <a:pt x="348" y="402"/>
                    </a:moveTo>
                    <a:lnTo>
                      <a:pt x="348" y="0"/>
                    </a:lnTo>
                    <a:lnTo>
                      <a:pt x="0" y="201"/>
                    </a:lnTo>
                    <a:lnTo>
                      <a:pt x="348" y="402"/>
                    </a:lnTo>
                    <a:close/>
                  </a:path>
                </a:pathLst>
              </a:custGeom>
              <a:solidFill>
                <a:srgbClr val="FA4D0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7303628F-8899-44F7-A1FE-CD942A93C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23133" y="3124021"/>
                <a:ext cx="528026" cy="609961"/>
              </a:xfrm>
              <a:custGeom>
                <a:avLst/>
                <a:gdLst>
                  <a:gd name="T0" fmla="*/ 348 w 348"/>
                  <a:gd name="T1" fmla="*/ 201 h 402"/>
                  <a:gd name="T2" fmla="*/ 0 w 348"/>
                  <a:gd name="T3" fmla="*/ 0 h 402"/>
                  <a:gd name="T4" fmla="*/ 0 w 348"/>
                  <a:gd name="T5" fmla="*/ 402 h 402"/>
                  <a:gd name="T6" fmla="*/ 348 w 348"/>
                  <a:gd name="T7" fmla="*/ 201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8" h="402">
                    <a:moveTo>
                      <a:pt x="348" y="201"/>
                    </a:moveTo>
                    <a:lnTo>
                      <a:pt x="0" y="0"/>
                    </a:lnTo>
                    <a:lnTo>
                      <a:pt x="0" y="402"/>
                    </a:lnTo>
                    <a:lnTo>
                      <a:pt x="348" y="201"/>
                    </a:lnTo>
                    <a:close/>
                  </a:path>
                </a:pathLst>
              </a:custGeom>
              <a:solidFill>
                <a:srgbClr val="CE1058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3BF96130-EE93-4483-AB88-A5B6A3180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5554" y="1216756"/>
                <a:ext cx="528026" cy="609961"/>
              </a:xfrm>
              <a:custGeom>
                <a:avLst/>
                <a:gdLst>
                  <a:gd name="T0" fmla="*/ 348 w 348"/>
                  <a:gd name="T1" fmla="*/ 0 h 402"/>
                  <a:gd name="T2" fmla="*/ 0 w 348"/>
                  <a:gd name="T3" fmla="*/ 201 h 402"/>
                  <a:gd name="T4" fmla="*/ 348 w 348"/>
                  <a:gd name="T5" fmla="*/ 402 h 402"/>
                  <a:gd name="T6" fmla="*/ 348 w 348"/>
                  <a:gd name="T7" fmla="*/ 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8" h="402">
                    <a:moveTo>
                      <a:pt x="348" y="0"/>
                    </a:moveTo>
                    <a:lnTo>
                      <a:pt x="0" y="201"/>
                    </a:lnTo>
                    <a:lnTo>
                      <a:pt x="348" y="402"/>
                    </a:lnTo>
                    <a:lnTo>
                      <a:pt x="348" y="0"/>
                    </a:lnTo>
                    <a:close/>
                  </a:path>
                </a:pathLst>
              </a:custGeom>
              <a:solidFill>
                <a:srgbClr val="2F0E5A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4E23A914-91D9-4F37-9289-D83119CAB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5282" y="4271111"/>
                <a:ext cx="1986166" cy="1447519"/>
              </a:xfrm>
              <a:custGeom>
                <a:avLst/>
                <a:gdLst>
                  <a:gd name="T0" fmla="*/ 912 w 912"/>
                  <a:gd name="T1" fmla="*/ 395 h 665"/>
                  <a:gd name="T2" fmla="*/ 912 w 912"/>
                  <a:gd name="T3" fmla="*/ 665 h 665"/>
                  <a:gd name="T4" fmla="*/ 0 w 912"/>
                  <a:gd name="T5" fmla="*/ 135 h 665"/>
                  <a:gd name="T6" fmla="*/ 234 w 912"/>
                  <a:gd name="T7" fmla="*/ 0 h 665"/>
                  <a:gd name="T8" fmla="*/ 912 w 912"/>
                  <a:gd name="T9" fmla="*/ 395 h 6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665">
                    <a:moveTo>
                      <a:pt x="912" y="395"/>
                    </a:moveTo>
                    <a:cubicBezTo>
                      <a:pt x="912" y="665"/>
                      <a:pt x="912" y="665"/>
                      <a:pt x="912" y="665"/>
                    </a:cubicBezTo>
                    <a:cubicBezTo>
                      <a:pt x="522" y="664"/>
                      <a:pt x="181" y="451"/>
                      <a:pt x="0" y="135"/>
                    </a:cubicBezTo>
                    <a:cubicBezTo>
                      <a:pt x="234" y="0"/>
                      <a:pt x="234" y="0"/>
                      <a:pt x="234" y="0"/>
                    </a:cubicBezTo>
                    <a:cubicBezTo>
                      <a:pt x="369" y="235"/>
                      <a:pt x="622" y="394"/>
                      <a:pt x="912" y="395"/>
                    </a:cubicBezTo>
                    <a:close/>
                  </a:path>
                </a:pathLst>
              </a:custGeom>
              <a:solidFill>
                <a:srgbClr val="2BB0B7"/>
              </a:solidFill>
              <a:ln w="7938" cap="flat">
                <a:noFill/>
                <a:prstDash val="solid"/>
                <a:miter lim="800000"/>
                <a:headEnd/>
                <a:tailEnd/>
              </a:ln>
              <a:effectLst>
                <a:innerShdw blurRad="114300">
                  <a:prstClr val="black">
                    <a:alpha val="3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FA5FAB4B-1624-4307-ADAD-520091A60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3337" y="2277359"/>
                <a:ext cx="819350" cy="2288112"/>
              </a:xfrm>
              <a:custGeom>
                <a:avLst/>
                <a:gdLst>
                  <a:gd name="T0" fmla="*/ 270 w 376"/>
                  <a:gd name="T1" fmla="*/ 529 h 1051"/>
                  <a:gd name="T2" fmla="*/ 372 w 376"/>
                  <a:gd name="T3" fmla="*/ 916 h 1051"/>
                  <a:gd name="T4" fmla="*/ 138 w 376"/>
                  <a:gd name="T5" fmla="*/ 1051 h 1051"/>
                  <a:gd name="T6" fmla="*/ 0 w 376"/>
                  <a:gd name="T7" fmla="*/ 529 h 1051"/>
                  <a:gd name="T8" fmla="*/ 142 w 376"/>
                  <a:gd name="T9" fmla="*/ 0 h 1051"/>
                  <a:gd name="T10" fmla="*/ 376 w 376"/>
                  <a:gd name="T11" fmla="*/ 135 h 1051"/>
                  <a:gd name="T12" fmla="*/ 270 w 376"/>
                  <a:gd name="T13" fmla="*/ 529 h 10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6" h="1051">
                    <a:moveTo>
                      <a:pt x="270" y="529"/>
                    </a:moveTo>
                    <a:cubicBezTo>
                      <a:pt x="270" y="670"/>
                      <a:pt x="307" y="802"/>
                      <a:pt x="372" y="916"/>
                    </a:cubicBezTo>
                    <a:cubicBezTo>
                      <a:pt x="138" y="1051"/>
                      <a:pt x="138" y="1051"/>
                      <a:pt x="138" y="1051"/>
                    </a:cubicBezTo>
                    <a:cubicBezTo>
                      <a:pt x="50" y="897"/>
                      <a:pt x="0" y="719"/>
                      <a:pt x="0" y="529"/>
                    </a:cubicBezTo>
                    <a:cubicBezTo>
                      <a:pt x="0" y="336"/>
                      <a:pt x="52" y="156"/>
                      <a:pt x="142" y="0"/>
                    </a:cubicBezTo>
                    <a:cubicBezTo>
                      <a:pt x="376" y="135"/>
                      <a:pt x="376" y="135"/>
                      <a:pt x="376" y="135"/>
                    </a:cubicBezTo>
                    <a:cubicBezTo>
                      <a:pt x="309" y="251"/>
                      <a:pt x="270" y="385"/>
                      <a:pt x="270" y="529"/>
                    </a:cubicBezTo>
                    <a:close/>
                  </a:path>
                </a:pathLst>
              </a:custGeom>
              <a:solidFill>
                <a:srgbClr val="3DD7C1"/>
              </a:solidFill>
              <a:ln w="7938" cap="flat">
                <a:noFill/>
                <a:prstDash val="solid"/>
                <a:miter lim="800000"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9EE06E51-1AC0-46B9-B116-7F623CC088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2869" y="1139372"/>
                <a:ext cx="1978579" cy="1432346"/>
              </a:xfrm>
              <a:custGeom>
                <a:avLst/>
                <a:gdLst>
                  <a:gd name="T0" fmla="*/ 908 w 908"/>
                  <a:gd name="T1" fmla="*/ 0 h 658"/>
                  <a:gd name="T2" fmla="*/ 908 w 908"/>
                  <a:gd name="T3" fmla="*/ 270 h 658"/>
                  <a:gd name="T4" fmla="*/ 234 w 908"/>
                  <a:gd name="T5" fmla="*/ 658 h 658"/>
                  <a:gd name="T6" fmla="*/ 0 w 908"/>
                  <a:gd name="T7" fmla="*/ 523 h 658"/>
                  <a:gd name="T8" fmla="*/ 908 w 908"/>
                  <a:gd name="T9" fmla="*/ 0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8" h="658">
                    <a:moveTo>
                      <a:pt x="908" y="0"/>
                    </a:moveTo>
                    <a:cubicBezTo>
                      <a:pt x="908" y="270"/>
                      <a:pt x="908" y="270"/>
                      <a:pt x="908" y="270"/>
                    </a:cubicBezTo>
                    <a:cubicBezTo>
                      <a:pt x="621" y="271"/>
                      <a:pt x="370" y="426"/>
                      <a:pt x="234" y="658"/>
                    </a:cubicBezTo>
                    <a:cubicBezTo>
                      <a:pt x="0" y="523"/>
                      <a:pt x="0" y="523"/>
                      <a:pt x="0" y="523"/>
                    </a:cubicBezTo>
                    <a:cubicBezTo>
                      <a:pt x="182" y="211"/>
                      <a:pt x="521" y="1"/>
                      <a:pt x="908" y="0"/>
                    </a:cubicBezTo>
                    <a:close/>
                  </a:path>
                </a:pathLst>
              </a:custGeom>
              <a:solidFill>
                <a:srgbClr val="0F8CCB"/>
              </a:solidFill>
              <a:ln w="7938" cap="flat">
                <a:noFill/>
                <a:prstDash val="solid"/>
                <a:miter lim="800000"/>
                <a:headEnd/>
                <a:tailEnd/>
              </a:ln>
              <a:effectLst>
                <a:innerShdw blurRad="114300">
                  <a:prstClr val="black">
                    <a:alpha val="3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DE8A0C15-0895-426A-8099-A361BD876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449" y="1139372"/>
                <a:ext cx="1984648" cy="1429311"/>
              </a:xfrm>
              <a:custGeom>
                <a:avLst/>
                <a:gdLst>
                  <a:gd name="T0" fmla="*/ 911 w 911"/>
                  <a:gd name="T1" fmla="*/ 522 h 657"/>
                  <a:gd name="T2" fmla="*/ 677 w 911"/>
                  <a:gd name="T3" fmla="*/ 657 h 657"/>
                  <a:gd name="T4" fmla="*/ 2 w 911"/>
                  <a:gd name="T5" fmla="*/ 270 h 657"/>
                  <a:gd name="T6" fmla="*/ 0 w 911"/>
                  <a:gd name="T7" fmla="*/ 270 h 657"/>
                  <a:gd name="T8" fmla="*/ 0 w 911"/>
                  <a:gd name="T9" fmla="*/ 0 h 657"/>
                  <a:gd name="T10" fmla="*/ 2 w 911"/>
                  <a:gd name="T11" fmla="*/ 0 h 657"/>
                  <a:gd name="T12" fmla="*/ 911 w 911"/>
                  <a:gd name="T13" fmla="*/ 522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1" h="657">
                    <a:moveTo>
                      <a:pt x="911" y="522"/>
                    </a:moveTo>
                    <a:cubicBezTo>
                      <a:pt x="677" y="657"/>
                      <a:pt x="677" y="657"/>
                      <a:pt x="677" y="657"/>
                    </a:cubicBezTo>
                    <a:cubicBezTo>
                      <a:pt x="541" y="425"/>
                      <a:pt x="290" y="270"/>
                      <a:pt x="2" y="270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90" y="0"/>
                      <a:pt x="728" y="210"/>
                      <a:pt x="911" y="522"/>
                    </a:cubicBezTo>
                    <a:close/>
                  </a:path>
                </a:pathLst>
              </a:custGeom>
              <a:solidFill>
                <a:srgbClr val="38116E"/>
              </a:solidFill>
              <a:ln w="7938" cap="flat">
                <a:noFill/>
                <a:prstDash val="solid"/>
                <a:miter lim="800000"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F47F4898-2BBF-4AD0-8299-56EC8A68E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449" y="4272629"/>
                <a:ext cx="1992235" cy="1446001"/>
              </a:xfrm>
              <a:custGeom>
                <a:avLst/>
                <a:gdLst>
                  <a:gd name="T0" fmla="*/ 915 w 915"/>
                  <a:gd name="T1" fmla="*/ 135 h 664"/>
                  <a:gd name="T2" fmla="*/ 2 w 915"/>
                  <a:gd name="T3" fmla="*/ 664 h 664"/>
                  <a:gd name="T4" fmla="*/ 0 w 915"/>
                  <a:gd name="T5" fmla="*/ 664 h 664"/>
                  <a:gd name="T6" fmla="*/ 0 w 915"/>
                  <a:gd name="T7" fmla="*/ 394 h 664"/>
                  <a:gd name="T8" fmla="*/ 2 w 915"/>
                  <a:gd name="T9" fmla="*/ 394 h 664"/>
                  <a:gd name="T10" fmla="*/ 681 w 915"/>
                  <a:gd name="T11" fmla="*/ 0 h 664"/>
                  <a:gd name="T12" fmla="*/ 915 w 915"/>
                  <a:gd name="T13" fmla="*/ 135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5" h="664">
                    <a:moveTo>
                      <a:pt x="915" y="135"/>
                    </a:moveTo>
                    <a:cubicBezTo>
                      <a:pt x="733" y="451"/>
                      <a:pt x="393" y="664"/>
                      <a:pt x="2" y="66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0" y="394"/>
                      <a:pt x="0" y="394"/>
                      <a:pt x="0" y="394"/>
                    </a:cubicBezTo>
                    <a:cubicBezTo>
                      <a:pt x="2" y="394"/>
                      <a:pt x="2" y="394"/>
                      <a:pt x="2" y="394"/>
                    </a:cubicBezTo>
                    <a:cubicBezTo>
                      <a:pt x="293" y="394"/>
                      <a:pt x="546" y="236"/>
                      <a:pt x="681" y="0"/>
                    </a:cubicBezTo>
                    <a:lnTo>
                      <a:pt x="915" y="135"/>
                    </a:lnTo>
                    <a:close/>
                  </a:path>
                </a:pathLst>
              </a:custGeom>
              <a:solidFill>
                <a:srgbClr val="FF7437"/>
              </a:solidFill>
              <a:ln w="7938" cap="flat">
                <a:noFill/>
                <a:prstDash val="solid"/>
                <a:miter lim="800000"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65F0FBAE-15B8-4F65-8F77-14709E9E7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6279" y="2275842"/>
                <a:ext cx="820868" cy="2291146"/>
              </a:xfrm>
              <a:custGeom>
                <a:avLst/>
                <a:gdLst>
                  <a:gd name="T0" fmla="*/ 377 w 377"/>
                  <a:gd name="T1" fmla="*/ 530 h 1053"/>
                  <a:gd name="T2" fmla="*/ 238 w 377"/>
                  <a:gd name="T3" fmla="*/ 1053 h 1053"/>
                  <a:gd name="T4" fmla="*/ 4 w 377"/>
                  <a:gd name="T5" fmla="*/ 918 h 1053"/>
                  <a:gd name="T6" fmla="*/ 107 w 377"/>
                  <a:gd name="T7" fmla="*/ 530 h 1053"/>
                  <a:gd name="T8" fmla="*/ 0 w 377"/>
                  <a:gd name="T9" fmla="*/ 135 h 1053"/>
                  <a:gd name="T10" fmla="*/ 234 w 377"/>
                  <a:gd name="T11" fmla="*/ 0 h 1053"/>
                  <a:gd name="T12" fmla="*/ 377 w 377"/>
                  <a:gd name="T13" fmla="*/ 530 h 10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7" h="1053">
                    <a:moveTo>
                      <a:pt x="377" y="530"/>
                    </a:moveTo>
                    <a:cubicBezTo>
                      <a:pt x="377" y="720"/>
                      <a:pt x="326" y="899"/>
                      <a:pt x="238" y="1053"/>
                    </a:cubicBezTo>
                    <a:cubicBezTo>
                      <a:pt x="4" y="918"/>
                      <a:pt x="4" y="918"/>
                      <a:pt x="4" y="918"/>
                    </a:cubicBezTo>
                    <a:cubicBezTo>
                      <a:pt x="70" y="804"/>
                      <a:pt x="107" y="671"/>
                      <a:pt x="107" y="530"/>
                    </a:cubicBezTo>
                    <a:cubicBezTo>
                      <a:pt x="107" y="386"/>
                      <a:pt x="68" y="251"/>
                      <a:pt x="0" y="135"/>
                    </a:cubicBezTo>
                    <a:cubicBezTo>
                      <a:pt x="234" y="0"/>
                      <a:pt x="234" y="0"/>
                      <a:pt x="234" y="0"/>
                    </a:cubicBezTo>
                    <a:cubicBezTo>
                      <a:pt x="325" y="155"/>
                      <a:pt x="377" y="337"/>
                      <a:pt x="377" y="530"/>
                    </a:cubicBezTo>
                    <a:close/>
                  </a:path>
                </a:pathLst>
              </a:custGeom>
              <a:solidFill>
                <a:srgbClr val="ED1263"/>
              </a:solidFill>
              <a:ln w="7938" cap="flat">
                <a:noFill/>
                <a:prstDash val="solid"/>
                <a:miter lim="800000"/>
                <a:headEnd/>
                <a:tailEnd/>
              </a:ln>
              <a:effectLst>
                <a:innerShdw blurRad="114300">
                  <a:prstClr val="black">
                    <a:alpha val="3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11CB6823-AD40-4B11-A057-83B1ADCAEB91}"/>
                </a:ext>
              </a:extLst>
            </p:cNvPr>
            <p:cNvGrpSpPr/>
            <p:nvPr/>
          </p:nvGrpSpPr>
          <p:grpSpPr>
            <a:xfrm>
              <a:off x="3826097" y="1557639"/>
              <a:ext cx="4561049" cy="3749129"/>
              <a:chOff x="3826097" y="1557639"/>
              <a:chExt cx="4561049" cy="3749129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8BAFBC58-ED82-4A5A-BB09-676722346EC4}"/>
                  </a:ext>
                </a:extLst>
              </p:cNvPr>
              <p:cNvGrpSpPr/>
              <p:nvPr/>
            </p:nvGrpSpPr>
            <p:grpSpPr>
              <a:xfrm>
                <a:off x="4810834" y="1557639"/>
                <a:ext cx="2570332" cy="3749129"/>
                <a:chOff x="4797179" y="1557639"/>
                <a:chExt cx="2570332" cy="3749129"/>
              </a:xfrm>
            </p:grpSpPr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B3833B02-06DA-4582-982E-A83417504785}"/>
                    </a:ext>
                  </a:extLst>
                </p:cNvPr>
                <p:cNvSpPr txBox="1"/>
                <p:nvPr/>
              </p:nvSpPr>
              <p:spPr>
                <a:xfrm>
                  <a:off x="6830381" y="1557639"/>
                  <a:ext cx="53713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/>
                  <a:r>
                    <a:rPr lang="id-ID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1</a:t>
                  </a:r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5EFF0B49-9AB4-4FE9-A4DB-B84CB1E3E530}"/>
                    </a:ext>
                  </a:extLst>
                </p:cNvPr>
                <p:cNvSpPr txBox="1"/>
                <p:nvPr/>
              </p:nvSpPr>
              <p:spPr>
                <a:xfrm>
                  <a:off x="6830381" y="5029769"/>
                  <a:ext cx="53713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/>
                  <a:r>
                    <a:rPr lang="id-ID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3</a:t>
                  </a:r>
                </a:p>
              </p:txBody>
            </p:sp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1DC7465F-4B9A-4389-874E-C77FD6EC7465}"/>
                    </a:ext>
                  </a:extLst>
                </p:cNvPr>
                <p:cNvSpPr txBox="1"/>
                <p:nvPr/>
              </p:nvSpPr>
              <p:spPr>
                <a:xfrm>
                  <a:off x="4797179" y="1557639"/>
                  <a:ext cx="53713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/>
                  <a:r>
                    <a:rPr lang="id-ID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6</a:t>
                  </a: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49B6B330-6114-403F-9E00-CC125F4D66BD}"/>
                    </a:ext>
                  </a:extLst>
                </p:cNvPr>
                <p:cNvSpPr txBox="1"/>
                <p:nvPr/>
              </p:nvSpPr>
              <p:spPr>
                <a:xfrm>
                  <a:off x="4797179" y="5029769"/>
                  <a:ext cx="53713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/>
                  <a:r>
                    <a:rPr lang="id-ID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4</a:t>
                  </a:r>
                </a:p>
              </p:txBody>
            </p:sp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CD335F01-29F0-4CDB-A5D1-B283983ACB4B}"/>
                  </a:ext>
                </a:extLst>
              </p:cNvPr>
              <p:cNvGrpSpPr/>
              <p:nvPr/>
            </p:nvGrpSpPr>
            <p:grpSpPr>
              <a:xfrm>
                <a:off x="3826097" y="3290501"/>
                <a:ext cx="4561049" cy="276999"/>
                <a:chOff x="3826097" y="3290501"/>
                <a:chExt cx="4561049" cy="276999"/>
              </a:xfrm>
            </p:grpSpPr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3A8E51F2-AEFE-4CAB-B2D6-73DE710630FF}"/>
                    </a:ext>
                  </a:extLst>
                </p:cNvPr>
                <p:cNvSpPr txBox="1"/>
                <p:nvPr/>
              </p:nvSpPr>
              <p:spPr>
                <a:xfrm>
                  <a:off x="7850016" y="3290501"/>
                  <a:ext cx="53713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/>
                  <a:r>
                    <a:rPr lang="id-ID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2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348F74B6-8CF9-40F2-A71C-29B75B467648}"/>
                    </a:ext>
                  </a:extLst>
                </p:cNvPr>
                <p:cNvSpPr txBox="1"/>
                <p:nvPr/>
              </p:nvSpPr>
              <p:spPr>
                <a:xfrm>
                  <a:off x="3826097" y="3290501"/>
                  <a:ext cx="53713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/>
                  <a:r>
                    <a:rPr lang="id-ID" sz="1600" b="1" dirty="0">
                      <a:solidFill>
                        <a:schemeClr val="bg1">
                          <a:lumMod val="95000"/>
                        </a:schemeClr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5</a:t>
                  </a:r>
                </a:p>
              </p:txBody>
            </p:sp>
          </p:grp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464A24BB-7324-4ABF-AB3F-9BAE852FAF81}"/>
                </a:ext>
              </a:extLst>
            </p:cNvPr>
            <p:cNvGrpSpPr/>
            <p:nvPr/>
          </p:nvGrpSpPr>
          <p:grpSpPr>
            <a:xfrm>
              <a:off x="8727447" y="662318"/>
              <a:ext cx="1811788" cy="954107"/>
              <a:chOff x="9046712" y="3159677"/>
              <a:chExt cx="2951470" cy="954107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68FBCF26-B26C-4CFB-BA9C-C6EFD02A4A95}"/>
                  </a:ext>
                </a:extLst>
              </p:cNvPr>
              <p:cNvSpPr txBox="1"/>
              <p:nvPr/>
            </p:nvSpPr>
            <p:spPr>
              <a:xfrm>
                <a:off x="9046712" y="3159677"/>
                <a:ext cx="295146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id-ID" sz="16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Your Text Here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C41CE996-6A8F-4BF9-9C78-83C6026772F3}"/>
                  </a:ext>
                </a:extLst>
              </p:cNvPr>
              <p:cNvSpPr txBox="1"/>
              <p:nvPr/>
            </p:nvSpPr>
            <p:spPr>
              <a:xfrm>
                <a:off x="9046714" y="3559786"/>
                <a:ext cx="29514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en-US" sz="1200" dirty="0"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400" dirty="0"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08424D7-A897-4C2C-BA53-718521C52844}"/>
                </a:ext>
              </a:extLst>
            </p:cNvPr>
            <p:cNvSpPr/>
            <p:nvPr/>
          </p:nvSpPr>
          <p:spPr>
            <a:xfrm>
              <a:off x="7669667" y="734825"/>
              <a:ext cx="406429" cy="809093"/>
            </a:xfrm>
            <a:custGeom>
              <a:avLst/>
              <a:gdLst>
                <a:gd name="connsiteX0" fmla="*/ 590880 w 593629"/>
                <a:gd name="connsiteY0" fmla="*/ 0 h 1181760"/>
                <a:gd name="connsiteX1" fmla="*/ 593629 w 593629"/>
                <a:gd name="connsiteY1" fmla="*/ 277 h 1181760"/>
                <a:gd name="connsiteX2" fmla="*/ 593629 w 593629"/>
                <a:gd name="connsiteY2" fmla="*/ 1181483 h 1181760"/>
                <a:gd name="connsiteX3" fmla="*/ 590880 w 593629"/>
                <a:gd name="connsiteY3" fmla="*/ 1181760 h 1181760"/>
                <a:gd name="connsiteX4" fmla="*/ 0 w 593629"/>
                <a:gd name="connsiteY4" fmla="*/ 590880 h 1181760"/>
                <a:gd name="connsiteX5" fmla="*/ 590880 w 593629"/>
                <a:gd name="connsiteY5" fmla="*/ 0 h 118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29" h="1181760">
                  <a:moveTo>
                    <a:pt x="590880" y="0"/>
                  </a:moveTo>
                  <a:lnTo>
                    <a:pt x="593629" y="277"/>
                  </a:lnTo>
                  <a:lnTo>
                    <a:pt x="593629" y="1181483"/>
                  </a:lnTo>
                  <a:lnTo>
                    <a:pt x="590880" y="1181760"/>
                  </a:lnTo>
                  <a:cubicBezTo>
                    <a:pt x="264546" y="1181760"/>
                    <a:pt x="0" y="917214"/>
                    <a:pt x="0" y="590880"/>
                  </a:cubicBezTo>
                  <a:cubicBezTo>
                    <a:pt x="0" y="264546"/>
                    <a:pt x="264546" y="0"/>
                    <a:pt x="590880" y="0"/>
                  </a:cubicBezTo>
                  <a:close/>
                </a:path>
              </a:pathLst>
            </a:custGeom>
            <a:solidFill>
              <a:srgbClr val="38116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BD0EE344-4303-4146-8522-45B90B0F2B8B}"/>
                </a:ext>
              </a:extLst>
            </p:cNvPr>
            <p:cNvGrpSpPr/>
            <p:nvPr/>
          </p:nvGrpSpPr>
          <p:grpSpPr>
            <a:xfrm>
              <a:off x="10015648" y="2951947"/>
              <a:ext cx="1811788" cy="954107"/>
              <a:chOff x="9046712" y="3159677"/>
              <a:chExt cx="2951470" cy="954107"/>
            </a:xfrm>
          </p:grpSpPr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25C31068-2348-4B1D-AC2C-299D2B5B344B}"/>
                  </a:ext>
                </a:extLst>
              </p:cNvPr>
              <p:cNvSpPr txBox="1"/>
              <p:nvPr/>
            </p:nvSpPr>
            <p:spPr>
              <a:xfrm>
                <a:off x="9046712" y="3159677"/>
                <a:ext cx="295146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id-ID" sz="16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Your Text Here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DFF57239-47A3-4671-B9A6-A0789611B7D9}"/>
                  </a:ext>
                </a:extLst>
              </p:cNvPr>
              <p:cNvSpPr txBox="1"/>
              <p:nvPr/>
            </p:nvSpPr>
            <p:spPr>
              <a:xfrm>
                <a:off x="9046714" y="3559786"/>
                <a:ext cx="29514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en-US" sz="1200" dirty="0"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400" dirty="0"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44D7810-FDF1-47CF-B877-715A703E6D23}"/>
                </a:ext>
              </a:extLst>
            </p:cNvPr>
            <p:cNvSpPr/>
            <p:nvPr/>
          </p:nvSpPr>
          <p:spPr>
            <a:xfrm>
              <a:off x="8957868" y="3024454"/>
              <a:ext cx="406429" cy="809093"/>
            </a:xfrm>
            <a:custGeom>
              <a:avLst/>
              <a:gdLst>
                <a:gd name="connsiteX0" fmla="*/ 590880 w 593629"/>
                <a:gd name="connsiteY0" fmla="*/ 0 h 1181760"/>
                <a:gd name="connsiteX1" fmla="*/ 593629 w 593629"/>
                <a:gd name="connsiteY1" fmla="*/ 277 h 1181760"/>
                <a:gd name="connsiteX2" fmla="*/ 593629 w 593629"/>
                <a:gd name="connsiteY2" fmla="*/ 1181483 h 1181760"/>
                <a:gd name="connsiteX3" fmla="*/ 590880 w 593629"/>
                <a:gd name="connsiteY3" fmla="*/ 1181760 h 1181760"/>
                <a:gd name="connsiteX4" fmla="*/ 0 w 593629"/>
                <a:gd name="connsiteY4" fmla="*/ 590880 h 1181760"/>
                <a:gd name="connsiteX5" fmla="*/ 590880 w 593629"/>
                <a:gd name="connsiteY5" fmla="*/ 0 h 118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29" h="1181760">
                  <a:moveTo>
                    <a:pt x="590880" y="0"/>
                  </a:moveTo>
                  <a:lnTo>
                    <a:pt x="593629" y="277"/>
                  </a:lnTo>
                  <a:lnTo>
                    <a:pt x="593629" y="1181483"/>
                  </a:lnTo>
                  <a:lnTo>
                    <a:pt x="590880" y="1181760"/>
                  </a:lnTo>
                  <a:cubicBezTo>
                    <a:pt x="264546" y="1181760"/>
                    <a:pt x="0" y="917214"/>
                    <a:pt x="0" y="590880"/>
                  </a:cubicBezTo>
                  <a:cubicBezTo>
                    <a:pt x="0" y="264546"/>
                    <a:pt x="264546" y="0"/>
                    <a:pt x="590880" y="0"/>
                  </a:cubicBezTo>
                  <a:close/>
                </a:path>
              </a:pathLst>
            </a:custGeom>
            <a:solidFill>
              <a:srgbClr val="ED12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B948803-2894-442A-84D8-89EDF2FB9ED5}"/>
                </a:ext>
              </a:extLst>
            </p:cNvPr>
            <p:cNvGrpSpPr/>
            <p:nvPr/>
          </p:nvGrpSpPr>
          <p:grpSpPr>
            <a:xfrm>
              <a:off x="8727447" y="5314081"/>
              <a:ext cx="1811788" cy="954107"/>
              <a:chOff x="9046712" y="3159677"/>
              <a:chExt cx="2951470" cy="954107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98E9F852-2787-49D9-A084-B7921E5B92BF}"/>
                  </a:ext>
                </a:extLst>
              </p:cNvPr>
              <p:cNvSpPr txBox="1"/>
              <p:nvPr/>
            </p:nvSpPr>
            <p:spPr>
              <a:xfrm>
                <a:off x="9046712" y="3159677"/>
                <a:ext cx="295146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id-ID" sz="16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Your Text Here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9C82E61C-D6AC-406C-86A1-3A188E26B65E}"/>
                  </a:ext>
                </a:extLst>
              </p:cNvPr>
              <p:cNvSpPr txBox="1"/>
              <p:nvPr/>
            </p:nvSpPr>
            <p:spPr>
              <a:xfrm>
                <a:off x="9046714" y="3559786"/>
                <a:ext cx="29514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en-US" sz="1200" dirty="0"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400" dirty="0"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F2DE404D-DEE2-4A14-AD08-B31DDAB58B07}"/>
                </a:ext>
              </a:extLst>
            </p:cNvPr>
            <p:cNvSpPr/>
            <p:nvPr/>
          </p:nvSpPr>
          <p:spPr>
            <a:xfrm>
              <a:off x="7669667" y="5386588"/>
              <a:ext cx="406429" cy="809093"/>
            </a:xfrm>
            <a:custGeom>
              <a:avLst/>
              <a:gdLst>
                <a:gd name="connsiteX0" fmla="*/ 590880 w 593629"/>
                <a:gd name="connsiteY0" fmla="*/ 0 h 1181760"/>
                <a:gd name="connsiteX1" fmla="*/ 593629 w 593629"/>
                <a:gd name="connsiteY1" fmla="*/ 277 h 1181760"/>
                <a:gd name="connsiteX2" fmla="*/ 593629 w 593629"/>
                <a:gd name="connsiteY2" fmla="*/ 1181483 h 1181760"/>
                <a:gd name="connsiteX3" fmla="*/ 590880 w 593629"/>
                <a:gd name="connsiteY3" fmla="*/ 1181760 h 1181760"/>
                <a:gd name="connsiteX4" fmla="*/ 0 w 593629"/>
                <a:gd name="connsiteY4" fmla="*/ 590880 h 1181760"/>
                <a:gd name="connsiteX5" fmla="*/ 590880 w 593629"/>
                <a:gd name="connsiteY5" fmla="*/ 0 h 118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29" h="1181760">
                  <a:moveTo>
                    <a:pt x="590880" y="0"/>
                  </a:moveTo>
                  <a:lnTo>
                    <a:pt x="593629" y="277"/>
                  </a:lnTo>
                  <a:lnTo>
                    <a:pt x="593629" y="1181483"/>
                  </a:lnTo>
                  <a:lnTo>
                    <a:pt x="590880" y="1181760"/>
                  </a:lnTo>
                  <a:cubicBezTo>
                    <a:pt x="264546" y="1181760"/>
                    <a:pt x="0" y="917214"/>
                    <a:pt x="0" y="590880"/>
                  </a:cubicBezTo>
                  <a:cubicBezTo>
                    <a:pt x="0" y="264546"/>
                    <a:pt x="264546" y="0"/>
                    <a:pt x="590880" y="0"/>
                  </a:cubicBezTo>
                  <a:close/>
                </a:path>
              </a:pathLst>
            </a:custGeom>
            <a:solidFill>
              <a:srgbClr val="FF74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162D7E51-7D1E-43EF-8E19-5304165C9A81}"/>
                </a:ext>
              </a:extLst>
            </p:cNvPr>
            <p:cNvGrpSpPr/>
            <p:nvPr/>
          </p:nvGrpSpPr>
          <p:grpSpPr>
            <a:xfrm flipH="1">
              <a:off x="1644741" y="662318"/>
              <a:ext cx="1811788" cy="954107"/>
              <a:chOff x="9046712" y="3159677"/>
              <a:chExt cx="2951470" cy="954107"/>
            </a:xfrm>
          </p:grpSpPr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5A072A74-C40E-49B8-B1BD-A6166A0265F6}"/>
                  </a:ext>
                </a:extLst>
              </p:cNvPr>
              <p:cNvSpPr txBox="1"/>
              <p:nvPr/>
            </p:nvSpPr>
            <p:spPr>
              <a:xfrm>
                <a:off x="9046712" y="3159677"/>
                <a:ext cx="295146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r"/>
                <a:r>
                  <a:rPr lang="id-ID" sz="16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Your Text Here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969FB57D-B155-4F66-B272-CCCCFFC51965}"/>
                  </a:ext>
                </a:extLst>
              </p:cNvPr>
              <p:cNvSpPr txBox="1"/>
              <p:nvPr/>
            </p:nvSpPr>
            <p:spPr>
              <a:xfrm>
                <a:off x="9046714" y="3559786"/>
                <a:ext cx="29514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/>
                <a:r>
                  <a:rPr lang="en-US" sz="1200" dirty="0"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400" dirty="0"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BEC2964-36FF-4A29-9A3D-7D0920D84E5F}"/>
                </a:ext>
              </a:extLst>
            </p:cNvPr>
            <p:cNvSpPr/>
            <p:nvPr/>
          </p:nvSpPr>
          <p:spPr>
            <a:xfrm flipH="1">
              <a:off x="4107880" y="734825"/>
              <a:ext cx="406429" cy="809093"/>
            </a:xfrm>
            <a:custGeom>
              <a:avLst/>
              <a:gdLst>
                <a:gd name="connsiteX0" fmla="*/ 590880 w 593629"/>
                <a:gd name="connsiteY0" fmla="*/ 0 h 1181760"/>
                <a:gd name="connsiteX1" fmla="*/ 593629 w 593629"/>
                <a:gd name="connsiteY1" fmla="*/ 277 h 1181760"/>
                <a:gd name="connsiteX2" fmla="*/ 593629 w 593629"/>
                <a:gd name="connsiteY2" fmla="*/ 1181483 h 1181760"/>
                <a:gd name="connsiteX3" fmla="*/ 590880 w 593629"/>
                <a:gd name="connsiteY3" fmla="*/ 1181760 h 1181760"/>
                <a:gd name="connsiteX4" fmla="*/ 0 w 593629"/>
                <a:gd name="connsiteY4" fmla="*/ 590880 h 1181760"/>
                <a:gd name="connsiteX5" fmla="*/ 590880 w 593629"/>
                <a:gd name="connsiteY5" fmla="*/ 0 h 118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29" h="1181760">
                  <a:moveTo>
                    <a:pt x="590880" y="0"/>
                  </a:moveTo>
                  <a:lnTo>
                    <a:pt x="593629" y="277"/>
                  </a:lnTo>
                  <a:lnTo>
                    <a:pt x="593629" y="1181483"/>
                  </a:lnTo>
                  <a:lnTo>
                    <a:pt x="590880" y="1181760"/>
                  </a:lnTo>
                  <a:cubicBezTo>
                    <a:pt x="264546" y="1181760"/>
                    <a:pt x="0" y="917214"/>
                    <a:pt x="0" y="590880"/>
                  </a:cubicBezTo>
                  <a:cubicBezTo>
                    <a:pt x="0" y="264546"/>
                    <a:pt x="264546" y="0"/>
                    <a:pt x="590880" y="0"/>
                  </a:cubicBezTo>
                  <a:close/>
                </a:path>
              </a:pathLst>
            </a:custGeom>
            <a:solidFill>
              <a:srgbClr val="0F8C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89C148DD-347F-4BEC-866A-BC8BA94E8BFB}"/>
                </a:ext>
              </a:extLst>
            </p:cNvPr>
            <p:cNvGrpSpPr/>
            <p:nvPr/>
          </p:nvGrpSpPr>
          <p:grpSpPr>
            <a:xfrm flipH="1">
              <a:off x="356540" y="2951947"/>
              <a:ext cx="1811788" cy="954107"/>
              <a:chOff x="9046712" y="3159677"/>
              <a:chExt cx="2951470" cy="954107"/>
            </a:xfrm>
          </p:grpSpPr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F035F568-4E01-4875-A690-21159F2A3F1E}"/>
                  </a:ext>
                </a:extLst>
              </p:cNvPr>
              <p:cNvSpPr txBox="1"/>
              <p:nvPr/>
            </p:nvSpPr>
            <p:spPr>
              <a:xfrm>
                <a:off x="9046712" y="3159677"/>
                <a:ext cx="295146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r"/>
                <a:r>
                  <a:rPr lang="id-ID" sz="16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Your Text Here</a:t>
                </a: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69031E5B-4D2F-4FC1-93CD-2CF96DCCC537}"/>
                  </a:ext>
                </a:extLst>
              </p:cNvPr>
              <p:cNvSpPr txBox="1"/>
              <p:nvPr/>
            </p:nvSpPr>
            <p:spPr>
              <a:xfrm>
                <a:off x="9046714" y="3559786"/>
                <a:ext cx="29514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/>
                <a:r>
                  <a:rPr lang="en-US" sz="1200" dirty="0"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400" dirty="0"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E3AB8C90-2C61-4FD3-8B28-85C8C88086ED}"/>
                </a:ext>
              </a:extLst>
            </p:cNvPr>
            <p:cNvSpPr/>
            <p:nvPr/>
          </p:nvSpPr>
          <p:spPr>
            <a:xfrm flipH="1">
              <a:off x="2819679" y="3024454"/>
              <a:ext cx="406429" cy="809093"/>
            </a:xfrm>
            <a:custGeom>
              <a:avLst/>
              <a:gdLst>
                <a:gd name="connsiteX0" fmla="*/ 590880 w 593629"/>
                <a:gd name="connsiteY0" fmla="*/ 0 h 1181760"/>
                <a:gd name="connsiteX1" fmla="*/ 593629 w 593629"/>
                <a:gd name="connsiteY1" fmla="*/ 277 h 1181760"/>
                <a:gd name="connsiteX2" fmla="*/ 593629 w 593629"/>
                <a:gd name="connsiteY2" fmla="*/ 1181483 h 1181760"/>
                <a:gd name="connsiteX3" fmla="*/ 590880 w 593629"/>
                <a:gd name="connsiteY3" fmla="*/ 1181760 h 1181760"/>
                <a:gd name="connsiteX4" fmla="*/ 0 w 593629"/>
                <a:gd name="connsiteY4" fmla="*/ 590880 h 1181760"/>
                <a:gd name="connsiteX5" fmla="*/ 590880 w 593629"/>
                <a:gd name="connsiteY5" fmla="*/ 0 h 118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29" h="1181760">
                  <a:moveTo>
                    <a:pt x="590880" y="0"/>
                  </a:moveTo>
                  <a:lnTo>
                    <a:pt x="593629" y="277"/>
                  </a:lnTo>
                  <a:lnTo>
                    <a:pt x="593629" y="1181483"/>
                  </a:lnTo>
                  <a:lnTo>
                    <a:pt x="590880" y="1181760"/>
                  </a:lnTo>
                  <a:cubicBezTo>
                    <a:pt x="264546" y="1181760"/>
                    <a:pt x="0" y="917214"/>
                    <a:pt x="0" y="590880"/>
                  </a:cubicBezTo>
                  <a:cubicBezTo>
                    <a:pt x="0" y="264546"/>
                    <a:pt x="264546" y="0"/>
                    <a:pt x="590880" y="0"/>
                  </a:cubicBezTo>
                  <a:close/>
                </a:path>
              </a:pathLst>
            </a:custGeom>
            <a:solidFill>
              <a:srgbClr val="3DD7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4C60E636-E592-47CC-9C63-5BF4F1DC0D71}"/>
                </a:ext>
              </a:extLst>
            </p:cNvPr>
            <p:cNvGrpSpPr/>
            <p:nvPr/>
          </p:nvGrpSpPr>
          <p:grpSpPr>
            <a:xfrm flipH="1">
              <a:off x="1644741" y="5314081"/>
              <a:ext cx="1811788" cy="954107"/>
              <a:chOff x="9046712" y="3159677"/>
              <a:chExt cx="2951470" cy="954107"/>
            </a:xfrm>
          </p:grpSpPr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46DC5CE8-66BB-40D5-A6AA-56EB75D8B4C0}"/>
                  </a:ext>
                </a:extLst>
              </p:cNvPr>
              <p:cNvSpPr txBox="1"/>
              <p:nvPr/>
            </p:nvSpPr>
            <p:spPr>
              <a:xfrm>
                <a:off x="9046712" y="3159677"/>
                <a:ext cx="295146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r"/>
                <a:r>
                  <a:rPr lang="id-ID" sz="16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Your Text Here</a:t>
                </a: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05B60839-0159-4BF7-9051-FD1857580BBC}"/>
                  </a:ext>
                </a:extLst>
              </p:cNvPr>
              <p:cNvSpPr txBox="1"/>
              <p:nvPr/>
            </p:nvSpPr>
            <p:spPr>
              <a:xfrm>
                <a:off x="9046714" y="3559786"/>
                <a:ext cx="295146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/>
                <a:r>
                  <a:rPr lang="en-US" sz="1200" dirty="0"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400" dirty="0"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C637613C-E76B-4840-BF86-995174F7BDC1}"/>
                </a:ext>
              </a:extLst>
            </p:cNvPr>
            <p:cNvSpPr/>
            <p:nvPr/>
          </p:nvSpPr>
          <p:spPr>
            <a:xfrm flipH="1">
              <a:off x="4107880" y="5386588"/>
              <a:ext cx="406429" cy="809093"/>
            </a:xfrm>
            <a:custGeom>
              <a:avLst/>
              <a:gdLst>
                <a:gd name="connsiteX0" fmla="*/ 590880 w 593629"/>
                <a:gd name="connsiteY0" fmla="*/ 0 h 1181760"/>
                <a:gd name="connsiteX1" fmla="*/ 593629 w 593629"/>
                <a:gd name="connsiteY1" fmla="*/ 277 h 1181760"/>
                <a:gd name="connsiteX2" fmla="*/ 593629 w 593629"/>
                <a:gd name="connsiteY2" fmla="*/ 1181483 h 1181760"/>
                <a:gd name="connsiteX3" fmla="*/ 590880 w 593629"/>
                <a:gd name="connsiteY3" fmla="*/ 1181760 h 1181760"/>
                <a:gd name="connsiteX4" fmla="*/ 0 w 593629"/>
                <a:gd name="connsiteY4" fmla="*/ 590880 h 1181760"/>
                <a:gd name="connsiteX5" fmla="*/ 590880 w 593629"/>
                <a:gd name="connsiteY5" fmla="*/ 0 h 118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29" h="1181760">
                  <a:moveTo>
                    <a:pt x="590880" y="0"/>
                  </a:moveTo>
                  <a:lnTo>
                    <a:pt x="593629" y="277"/>
                  </a:lnTo>
                  <a:lnTo>
                    <a:pt x="593629" y="1181483"/>
                  </a:lnTo>
                  <a:lnTo>
                    <a:pt x="590880" y="1181760"/>
                  </a:lnTo>
                  <a:cubicBezTo>
                    <a:pt x="264546" y="1181760"/>
                    <a:pt x="0" y="917214"/>
                    <a:pt x="0" y="590880"/>
                  </a:cubicBezTo>
                  <a:cubicBezTo>
                    <a:pt x="0" y="264546"/>
                    <a:pt x="264546" y="0"/>
                    <a:pt x="590880" y="0"/>
                  </a:cubicBezTo>
                  <a:close/>
                </a:path>
              </a:pathLst>
            </a:custGeom>
            <a:solidFill>
              <a:srgbClr val="2BB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DE06A546-5BDD-4166-B280-6C01677CBDD0}"/>
                </a:ext>
              </a:extLst>
            </p:cNvPr>
            <p:cNvGrpSpPr/>
            <p:nvPr/>
          </p:nvGrpSpPr>
          <p:grpSpPr>
            <a:xfrm>
              <a:off x="8259690" y="5645084"/>
              <a:ext cx="284163" cy="292100"/>
              <a:chOff x="2016125" y="-1685925"/>
              <a:chExt cx="284163" cy="292100"/>
            </a:xfrm>
            <a:solidFill>
              <a:srgbClr val="FF7437"/>
            </a:solidFill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0FB370AE-C129-44E5-909B-C30835DD82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27250" y="-1685925"/>
                <a:ext cx="173038" cy="171450"/>
              </a:xfrm>
              <a:custGeom>
                <a:avLst/>
                <a:gdLst>
                  <a:gd name="T0" fmla="*/ 55 w 58"/>
                  <a:gd name="T1" fmla="*/ 2 h 57"/>
                  <a:gd name="T2" fmla="*/ 46 w 58"/>
                  <a:gd name="T3" fmla="*/ 3 h 57"/>
                  <a:gd name="T4" fmla="*/ 41 w 58"/>
                  <a:gd name="T5" fmla="*/ 10 h 57"/>
                  <a:gd name="T6" fmla="*/ 26 w 58"/>
                  <a:gd name="T7" fmla="*/ 5 h 57"/>
                  <a:gd name="T8" fmla="*/ 7 w 58"/>
                  <a:gd name="T9" fmla="*/ 14 h 57"/>
                  <a:gd name="T10" fmla="*/ 7 w 58"/>
                  <a:gd name="T11" fmla="*/ 17 h 57"/>
                  <a:gd name="T12" fmla="*/ 0 w 58"/>
                  <a:gd name="T13" fmla="*/ 32 h 57"/>
                  <a:gd name="T14" fmla="*/ 0 w 58"/>
                  <a:gd name="T15" fmla="*/ 33 h 57"/>
                  <a:gd name="T16" fmla="*/ 9 w 58"/>
                  <a:gd name="T17" fmla="*/ 33 h 57"/>
                  <a:gd name="T18" fmla="*/ 15 w 58"/>
                  <a:gd name="T19" fmla="*/ 39 h 57"/>
                  <a:gd name="T20" fmla="*/ 13 w 58"/>
                  <a:gd name="T21" fmla="*/ 53 h 57"/>
                  <a:gd name="T22" fmla="*/ 26 w 58"/>
                  <a:gd name="T23" fmla="*/ 57 h 57"/>
                  <a:gd name="T24" fmla="*/ 52 w 58"/>
                  <a:gd name="T25" fmla="*/ 31 h 57"/>
                  <a:gd name="T26" fmla="*/ 49 w 58"/>
                  <a:gd name="T27" fmla="*/ 19 h 57"/>
                  <a:gd name="T28" fmla="*/ 56 w 58"/>
                  <a:gd name="T29" fmla="*/ 11 h 57"/>
                  <a:gd name="T30" fmla="*/ 55 w 58"/>
                  <a:gd name="T31" fmla="*/ 2 h 57"/>
                  <a:gd name="T32" fmla="*/ 53 w 58"/>
                  <a:gd name="T33" fmla="*/ 8 h 57"/>
                  <a:gd name="T34" fmla="*/ 28 w 58"/>
                  <a:gd name="T35" fmla="*/ 41 h 57"/>
                  <a:gd name="T36" fmla="*/ 27 w 58"/>
                  <a:gd name="T37" fmla="*/ 42 h 57"/>
                  <a:gd name="T38" fmla="*/ 26 w 58"/>
                  <a:gd name="T39" fmla="*/ 42 h 57"/>
                  <a:gd name="T40" fmla="*/ 25 w 58"/>
                  <a:gd name="T41" fmla="*/ 41 h 57"/>
                  <a:gd name="T42" fmla="*/ 14 w 58"/>
                  <a:gd name="T43" fmla="*/ 30 h 57"/>
                  <a:gd name="T44" fmla="*/ 14 w 58"/>
                  <a:gd name="T45" fmla="*/ 28 h 57"/>
                  <a:gd name="T46" fmla="*/ 17 w 58"/>
                  <a:gd name="T47" fmla="*/ 28 h 57"/>
                  <a:gd name="T48" fmla="*/ 26 w 58"/>
                  <a:gd name="T49" fmla="*/ 37 h 57"/>
                  <a:gd name="T50" fmla="*/ 49 w 58"/>
                  <a:gd name="T51" fmla="*/ 6 h 57"/>
                  <a:gd name="T52" fmla="*/ 52 w 58"/>
                  <a:gd name="T53" fmla="*/ 5 h 57"/>
                  <a:gd name="T54" fmla="*/ 53 w 58"/>
                  <a:gd name="T55" fmla="*/ 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8" h="57">
                    <a:moveTo>
                      <a:pt x="55" y="2"/>
                    </a:moveTo>
                    <a:cubicBezTo>
                      <a:pt x="52" y="0"/>
                      <a:pt x="48" y="1"/>
                      <a:pt x="46" y="3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37" y="7"/>
                      <a:pt x="32" y="5"/>
                      <a:pt x="26" y="5"/>
                    </a:cubicBezTo>
                    <a:cubicBezTo>
                      <a:pt x="18" y="5"/>
                      <a:pt x="11" y="8"/>
                      <a:pt x="7" y="14"/>
                    </a:cubicBezTo>
                    <a:cubicBezTo>
                      <a:pt x="7" y="15"/>
                      <a:pt x="7" y="16"/>
                      <a:pt x="7" y="17"/>
                    </a:cubicBezTo>
                    <a:cubicBezTo>
                      <a:pt x="7" y="23"/>
                      <a:pt x="4" y="28"/>
                      <a:pt x="0" y="32"/>
                    </a:cubicBezTo>
                    <a:cubicBezTo>
                      <a:pt x="0" y="32"/>
                      <a:pt x="0" y="33"/>
                      <a:pt x="0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12" y="33"/>
                      <a:pt x="15" y="36"/>
                      <a:pt x="15" y="39"/>
                    </a:cubicBezTo>
                    <a:cubicBezTo>
                      <a:pt x="15" y="44"/>
                      <a:pt x="14" y="49"/>
                      <a:pt x="13" y="53"/>
                    </a:cubicBezTo>
                    <a:cubicBezTo>
                      <a:pt x="17" y="56"/>
                      <a:pt x="21" y="57"/>
                      <a:pt x="26" y="57"/>
                    </a:cubicBezTo>
                    <a:cubicBezTo>
                      <a:pt x="40" y="57"/>
                      <a:pt x="52" y="45"/>
                      <a:pt x="52" y="31"/>
                    </a:cubicBezTo>
                    <a:cubicBezTo>
                      <a:pt x="52" y="27"/>
                      <a:pt x="51" y="23"/>
                      <a:pt x="49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8" y="8"/>
                      <a:pt x="57" y="4"/>
                      <a:pt x="55" y="2"/>
                    </a:cubicBezTo>
                    <a:close/>
                    <a:moveTo>
                      <a:pt x="53" y="8"/>
                    </a:moveTo>
                    <a:cubicBezTo>
                      <a:pt x="28" y="41"/>
                      <a:pt x="28" y="41"/>
                      <a:pt x="28" y="41"/>
                    </a:cubicBezTo>
                    <a:cubicBezTo>
                      <a:pt x="28" y="41"/>
                      <a:pt x="27" y="42"/>
                      <a:pt x="27" y="42"/>
                    </a:cubicBezTo>
                    <a:cubicBezTo>
                      <a:pt x="27" y="42"/>
                      <a:pt x="26" y="42"/>
                      <a:pt x="26" y="42"/>
                    </a:cubicBezTo>
                    <a:cubicBezTo>
                      <a:pt x="26" y="42"/>
                      <a:pt x="25" y="41"/>
                      <a:pt x="25" y="4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4" y="30"/>
                      <a:pt x="14" y="28"/>
                      <a:pt x="14" y="28"/>
                    </a:cubicBezTo>
                    <a:cubicBezTo>
                      <a:pt x="15" y="27"/>
                      <a:pt x="16" y="27"/>
                      <a:pt x="17" y="28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50" y="5"/>
                      <a:pt x="51" y="5"/>
                      <a:pt x="52" y="5"/>
                    </a:cubicBezTo>
                    <a:cubicBezTo>
                      <a:pt x="53" y="6"/>
                      <a:pt x="53" y="7"/>
                      <a:pt x="5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Oval 6">
                <a:extLst>
                  <a:ext uri="{FF2B5EF4-FFF2-40B4-BE49-F238E27FC236}">
                    <a16:creationId xmlns:a16="http://schemas.microsoft.com/office/drawing/2014/main" id="{7D15456D-BA40-446D-9EEF-93ACA72239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39938" y="-1682750"/>
                <a:ext cx="95250" cy="9683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DEC21CB-DA59-4EEA-99EE-B5814B57C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6125" y="-1574800"/>
                <a:ext cx="142875" cy="180975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3FC33CBB-EFA4-40AC-8D0F-AC9BD47490F9}"/>
                </a:ext>
              </a:extLst>
            </p:cNvPr>
            <p:cNvGrpSpPr/>
            <p:nvPr/>
          </p:nvGrpSpPr>
          <p:grpSpPr>
            <a:xfrm>
              <a:off x="3641710" y="1012594"/>
              <a:ext cx="280988" cy="288925"/>
              <a:chOff x="292100" y="-1104900"/>
              <a:chExt cx="280988" cy="288925"/>
            </a:xfrm>
            <a:solidFill>
              <a:srgbClr val="0F8CCB"/>
            </a:solidFill>
          </p:grpSpPr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B0A34B54-E18C-4D73-B311-F8C578305A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725" y="-1081088"/>
                <a:ext cx="82550" cy="107950"/>
              </a:xfrm>
              <a:custGeom>
                <a:avLst/>
                <a:gdLst>
                  <a:gd name="T0" fmla="*/ 28 w 28"/>
                  <a:gd name="T1" fmla="*/ 14 h 36"/>
                  <a:gd name="T2" fmla="*/ 14 w 28"/>
                  <a:gd name="T3" fmla="*/ 0 h 36"/>
                  <a:gd name="T4" fmla="*/ 0 w 28"/>
                  <a:gd name="T5" fmla="*/ 14 h 36"/>
                  <a:gd name="T6" fmla="*/ 8 w 28"/>
                  <a:gd name="T7" fmla="*/ 27 h 36"/>
                  <a:gd name="T8" fmla="*/ 8 w 28"/>
                  <a:gd name="T9" fmla="*/ 34 h 36"/>
                  <a:gd name="T10" fmla="*/ 10 w 28"/>
                  <a:gd name="T11" fmla="*/ 36 h 36"/>
                  <a:gd name="T12" fmla="*/ 18 w 28"/>
                  <a:gd name="T13" fmla="*/ 36 h 36"/>
                  <a:gd name="T14" fmla="*/ 20 w 28"/>
                  <a:gd name="T15" fmla="*/ 34 h 36"/>
                  <a:gd name="T16" fmla="*/ 20 w 28"/>
                  <a:gd name="T17" fmla="*/ 27 h 36"/>
                  <a:gd name="T18" fmla="*/ 28 w 28"/>
                  <a:gd name="T19" fmla="*/ 14 h 36"/>
                  <a:gd name="T20" fmla="*/ 14 w 28"/>
                  <a:gd name="T21" fmla="*/ 24 h 36"/>
                  <a:gd name="T22" fmla="*/ 4 w 28"/>
                  <a:gd name="T23" fmla="*/ 14 h 36"/>
                  <a:gd name="T24" fmla="*/ 14 w 28"/>
                  <a:gd name="T25" fmla="*/ 4 h 36"/>
                  <a:gd name="T26" fmla="*/ 24 w 28"/>
                  <a:gd name="T27" fmla="*/ 14 h 36"/>
                  <a:gd name="T28" fmla="*/ 14 w 28"/>
                  <a:gd name="T29" fmla="*/ 2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36">
                    <a:moveTo>
                      <a:pt x="28" y="14"/>
                    </a:moveTo>
                    <a:cubicBezTo>
                      <a:pt x="28" y="6"/>
                      <a:pt x="22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0"/>
                      <a:pt x="3" y="24"/>
                      <a:pt x="8" y="27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35"/>
                      <a:pt x="9" y="36"/>
                      <a:pt x="10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9" y="36"/>
                      <a:pt x="20" y="35"/>
                      <a:pt x="20" y="34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25" y="24"/>
                      <a:pt x="28" y="20"/>
                      <a:pt x="28" y="14"/>
                    </a:cubicBezTo>
                    <a:close/>
                    <a:moveTo>
                      <a:pt x="14" y="24"/>
                    </a:moveTo>
                    <a:cubicBezTo>
                      <a:pt x="9" y="24"/>
                      <a:pt x="4" y="20"/>
                      <a:pt x="4" y="14"/>
                    </a:cubicBezTo>
                    <a:cubicBezTo>
                      <a:pt x="4" y="8"/>
                      <a:pt x="9" y="4"/>
                      <a:pt x="14" y="4"/>
                    </a:cubicBezTo>
                    <a:cubicBezTo>
                      <a:pt x="20" y="4"/>
                      <a:pt x="24" y="8"/>
                      <a:pt x="24" y="14"/>
                    </a:cubicBezTo>
                    <a:cubicBezTo>
                      <a:pt x="24" y="20"/>
                      <a:pt x="20" y="24"/>
                      <a:pt x="1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9">
                <a:extLst>
                  <a:ext uri="{FF2B5EF4-FFF2-40B4-BE49-F238E27FC236}">
                    <a16:creationId xmlns:a16="http://schemas.microsoft.com/office/drawing/2014/main" id="{ED69FF32-7094-4C8E-A9D5-7B135066AE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50" y="-1104900"/>
                <a:ext cx="12700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CB084147-C1D8-4D57-ABB4-D02B0A7A9B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38" y="-1089025"/>
                <a:ext cx="17463" cy="17463"/>
              </a:xfrm>
              <a:custGeom>
                <a:avLst/>
                <a:gdLst>
                  <a:gd name="T0" fmla="*/ 5 w 11"/>
                  <a:gd name="T1" fmla="*/ 11 h 11"/>
                  <a:gd name="T2" fmla="*/ 0 w 11"/>
                  <a:gd name="T3" fmla="*/ 5 h 11"/>
                  <a:gd name="T4" fmla="*/ 5 w 11"/>
                  <a:gd name="T5" fmla="*/ 0 h 11"/>
                  <a:gd name="T6" fmla="*/ 11 w 11"/>
                  <a:gd name="T7" fmla="*/ 5 h 11"/>
                  <a:gd name="T8" fmla="*/ 5 w 11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5" y="11"/>
                    </a:moveTo>
                    <a:lnTo>
                      <a:pt x="0" y="5"/>
                    </a:lnTo>
                    <a:lnTo>
                      <a:pt x="5" y="0"/>
                    </a:lnTo>
                    <a:lnTo>
                      <a:pt x="11" y="5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11">
                <a:extLst>
                  <a:ext uri="{FF2B5EF4-FFF2-40B4-BE49-F238E27FC236}">
                    <a16:creationId xmlns:a16="http://schemas.microsoft.com/office/drawing/2014/main" id="{71D90E31-A736-491A-B5A9-D4DFADAB3C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975" y="-1044575"/>
                <a:ext cx="11113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3705BDA-7CDA-485C-A71E-C9B2EF715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38" y="-1004888"/>
                <a:ext cx="17463" cy="17463"/>
              </a:xfrm>
              <a:custGeom>
                <a:avLst/>
                <a:gdLst>
                  <a:gd name="T0" fmla="*/ 5 w 11"/>
                  <a:gd name="T1" fmla="*/ 11 h 11"/>
                  <a:gd name="T2" fmla="*/ 0 w 11"/>
                  <a:gd name="T3" fmla="*/ 5 h 11"/>
                  <a:gd name="T4" fmla="*/ 5 w 11"/>
                  <a:gd name="T5" fmla="*/ 0 h 11"/>
                  <a:gd name="T6" fmla="*/ 11 w 11"/>
                  <a:gd name="T7" fmla="*/ 5 h 11"/>
                  <a:gd name="T8" fmla="*/ 5 w 11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5" y="11"/>
                    </a:moveTo>
                    <a:lnTo>
                      <a:pt x="0" y="5"/>
                    </a:lnTo>
                    <a:lnTo>
                      <a:pt x="5" y="0"/>
                    </a:lnTo>
                    <a:lnTo>
                      <a:pt x="11" y="5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887B1BB-0DE3-4003-A6A9-9013A1390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200" y="-1004888"/>
                <a:ext cx="17463" cy="17463"/>
              </a:xfrm>
              <a:custGeom>
                <a:avLst/>
                <a:gdLst>
                  <a:gd name="T0" fmla="*/ 6 w 11"/>
                  <a:gd name="T1" fmla="*/ 11 h 11"/>
                  <a:gd name="T2" fmla="*/ 0 w 11"/>
                  <a:gd name="T3" fmla="*/ 5 h 11"/>
                  <a:gd name="T4" fmla="*/ 6 w 11"/>
                  <a:gd name="T5" fmla="*/ 0 h 11"/>
                  <a:gd name="T6" fmla="*/ 11 w 11"/>
                  <a:gd name="T7" fmla="*/ 5 h 11"/>
                  <a:gd name="T8" fmla="*/ 6 w 11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6" y="11"/>
                    </a:moveTo>
                    <a:lnTo>
                      <a:pt x="0" y="5"/>
                    </a:lnTo>
                    <a:lnTo>
                      <a:pt x="6" y="0"/>
                    </a:lnTo>
                    <a:lnTo>
                      <a:pt x="11" y="5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14">
                <a:extLst>
                  <a:ext uri="{FF2B5EF4-FFF2-40B4-BE49-F238E27FC236}">
                    <a16:creationId xmlns:a16="http://schemas.microsoft.com/office/drawing/2014/main" id="{28031892-571E-4E14-902E-128EDDB55B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1325" y="-1044575"/>
                <a:ext cx="12700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B5AFFE04-F1AF-4A29-84DB-021CA25F3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200" y="-1089025"/>
                <a:ext cx="17463" cy="17463"/>
              </a:xfrm>
              <a:custGeom>
                <a:avLst/>
                <a:gdLst>
                  <a:gd name="T0" fmla="*/ 6 w 11"/>
                  <a:gd name="T1" fmla="*/ 11 h 11"/>
                  <a:gd name="T2" fmla="*/ 0 w 11"/>
                  <a:gd name="T3" fmla="*/ 5 h 11"/>
                  <a:gd name="T4" fmla="*/ 6 w 11"/>
                  <a:gd name="T5" fmla="*/ 0 h 11"/>
                  <a:gd name="T6" fmla="*/ 11 w 11"/>
                  <a:gd name="T7" fmla="*/ 5 h 11"/>
                  <a:gd name="T8" fmla="*/ 6 w 11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6" y="11"/>
                    </a:moveTo>
                    <a:lnTo>
                      <a:pt x="0" y="5"/>
                    </a:lnTo>
                    <a:lnTo>
                      <a:pt x="6" y="0"/>
                    </a:lnTo>
                    <a:lnTo>
                      <a:pt x="11" y="5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Oval 16">
                <a:extLst>
                  <a:ext uri="{FF2B5EF4-FFF2-40B4-BE49-F238E27FC236}">
                    <a16:creationId xmlns:a16="http://schemas.microsoft.com/office/drawing/2014/main" id="{81AA3EC4-F5F2-4ED0-B292-F8DD7F6846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5913" y="-1104900"/>
                <a:ext cx="96838" cy="9683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7">
                <a:extLst>
                  <a:ext uri="{FF2B5EF4-FFF2-40B4-BE49-F238E27FC236}">
                    <a16:creationId xmlns:a16="http://schemas.microsoft.com/office/drawing/2014/main" id="{2880FED5-9C5F-4E3F-BFF9-1DA2F64DBD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100" y="-996950"/>
                <a:ext cx="144463" cy="180975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8FC142BB-3515-4A6E-A0F1-08506E4E6D2A}"/>
                </a:ext>
              </a:extLst>
            </p:cNvPr>
            <p:cNvGrpSpPr/>
            <p:nvPr/>
          </p:nvGrpSpPr>
          <p:grpSpPr>
            <a:xfrm>
              <a:off x="2353509" y="3284538"/>
              <a:ext cx="280988" cy="288925"/>
              <a:chOff x="866775" y="-1104900"/>
              <a:chExt cx="280988" cy="288925"/>
            </a:xfrm>
            <a:solidFill>
              <a:srgbClr val="3DD7C1"/>
            </a:solidFill>
          </p:grpSpPr>
          <p:sp>
            <p:nvSpPr>
              <p:cNvPr id="92" name="Freeform 18">
                <a:extLst>
                  <a:ext uri="{FF2B5EF4-FFF2-40B4-BE49-F238E27FC236}">
                    <a16:creationId xmlns:a16="http://schemas.microsoft.com/office/drawing/2014/main" id="{FFD8BCE7-FE3A-483E-A65D-B5F8C2678B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4888" y="-960438"/>
                <a:ext cx="142875" cy="144463"/>
              </a:xfrm>
              <a:custGeom>
                <a:avLst/>
                <a:gdLst>
                  <a:gd name="T0" fmla="*/ 47 w 48"/>
                  <a:gd name="T1" fmla="*/ 28 h 48"/>
                  <a:gd name="T2" fmla="*/ 44 w 48"/>
                  <a:gd name="T3" fmla="*/ 26 h 48"/>
                  <a:gd name="T4" fmla="*/ 44 w 48"/>
                  <a:gd name="T5" fmla="*/ 24 h 48"/>
                  <a:gd name="T6" fmla="*/ 44 w 48"/>
                  <a:gd name="T7" fmla="*/ 22 h 48"/>
                  <a:gd name="T8" fmla="*/ 47 w 48"/>
                  <a:gd name="T9" fmla="*/ 20 h 48"/>
                  <a:gd name="T10" fmla="*/ 48 w 48"/>
                  <a:gd name="T11" fmla="*/ 17 h 48"/>
                  <a:gd name="T12" fmla="*/ 42 w 48"/>
                  <a:gd name="T13" fmla="*/ 7 h 48"/>
                  <a:gd name="T14" fmla="*/ 41 w 48"/>
                  <a:gd name="T15" fmla="*/ 6 h 48"/>
                  <a:gd name="T16" fmla="*/ 39 w 48"/>
                  <a:gd name="T17" fmla="*/ 6 h 48"/>
                  <a:gd name="T18" fmla="*/ 36 w 48"/>
                  <a:gd name="T19" fmla="*/ 8 h 48"/>
                  <a:gd name="T20" fmla="*/ 32 w 48"/>
                  <a:gd name="T21" fmla="*/ 6 h 48"/>
                  <a:gd name="T22" fmla="*/ 32 w 48"/>
                  <a:gd name="T23" fmla="*/ 2 h 48"/>
                  <a:gd name="T24" fmla="*/ 30 w 48"/>
                  <a:gd name="T25" fmla="*/ 0 h 48"/>
                  <a:gd name="T26" fmla="*/ 18 w 48"/>
                  <a:gd name="T27" fmla="*/ 0 h 48"/>
                  <a:gd name="T28" fmla="*/ 16 w 48"/>
                  <a:gd name="T29" fmla="*/ 2 h 48"/>
                  <a:gd name="T30" fmla="*/ 16 w 48"/>
                  <a:gd name="T31" fmla="*/ 6 h 48"/>
                  <a:gd name="T32" fmla="*/ 12 w 48"/>
                  <a:gd name="T33" fmla="*/ 8 h 48"/>
                  <a:gd name="T34" fmla="*/ 9 w 48"/>
                  <a:gd name="T35" fmla="*/ 6 h 48"/>
                  <a:gd name="T36" fmla="*/ 6 w 48"/>
                  <a:gd name="T37" fmla="*/ 7 h 48"/>
                  <a:gd name="T38" fmla="*/ 0 w 48"/>
                  <a:gd name="T39" fmla="*/ 17 h 48"/>
                  <a:gd name="T40" fmla="*/ 0 w 48"/>
                  <a:gd name="T41" fmla="*/ 19 h 48"/>
                  <a:gd name="T42" fmla="*/ 1 w 48"/>
                  <a:gd name="T43" fmla="*/ 20 h 48"/>
                  <a:gd name="T44" fmla="*/ 4 w 48"/>
                  <a:gd name="T45" fmla="*/ 22 h 48"/>
                  <a:gd name="T46" fmla="*/ 4 w 48"/>
                  <a:gd name="T47" fmla="*/ 24 h 48"/>
                  <a:gd name="T48" fmla="*/ 4 w 48"/>
                  <a:gd name="T49" fmla="*/ 26 h 48"/>
                  <a:gd name="T50" fmla="*/ 1 w 48"/>
                  <a:gd name="T51" fmla="*/ 28 h 48"/>
                  <a:gd name="T52" fmla="*/ 0 w 48"/>
                  <a:gd name="T53" fmla="*/ 29 h 48"/>
                  <a:gd name="T54" fmla="*/ 0 w 48"/>
                  <a:gd name="T55" fmla="*/ 31 h 48"/>
                  <a:gd name="T56" fmla="*/ 6 w 48"/>
                  <a:gd name="T57" fmla="*/ 41 h 48"/>
                  <a:gd name="T58" fmla="*/ 9 w 48"/>
                  <a:gd name="T59" fmla="*/ 42 h 48"/>
                  <a:gd name="T60" fmla="*/ 12 w 48"/>
                  <a:gd name="T61" fmla="*/ 40 h 48"/>
                  <a:gd name="T62" fmla="*/ 16 w 48"/>
                  <a:gd name="T63" fmla="*/ 42 h 48"/>
                  <a:gd name="T64" fmla="*/ 16 w 48"/>
                  <a:gd name="T65" fmla="*/ 46 h 48"/>
                  <a:gd name="T66" fmla="*/ 18 w 48"/>
                  <a:gd name="T67" fmla="*/ 48 h 48"/>
                  <a:gd name="T68" fmla="*/ 30 w 48"/>
                  <a:gd name="T69" fmla="*/ 48 h 48"/>
                  <a:gd name="T70" fmla="*/ 32 w 48"/>
                  <a:gd name="T71" fmla="*/ 46 h 48"/>
                  <a:gd name="T72" fmla="*/ 32 w 48"/>
                  <a:gd name="T73" fmla="*/ 42 h 48"/>
                  <a:gd name="T74" fmla="*/ 36 w 48"/>
                  <a:gd name="T75" fmla="*/ 40 h 48"/>
                  <a:gd name="T76" fmla="*/ 39 w 48"/>
                  <a:gd name="T77" fmla="*/ 42 h 48"/>
                  <a:gd name="T78" fmla="*/ 41 w 48"/>
                  <a:gd name="T79" fmla="*/ 42 h 48"/>
                  <a:gd name="T80" fmla="*/ 42 w 48"/>
                  <a:gd name="T81" fmla="*/ 41 h 48"/>
                  <a:gd name="T82" fmla="*/ 48 w 48"/>
                  <a:gd name="T83" fmla="*/ 31 h 48"/>
                  <a:gd name="T84" fmla="*/ 47 w 48"/>
                  <a:gd name="T85" fmla="*/ 28 h 48"/>
                  <a:gd name="T86" fmla="*/ 24 w 48"/>
                  <a:gd name="T87" fmla="*/ 32 h 48"/>
                  <a:gd name="T88" fmla="*/ 16 w 48"/>
                  <a:gd name="T89" fmla="*/ 24 h 48"/>
                  <a:gd name="T90" fmla="*/ 24 w 48"/>
                  <a:gd name="T91" fmla="*/ 16 h 48"/>
                  <a:gd name="T92" fmla="*/ 32 w 48"/>
                  <a:gd name="T93" fmla="*/ 24 h 48"/>
                  <a:gd name="T94" fmla="*/ 24 w 48"/>
                  <a:gd name="T95" fmla="*/ 3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48">
                    <a:moveTo>
                      <a:pt x="47" y="28"/>
                    </a:moveTo>
                    <a:cubicBezTo>
                      <a:pt x="44" y="26"/>
                      <a:pt x="44" y="26"/>
                      <a:pt x="44" y="26"/>
                    </a:cubicBezTo>
                    <a:cubicBezTo>
                      <a:pt x="44" y="25"/>
                      <a:pt x="44" y="25"/>
                      <a:pt x="44" y="24"/>
                    </a:cubicBezTo>
                    <a:cubicBezTo>
                      <a:pt x="44" y="23"/>
                      <a:pt x="44" y="23"/>
                      <a:pt x="44" y="22"/>
                    </a:cubicBezTo>
                    <a:cubicBezTo>
                      <a:pt x="47" y="20"/>
                      <a:pt x="47" y="20"/>
                      <a:pt x="47" y="20"/>
                    </a:cubicBezTo>
                    <a:cubicBezTo>
                      <a:pt x="48" y="19"/>
                      <a:pt x="48" y="18"/>
                      <a:pt x="48" y="1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2" y="6"/>
                      <a:pt x="41" y="6"/>
                      <a:pt x="41" y="6"/>
                    </a:cubicBezTo>
                    <a:cubicBezTo>
                      <a:pt x="40" y="6"/>
                      <a:pt x="40" y="6"/>
                      <a:pt x="39" y="6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5" y="7"/>
                      <a:pt x="33" y="6"/>
                      <a:pt x="32" y="6"/>
                    </a:cubicBezTo>
                    <a:cubicBezTo>
                      <a:pt x="32" y="2"/>
                      <a:pt x="32" y="2"/>
                      <a:pt x="32" y="2"/>
                    </a:cubicBezTo>
                    <a:cubicBezTo>
                      <a:pt x="32" y="1"/>
                      <a:pt x="31" y="0"/>
                      <a:pt x="30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5" y="6"/>
                      <a:pt x="13" y="7"/>
                      <a:pt x="12" y="8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6"/>
                      <a:pt x="7" y="6"/>
                      <a:pt x="6" y="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8"/>
                      <a:pt x="0" y="18"/>
                      <a:pt x="0" y="19"/>
                    </a:cubicBezTo>
                    <a:cubicBezTo>
                      <a:pt x="0" y="19"/>
                      <a:pt x="0" y="20"/>
                      <a:pt x="1" y="20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3"/>
                      <a:pt x="4" y="23"/>
                      <a:pt x="4" y="24"/>
                    </a:cubicBezTo>
                    <a:cubicBezTo>
                      <a:pt x="4" y="25"/>
                      <a:pt x="4" y="25"/>
                      <a:pt x="4" y="26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8"/>
                      <a:pt x="0" y="29"/>
                      <a:pt x="0" y="29"/>
                    </a:cubicBezTo>
                    <a:cubicBezTo>
                      <a:pt x="0" y="30"/>
                      <a:pt x="0" y="30"/>
                      <a:pt x="0" y="31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7" y="42"/>
                      <a:pt x="8" y="42"/>
                      <a:pt x="9" y="42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3" y="41"/>
                      <a:pt x="15" y="42"/>
                      <a:pt x="16" y="42"/>
                    </a:cubicBezTo>
                    <a:cubicBezTo>
                      <a:pt x="16" y="46"/>
                      <a:pt x="16" y="46"/>
                      <a:pt x="16" y="46"/>
                    </a:cubicBezTo>
                    <a:cubicBezTo>
                      <a:pt x="16" y="47"/>
                      <a:pt x="17" y="48"/>
                      <a:pt x="18" y="48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1" y="48"/>
                      <a:pt x="32" y="47"/>
                      <a:pt x="32" y="46"/>
                    </a:cubicBezTo>
                    <a:cubicBezTo>
                      <a:pt x="32" y="42"/>
                      <a:pt x="32" y="42"/>
                      <a:pt x="32" y="42"/>
                    </a:cubicBezTo>
                    <a:cubicBezTo>
                      <a:pt x="33" y="42"/>
                      <a:pt x="35" y="41"/>
                      <a:pt x="36" y="40"/>
                    </a:cubicBezTo>
                    <a:cubicBezTo>
                      <a:pt x="39" y="42"/>
                      <a:pt x="39" y="42"/>
                      <a:pt x="39" y="42"/>
                    </a:cubicBezTo>
                    <a:cubicBezTo>
                      <a:pt x="40" y="42"/>
                      <a:pt x="40" y="42"/>
                      <a:pt x="41" y="42"/>
                    </a:cubicBezTo>
                    <a:cubicBezTo>
                      <a:pt x="41" y="42"/>
                      <a:pt x="42" y="42"/>
                      <a:pt x="42" y="41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48" y="30"/>
                      <a:pt x="48" y="29"/>
                      <a:pt x="47" y="28"/>
                    </a:cubicBezTo>
                    <a:close/>
                    <a:moveTo>
                      <a:pt x="24" y="32"/>
                    </a:moveTo>
                    <a:cubicBezTo>
                      <a:pt x="20" y="32"/>
                      <a:pt x="16" y="28"/>
                      <a:pt x="16" y="24"/>
                    </a:cubicBezTo>
                    <a:cubicBezTo>
                      <a:pt x="16" y="20"/>
                      <a:pt x="20" y="16"/>
                      <a:pt x="24" y="16"/>
                    </a:cubicBezTo>
                    <a:cubicBezTo>
                      <a:pt x="28" y="16"/>
                      <a:pt x="32" y="20"/>
                      <a:pt x="32" y="24"/>
                    </a:cubicBezTo>
                    <a:cubicBezTo>
                      <a:pt x="32" y="28"/>
                      <a:pt x="28" y="32"/>
                      <a:pt x="24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Oval 19">
                <a:extLst>
                  <a:ext uri="{FF2B5EF4-FFF2-40B4-BE49-F238E27FC236}">
                    <a16:creationId xmlns:a16="http://schemas.microsoft.com/office/drawing/2014/main" id="{6A7B2EE2-7E4B-4CFC-89C5-DA4DDAF65E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0588" y="-1104900"/>
                <a:ext cx="96838" cy="9683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0">
                <a:extLst>
                  <a:ext uri="{FF2B5EF4-FFF2-40B4-BE49-F238E27FC236}">
                    <a16:creationId xmlns:a16="http://schemas.microsoft.com/office/drawing/2014/main" id="{C126067B-2C2D-4A51-B48A-891654D92C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775" y="-996950"/>
                <a:ext cx="144463" cy="180975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919B2CF9-8724-4D65-9814-6DB40B1387D5}"/>
                </a:ext>
              </a:extLst>
            </p:cNvPr>
            <p:cNvGrpSpPr/>
            <p:nvPr/>
          </p:nvGrpSpPr>
          <p:grpSpPr>
            <a:xfrm>
              <a:off x="3641710" y="5646672"/>
              <a:ext cx="280988" cy="288925"/>
              <a:chOff x="1441450" y="-1104900"/>
              <a:chExt cx="280988" cy="288925"/>
            </a:xfrm>
            <a:solidFill>
              <a:srgbClr val="2BB0B7"/>
            </a:solidFill>
          </p:grpSpPr>
          <p:sp>
            <p:nvSpPr>
              <p:cNvPr id="95" name="Freeform 21">
                <a:extLst>
                  <a:ext uri="{FF2B5EF4-FFF2-40B4-BE49-F238E27FC236}">
                    <a16:creationId xmlns:a16="http://schemas.microsoft.com/office/drawing/2014/main" id="{0FCEC0BD-60E0-4F23-AEFC-6F2D3CF114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79563" y="-960438"/>
                <a:ext cx="142875" cy="144463"/>
              </a:xfrm>
              <a:custGeom>
                <a:avLst/>
                <a:gdLst>
                  <a:gd name="T0" fmla="*/ 24 w 48"/>
                  <a:gd name="T1" fmla="*/ 0 h 48"/>
                  <a:gd name="T2" fmla="*/ 0 w 48"/>
                  <a:gd name="T3" fmla="*/ 24 h 48"/>
                  <a:gd name="T4" fmla="*/ 24 w 48"/>
                  <a:gd name="T5" fmla="*/ 48 h 48"/>
                  <a:gd name="T6" fmla="*/ 48 w 48"/>
                  <a:gd name="T7" fmla="*/ 24 h 48"/>
                  <a:gd name="T8" fmla="*/ 24 w 48"/>
                  <a:gd name="T9" fmla="*/ 0 h 48"/>
                  <a:gd name="T10" fmla="*/ 24 w 48"/>
                  <a:gd name="T11" fmla="*/ 38 h 48"/>
                  <a:gd name="T12" fmla="*/ 22 w 48"/>
                  <a:gd name="T13" fmla="*/ 35 h 48"/>
                  <a:gd name="T14" fmla="*/ 24 w 48"/>
                  <a:gd name="T15" fmla="*/ 33 h 48"/>
                  <a:gd name="T16" fmla="*/ 26 w 48"/>
                  <a:gd name="T17" fmla="*/ 35 h 48"/>
                  <a:gd name="T18" fmla="*/ 24 w 48"/>
                  <a:gd name="T19" fmla="*/ 38 h 48"/>
                  <a:gd name="T20" fmla="*/ 26 w 48"/>
                  <a:gd name="T21" fmla="*/ 25 h 48"/>
                  <a:gd name="T22" fmla="*/ 26 w 48"/>
                  <a:gd name="T23" fmla="*/ 30 h 48"/>
                  <a:gd name="T24" fmla="*/ 24 w 48"/>
                  <a:gd name="T25" fmla="*/ 32 h 48"/>
                  <a:gd name="T26" fmla="*/ 22 w 48"/>
                  <a:gd name="T27" fmla="*/ 30 h 48"/>
                  <a:gd name="T28" fmla="*/ 22 w 48"/>
                  <a:gd name="T29" fmla="*/ 24 h 48"/>
                  <a:gd name="T30" fmla="*/ 24 w 48"/>
                  <a:gd name="T31" fmla="*/ 22 h 48"/>
                  <a:gd name="T32" fmla="*/ 28 w 48"/>
                  <a:gd name="T33" fmla="*/ 17 h 48"/>
                  <a:gd name="T34" fmla="*/ 24 w 48"/>
                  <a:gd name="T35" fmla="*/ 13 h 48"/>
                  <a:gd name="T36" fmla="*/ 20 w 48"/>
                  <a:gd name="T37" fmla="*/ 17 h 48"/>
                  <a:gd name="T38" fmla="*/ 18 w 48"/>
                  <a:gd name="T39" fmla="*/ 19 h 48"/>
                  <a:gd name="T40" fmla="*/ 16 w 48"/>
                  <a:gd name="T41" fmla="*/ 17 h 48"/>
                  <a:gd name="T42" fmla="*/ 24 w 48"/>
                  <a:gd name="T43" fmla="*/ 9 h 48"/>
                  <a:gd name="T44" fmla="*/ 32 w 48"/>
                  <a:gd name="T45" fmla="*/ 17 h 48"/>
                  <a:gd name="T46" fmla="*/ 26 w 48"/>
                  <a:gd name="T47" fmla="*/ 2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37" y="48"/>
                      <a:pt x="48" y="37"/>
                      <a:pt x="48" y="24"/>
                    </a:cubicBezTo>
                    <a:cubicBezTo>
                      <a:pt x="48" y="11"/>
                      <a:pt x="37" y="0"/>
                      <a:pt x="24" y="0"/>
                    </a:cubicBezTo>
                    <a:close/>
                    <a:moveTo>
                      <a:pt x="24" y="38"/>
                    </a:moveTo>
                    <a:cubicBezTo>
                      <a:pt x="23" y="38"/>
                      <a:pt x="22" y="37"/>
                      <a:pt x="22" y="35"/>
                    </a:cubicBezTo>
                    <a:cubicBezTo>
                      <a:pt x="22" y="34"/>
                      <a:pt x="23" y="33"/>
                      <a:pt x="24" y="33"/>
                    </a:cubicBezTo>
                    <a:cubicBezTo>
                      <a:pt x="25" y="33"/>
                      <a:pt x="26" y="34"/>
                      <a:pt x="26" y="35"/>
                    </a:cubicBezTo>
                    <a:cubicBezTo>
                      <a:pt x="26" y="37"/>
                      <a:pt x="25" y="38"/>
                      <a:pt x="24" y="38"/>
                    </a:cubicBezTo>
                    <a:close/>
                    <a:moveTo>
                      <a:pt x="26" y="25"/>
                    </a:moveTo>
                    <a:cubicBezTo>
                      <a:pt x="26" y="30"/>
                      <a:pt x="26" y="30"/>
                      <a:pt x="26" y="30"/>
                    </a:cubicBezTo>
                    <a:cubicBezTo>
                      <a:pt x="26" y="31"/>
                      <a:pt x="25" y="32"/>
                      <a:pt x="24" y="32"/>
                    </a:cubicBezTo>
                    <a:cubicBezTo>
                      <a:pt x="23" y="32"/>
                      <a:pt x="22" y="31"/>
                      <a:pt x="22" y="30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2" y="22"/>
                      <a:pt x="23" y="22"/>
                      <a:pt x="24" y="22"/>
                    </a:cubicBezTo>
                    <a:cubicBezTo>
                      <a:pt x="26" y="22"/>
                      <a:pt x="28" y="20"/>
                      <a:pt x="28" y="17"/>
                    </a:cubicBezTo>
                    <a:cubicBezTo>
                      <a:pt x="28" y="15"/>
                      <a:pt x="26" y="13"/>
                      <a:pt x="24" y="13"/>
                    </a:cubicBezTo>
                    <a:cubicBezTo>
                      <a:pt x="22" y="13"/>
                      <a:pt x="20" y="15"/>
                      <a:pt x="20" y="17"/>
                    </a:cubicBezTo>
                    <a:cubicBezTo>
                      <a:pt x="20" y="18"/>
                      <a:pt x="19" y="19"/>
                      <a:pt x="18" y="19"/>
                    </a:cubicBezTo>
                    <a:cubicBezTo>
                      <a:pt x="16" y="19"/>
                      <a:pt x="16" y="18"/>
                      <a:pt x="16" y="17"/>
                    </a:cubicBezTo>
                    <a:cubicBezTo>
                      <a:pt x="16" y="12"/>
                      <a:pt x="19" y="9"/>
                      <a:pt x="24" y="9"/>
                    </a:cubicBezTo>
                    <a:cubicBezTo>
                      <a:pt x="29" y="9"/>
                      <a:pt x="32" y="12"/>
                      <a:pt x="32" y="17"/>
                    </a:cubicBezTo>
                    <a:cubicBezTo>
                      <a:pt x="32" y="21"/>
                      <a:pt x="30" y="24"/>
                      <a:pt x="26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Oval 22">
                <a:extLst>
                  <a:ext uri="{FF2B5EF4-FFF2-40B4-BE49-F238E27FC236}">
                    <a16:creationId xmlns:a16="http://schemas.microsoft.com/office/drawing/2014/main" id="{6ECB0C19-297C-4949-9158-BFFED3EB4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5263" y="-1104900"/>
                <a:ext cx="95250" cy="9683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3">
                <a:extLst>
                  <a:ext uri="{FF2B5EF4-FFF2-40B4-BE49-F238E27FC236}">
                    <a16:creationId xmlns:a16="http://schemas.microsoft.com/office/drawing/2014/main" id="{4F9BAC9A-8494-40FE-B997-3F935BFFA3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450" y="-996950"/>
                <a:ext cx="142875" cy="180975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56145DBA-F32B-49BA-B1E5-E07346A7507B}"/>
                </a:ext>
              </a:extLst>
            </p:cNvPr>
            <p:cNvGrpSpPr/>
            <p:nvPr/>
          </p:nvGrpSpPr>
          <p:grpSpPr>
            <a:xfrm>
              <a:off x="9549478" y="3284538"/>
              <a:ext cx="280988" cy="288925"/>
              <a:chOff x="2590800" y="-1682750"/>
              <a:chExt cx="280988" cy="288925"/>
            </a:xfrm>
            <a:solidFill>
              <a:srgbClr val="ED1263"/>
            </a:solidFill>
          </p:grpSpPr>
          <p:sp>
            <p:nvSpPr>
              <p:cNvPr id="98" name="Oval 24">
                <a:extLst>
                  <a:ext uri="{FF2B5EF4-FFF2-40B4-BE49-F238E27FC236}">
                    <a16:creationId xmlns:a16="http://schemas.microsoft.com/office/drawing/2014/main" id="{82D1CEC7-BE03-4229-94FE-BE6D3A1361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4613" y="-1682750"/>
                <a:ext cx="95250" cy="9683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5">
                <a:extLst>
                  <a:ext uri="{FF2B5EF4-FFF2-40B4-BE49-F238E27FC236}">
                    <a16:creationId xmlns:a16="http://schemas.microsoft.com/office/drawing/2014/main" id="{171D3EF7-6504-4A6C-AEA8-688179A60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0800" y="-1574800"/>
                <a:ext cx="142875" cy="180975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">
                <a:extLst>
                  <a:ext uri="{FF2B5EF4-FFF2-40B4-BE49-F238E27FC236}">
                    <a16:creationId xmlns:a16="http://schemas.microsoft.com/office/drawing/2014/main" id="{FCC72F04-8B49-4F3A-B48F-009E173B89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8750" y="-1658938"/>
                <a:ext cx="173038" cy="204788"/>
              </a:xfrm>
              <a:custGeom>
                <a:avLst/>
                <a:gdLst>
                  <a:gd name="T0" fmla="*/ 24 w 58"/>
                  <a:gd name="T1" fmla="*/ 0 h 68"/>
                  <a:gd name="T2" fmla="*/ 8 w 58"/>
                  <a:gd name="T3" fmla="*/ 4 h 68"/>
                  <a:gd name="T4" fmla="*/ 8 w 58"/>
                  <a:gd name="T5" fmla="*/ 8 h 68"/>
                  <a:gd name="T6" fmla="*/ 0 w 58"/>
                  <a:gd name="T7" fmla="*/ 24 h 68"/>
                  <a:gd name="T8" fmla="*/ 10 w 58"/>
                  <a:gd name="T9" fmla="*/ 24 h 68"/>
                  <a:gd name="T10" fmla="*/ 16 w 58"/>
                  <a:gd name="T11" fmla="*/ 30 h 68"/>
                  <a:gd name="T12" fmla="*/ 4 w 58"/>
                  <a:gd name="T13" fmla="*/ 61 h 68"/>
                  <a:gd name="T14" fmla="*/ 24 w 58"/>
                  <a:gd name="T15" fmla="*/ 68 h 68"/>
                  <a:gd name="T16" fmla="*/ 58 w 58"/>
                  <a:gd name="T17" fmla="*/ 34 h 68"/>
                  <a:gd name="T18" fmla="*/ 24 w 58"/>
                  <a:gd name="T19" fmla="*/ 0 h 68"/>
                  <a:gd name="T20" fmla="*/ 44 w 58"/>
                  <a:gd name="T21" fmla="*/ 36 h 68"/>
                  <a:gd name="T22" fmla="*/ 24 w 58"/>
                  <a:gd name="T23" fmla="*/ 36 h 68"/>
                  <a:gd name="T24" fmla="*/ 22 w 58"/>
                  <a:gd name="T25" fmla="*/ 34 h 68"/>
                  <a:gd name="T26" fmla="*/ 22 w 58"/>
                  <a:gd name="T27" fmla="*/ 12 h 68"/>
                  <a:gd name="T28" fmla="*/ 24 w 58"/>
                  <a:gd name="T29" fmla="*/ 10 h 68"/>
                  <a:gd name="T30" fmla="*/ 26 w 58"/>
                  <a:gd name="T31" fmla="*/ 12 h 68"/>
                  <a:gd name="T32" fmla="*/ 26 w 58"/>
                  <a:gd name="T33" fmla="*/ 32 h 68"/>
                  <a:gd name="T34" fmla="*/ 44 w 58"/>
                  <a:gd name="T35" fmla="*/ 32 h 68"/>
                  <a:gd name="T36" fmla="*/ 46 w 58"/>
                  <a:gd name="T37" fmla="*/ 34 h 68"/>
                  <a:gd name="T38" fmla="*/ 44 w 58"/>
                  <a:gd name="T39" fmla="*/ 3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8" h="68">
                    <a:moveTo>
                      <a:pt x="24" y="0"/>
                    </a:moveTo>
                    <a:cubicBezTo>
                      <a:pt x="18" y="0"/>
                      <a:pt x="12" y="2"/>
                      <a:pt x="8" y="4"/>
                    </a:cubicBezTo>
                    <a:cubicBezTo>
                      <a:pt x="8" y="5"/>
                      <a:pt x="8" y="7"/>
                      <a:pt x="8" y="8"/>
                    </a:cubicBezTo>
                    <a:cubicBezTo>
                      <a:pt x="8" y="15"/>
                      <a:pt x="5" y="20"/>
                      <a:pt x="0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3" y="24"/>
                      <a:pt x="16" y="27"/>
                      <a:pt x="16" y="30"/>
                    </a:cubicBezTo>
                    <a:cubicBezTo>
                      <a:pt x="16" y="43"/>
                      <a:pt x="12" y="55"/>
                      <a:pt x="4" y="61"/>
                    </a:cubicBezTo>
                    <a:cubicBezTo>
                      <a:pt x="10" y="66"/>
                      <a:pt x="17" y="68"/>
                      <a:pt x="24" y="68"/>
                    </a:cubicBezTo>
                    <a:cubicBezTo>
                      <a:pt x="43" y="68"/>
                      <a:pt x="58" y="53"/>
                      <a:pt x="58" y="34"/>
                    </a:cubicBezTo>
                    <a:cubicBezTo>
                      <a:pt x="58" y="15"/>
                      <a:pt x="43" y="0"/>
                      <a:pt x="24" y="0"/>
                    </a:cubicBezTo>
                    <a:close/>
                    <a:moveTo>
                      <a:pt x="44" y="36"/>
                    </a:move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6"/>
                      <a:pt x="22" y="35"/>
                      <a:pt x="22" y="34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1"/>
                      <a:pt x="23" y="10"/>
                      <a:pt x="24" y="10"/>
                    </a:cubicBezTo>
                    <a:cubicBezTo>
                      <a:pt x="25" y="10"/>
                      <a:pt x="26" y="11"/>
                      <a:pt x="26" y="12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5" y="32"/>
                      <a:pt x="46" y="33"/>
                      <a:pt x="46" y="34"/>
                    </a:cubicBezTo>
                    <a:cubicBezTo>
                      <a:pt x="46" y="35"/>
                      <a:pt x="45" y="36"/>
                      <a:pt x="44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FD7DF932-642F-4EAB-9356-831AB688CC72}"/>
                </a:ext>
              </a:extLst>
            </p:cNvPr>
            <p:cNvGrpSpPr/>
            <p:nvPr/>
          </p:nvGrpSpPr>
          <p:grpSpPr>
            <a:xfrm>
              <a:off x="8261277" y="994909"/>
              <a:ext cx="280988" cy="288925"/>
              <a:chOff x="2016125" y="-1104900"/>
              <a:chExt cx="280988" cy="288925"/>
            </a:xfrm>
            <a:solidFill>
              <a:srgbClr val="38116E"/>
            </a:solidFill>
          </p:grpSpPr>
          <p:sp>
            <p:nvSpPr>
              <p:cNvPr id="101" name="Oval 27">
                <a:extLst>
                  <a:ext uri="{FF2B5EF4-FFF2-40B4-BE49-F238E27FC236}">
                    <a16:creationId xmlns:a16="http://schemas.microsoft.com/office/drawing/2014/main" id="{D60DEB1F-62B9-4738-BA24-C0568C7F73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39938" y="-1104900"/>
                <a:ext cx="95250" cy="9683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8">
                <a:extLst>
                  <a:ext uri="{FF2B5EF4-FFF2-40B4-BE49-F238E27FC236}">
                    <a16:creationId xmlns:a16="http://schemas.microsoft.com/office/drawing/2014/main" id="{4B9ECB41-19D6-43A2-A930-4F31A00926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6125" y="-996950"/>
                <a:ext cx="142875" cy="180975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9">
                <a:extLst>
                  <a:ext uri="{FF2B5EF4-FFF2-40B4-BE49-F238E27FC236}">
                    <a16:creationId xmlns:a16="http://schemas.microsoft.com/office/drawing/2014/main" id="{F6581182-17D3-4BEB-9BC3-0775529D60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538" y="-1077913"/>
                <a:ext cx="128588" cy="127000"/>
              </a:xfrm>
              <a:custGeom>
                <a:avLst/>
                <a:gdLst>
                  <a:gd name="T0" fmla="*/ 36 w 43"/>
                  <a:gd name="T1" fmla="*/ 27 h 42"/>
                  <a:gd name="T2" fmla="*/ 30 w 43"/>
                  <a:gd name="T3" fmla="*/ 21 h 42"/>
                  <a:gd name="T4" fmla="*/ 36 w 43"/>
                  <a:gd name="T5" fmla="*/ 15 h 42"/>
                  <a:gd name="T6" fmla="*/ 43 w 43"/>
                  <a:gd name="T7" fmla="*/ 15 h 42"/>
                  <a:gd name="T8" fmla="*/ 28 w 43"/>
                  <a:gd name="T9" fmla="*/ 0 h 42"/>
                  <a:gd name="T10" fmla="*/ 28 w 43"/>
                  <a:gd name="T11" fmla="*/ 7 h 42"/>
                  <a:gd name="T12" fmla="*/ 22 w 43"/>
                  <a:gd name="T13" fmla="*/ 13 h 42"/>
                  <a:gd name="T14" fmla="*/ 16 w 43"/>
                  <a:gd name="T15" fmla="*/ 7 h 42"/>
                  <a:gd name="T16" fmla="*/ 16 w 43"/>
                  <a:gd name="T17" fmla="*/ 0 h 42"/>
                  <a:gd name="T18" fmla="*/ 0 w 43"/>
                  <a:gd name="T19" fmla="*/ 21 h 42"/>
                  <a:gd name="T20" fmla="*/ 0 w 43"/>
                  <a:gd name="T21" fmla="*/ 23 h 42"/>
                  <a:gd name="T22" fmla="*/ 4 w 43"/>
                  <a:gd name="T23" fmla="*/ 23 h 42"/>
                  <a:gd name="T24" fmla="*/ 10 w 43"/>
                  <a:gd name="T25" fmla="*/ 29 h 42"/>
                  <a:gd name="T26" fmla="*/ 9 w 43"/>
                  <a:gd name="T27" fmla="*/ 39 h 42"/>
                  <a:gd name="T28" fmla="*/ 16 w 43"/>
                  <a:gd name="T29" fmla="*/ 42 h 42"/>
                  <a:gd name="T30" fmla="*/ 16 w 43"/>
                  <a:gd name="T31" fmla="*/ 35 h 42"/>
                  <a:gd name="T32" fmla="*/ 22 w 43"/>
                  <a:gd name="T33" fmla="*/ 29 h 42"/>
                  <a:gd name="T34" fmla="*/ 28 w 43"/>
                  <a:gd name="T35" fmla="*/ 35 h 42"/>
                  <a:gd name="T36" fmla="*/ 28 w 43"/>
                  <a:gd name="T37" fmla="*/ 42 h 42"/>
                  <a:gd name="T38" fmla="*/ 43 w 43"/>
                  <a:gd name="T39" fmla="*/ 27 h 42"/>
                  <a:gd name="T40" fmla="*/ 36 w 43"/>
                  <a:gd name="T41" fmla="*/ 2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42">
                    <a:moveTo>
                      <a:pt x="36" y="27"/>
                    </a:moveTo>
                    <a:cubicBezTo>
                      <a:pt x="33" y="27"/>
                      <a:pt x="30" y="24"/>
                      <a:pt x="30" y="21"/>
                    </a:cubicBezTo>
                    <a:cubicBezTo>
                      <a:pt x="30" y="18"/>
                      <a:pt x="33" y="15"/>
                      <a:pt x="36" y="15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1" y="8"/>
                      <a:pt x="35" y="2"/>
                      <a:pt x="28" y="0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8" y="10"/>
                      <a:pt x="25" y="13"/>
                      <a:pt x="22" y="13"/>
                    </a:cubicBezTo>
                    <a:cubicBezTo>
                      <a:pt x="19" y="13"/>
                      <a:pt x="16" y="10"/>
                      <a:pt x="16" y="7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2"/>
                      <a:pt x="0" y="11"/>
                      <a:pt x="0" y="21"/>
                    </a:cubicBezTo>
                    <a:cubicBezTo>
                      <a:pt x="0" y="22"/>
                      <a:pt x="0" y="22"/>
                      <a:pt x="0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7" y="23"/>
                      <a:pt x="10" y="26"/>
                      <a:pt x="10" y="29"/>
                    </a:cubicBezTo>
                    <a:cubicBezTo>
                      <a:pt x="10" y="32"/>
                      <a:pt x="10" y="36"/>
                      <a:pt x="9" y="39"/>
                    </a:cubicBezTo>
                    <a:cubicBezTo>
                      <a:pt x="11" y="40"/>
                      <a:pt x="14" y="41"/>
                      <a:pt x="16" y="42"/>
                    </a:cubicBezTo>
                    <a:cubicBezTo>
                      <a:pt x="16" y="35"/>
                      <a:pt x="16" y="35"/>
                      <a:pt x="16" y="35"/>
                    </a:cubicBezTo>
                    <a:cubicBezTo>
                      <a:pt x="16" y="32"/>
                      <a:pt x="19" y="29"/>
                      <a:pt x="22" y="29"/>
                    </a:cubicBezTo>
                    <a:cubicBezTo>
                      <a:pt x="25" y="29"/>
                      <a:pt x="28" y="32"/>
                      <a:pt x="28" y="35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5" y="40"/>
                      <a:pt x="41" y="34"/>
                      <a:pt x="43" y="27"/>
                    </a:cubicBezTo>
                    <a:lnTo>
                      <a:pt x="36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30">
                <a:extLst>
                  <a:ext uri="{FF2B5EF4-FFF2-40B4-BE49-F238E27FC236}">
                    <a16:creationId xmlns:a16="http://schemas.microsoft.com/office/drawing/2014/main" id="{F29FD9D0-2FB6-4A6D-844D-D61598B9A6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1863" y="-1104900"/>
                <a:ext cx="11113" cy="53975"/>
              </a:xfrm>
              <a:custGeom>
                <a:avLst/>
                <a:gdLst>
                  <a:gd name="T0" fmla="*/ 2 w 4"/>
                  <a:gd name="T1" fmla="*/ 18 h 18"/>
                  <a:gd name="T2" fmla="*/ 0 w 4"/>
                  <a:gd name="T3" fmla="*/ 16 h 18"/>
                  <a:gd name="T4" fmla="*/ 0 w 4"/>
                  <a:gd name="T5" fmla="*/ 2 h 18"/>
                  <a:gd name="T6" fmla="*/ 2 w 4"/>
                  <a:gd name="T7" fmla="*/ 0 h 18"/>
                  <a:gd name="T8" fmla="*/ 4 w 4"/>
                  <a:gd name="T9" fmla="*/ 2 h 18"/>
                  <a:gd name="T10" fmla="*/ 4 w 4"/>
                  <a:gd name="T11" fmla="*/ 16 h 18"/>
                  <a:gd name="T12" fmla="*/ 2 w 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8">
                    <a:moveTo>
                      <a:pt x="2" y="18"/>
                    </a:moveTo>
                    <a:cubicBezTo>
                      <a:pt x="1" y="18"/>
                      <a:pt x="0" y="17"/>
                      <a:pt x="0" y="1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7"/>
                      <a:pt x="3" y="18"/>
                      <a:pt x="2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1">
                <a:extLst>
                  <a:ext uri="{FF2B5EF4-FFF2-40B4-BE49-F238E27FC236}">
                    <a16:creationId xmlns:a16="http://schemas.microsoft.com/office/drawing/2014/main" id="{BD6C3958-B2E1-4B80-A926-EC22EF93F3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1863" y="-977900"/>
                <a:ext cx="11113" cy="53975"/>
              </a:xfrm>
              <a:custGeom>
                <a:avLst/>
                <a:gdLst>
                  <a:gd name="T0" fmla="*/ 2 w 4"/>
                  <a:gd name="T1" fmla="*/ 18 h 18"/>
                  <a:gd name="T2" fmla="*/ 0 w 4"/>
                  <a:gd name="T3" fmla="*/ 16 h 18"/>
                  <a:gd name="T4" fmla="*/ 0 w 4"/>
                  <a:gd name="T5" fmla="*/ 2 h 18"/>
                  <a:gd name="T6" fmla="*/ 2 w 4"/>
                  <a:gd name="T7" fmla="*/ 0 h 18"/>
                  <a:gd name="T8" fmla="*/ 4 w 4"/>
                  <a:gd name="T9" fmla="*/ 2 h 18"/>
                  <a:gd name="T10" fmla="*/ 4 w 4"/>
                  <a:gd name="T11" fmla="*/ 16 h 18"/>
                  <a:gd name="T12" fmla="*/ 2 w 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8">
                    <a:moveTo>
                      <a:pt x="2" y="18"/>
                    </a:moveTo>
                    <a:cubicBezTo>
                      <a:pt x="1" y="18"/>
                      <a:pt x="0" y="17"/>
                      <a:pt x="0" y="1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7"/>
                      <a:pt x="3" y="18"/>
                      <a:pt x="2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">
                <a:extLst>
                  <a:ext uri="{FF2B5EF4-FFF2-40B4-BE49-F238E27FC236}">
                    <a16:creationId xmlns:a16="http://schemas.microsoft.com/office/drawing/2014/main" id="{7B0A034B-BBBE-498E-8007-0A34F72D6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3138" y="-1020763"/>
                <a:ext cx="53975" cy="12700"/>
              </a:xfrm>
              <a:custGeom>
                <a:avLst/>
                <a:gdLst>
                  <a:gd name="T0" fmla="*/ 16 w 18"/>
                  <a:gd name="T1" fmla="*/ 4 h 4"/>
                  <a:gd name="T2" fmla="*/ 2 w 18"/>
                  <a:gd name="T3" fmla="*/ 4 h 4"/>
                  <a:gd name="T4" fmla="*/ 0 w 18"/>
                  <a:gd name="T5" fmla="*/ 2 h 4"/>
                  <a:gd name="T6" fmla="*/ 2 w 18"/>
                  <a:gd name="T7" fmla="*/ 0 h 4"/>
                  <a:gd name="T8" fmla="*/ 16 w 18"/>
                  <a:gd name="T9" fmla="*/ 0 h 4"/>
                  <a:gd name="T10" fmla="*/ 18 w 18"/>
                  <a:gd name="T11" fmla="*/ 2 h 4"/>
                  <a:gd name="T12" fmla="*/ 16 w 1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4">
                    <a:moveTo>
                      <a:pt x="1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7" y="0"/>
                      <a:pt x="18" y="1"/>
                      <a:pt x="18" y="2"/>
                    </a:cubicBezTo>
                    <a:cubicBezTo>
                      <a:pt x="18" y="3"/>
                      <a:pt x="17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6CA3B4A9-DD2E-4EA2-B632-D0BE7FC651EE}"/>
                </a:ext>
              </a:extLst>
            </p:cNvPr>
            <p:cNvCxnSpPr>
              <a:stCxn id="33" idx="0"/>
              <a:endCxn id="76" idx="4"/>
            </p:cNvCxnSpPr>
            <p:nvPr/>
          </p:nvCxnSpPr>
          <p:spPr>
            <a:xfrm>
              <a:off x="7373580" y="5639730"/>
              <a:ext cx="296087" cy="151405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B6108009-7C08-4935-B004-6C611C502770}"/>
                </a:ext>
              </a:extLst>
            </p:cNvPr>
            <p:cNvCxnSpPr>
              <a:stCxn id="34" idx="0"/>
              <a:endCxn id="68" idx="4"/>
            </p:cNvCxnSpPr>
            <p:nvPr/>
          </p:nvCxnSpPr>
          <p:spPr>
            <a:xfrm flipV="1">
              <a:off x="8651159" y="3429001"/>
              <a:ext cx="306709" cy="1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EF315F3E-29D1-4248-A49F-48650254E95A}"/>
                </a:ext>
              </a:extLst>
            </p:cNvPr>
            <p:cNvCxnSpPr>
              <a:stCxn id="35" idx="0"/>
              <a:endCxn id="54" idx="4"/>
            </p:cNvCxnSpPr>
            <p:nvPr/>
          </p:nvCxnSpPr>
          <p:spPr>
            <a:xfrm flipV="1">
              <a:off x="7373580" y="1139372"/>
              <a:ext cx="296087" cy="77384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02518EB-F766-46AE-85CC-E1A6F003C10C}"/>
                </a:ext>
              </a:extLst>
            </p:cNvPr>
            <p:cNvCxnSpPr>
              <a:stCxn id="79" idx="4"/>
            </p:cNvCxnSpPr>
            <p:nvPr/>
          </p:nvCxnSpPr>
          <p:spPr>
            <a:xfrm>
              <a:off x="4514309" y="1139372"/>
              <a:ext cx="296525" cy="71659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A0C8F67C-A8AA-434C-B477-D8870F745F47}"/>
                </a:ext>
              </a:extLst>
            </p:cNvPr>
            <p:cNvCxnSpPr>
              <a:stCxn id="81" idx="4"/>
              <a:endCxn id="31" idx="0"/>
            </p:cNvCxnSpPr>
            <p:nvPr/>
          </p:nvCxnSpPr>
          <p:spPr>
            <a:xfrm>
              <a:off x="3226108" y="3429001"/>
              <a:ext cx="314733" cy="1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C72C012C-651B-4679-B7B3-AD11136EE211}"/>
                </a:ext>
              </a:extLst>
            </p:cNvPr>
            <p:cNvCxnSpPr>
              <a:stCxn id="83" idx="4"/>
            </p:cNvCxnSpPr>
            <p:nvPr/>
          </p:nvCxnSpPr>
          <p:spPr>
            <a:xfrm flipV="1">
              <a:off x="4514309" y="5599736"/>
              <a:ext cx="302595" cy="191399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9" name="TextBox 128">
            <a:extLst>
              <a:ext uri="{FF2B5EF4-FFF2-40B4-BE49-F238E27FC236}">
                <a16:creationId xmlns:a16="http://schemas.microsoft.com/office/drawing/2014/main" id="{1F3980E6-696B-4B84-A5F0-AE0734F857E5}"/>
              </a:ext>
            </a:extLst>
          </p:cNvPr>
          <p:cNvSpPr txBox="1"/>
          <p:nvPr/>
        </p:nvSpPr>
        <p:spPr>
          <a:xfrm>
            <a:off x="5155325" y="3244334"/>
            <a:ext cx="1881349" cy="36933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id-ID" sz="2400" b="1" dirty="0"/>
              <a:t>Globe Strategy</a:t>
            </a:r>
            <a:endParaRPr lang="en-US" sz="2400" b="1" dirty="0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A2F8DC7-5C42-4208-ABDC-B5C25C54A72D}"/>
              </a:ext>
            </a:extLst>
          </p:cNvPr>
          <p:cNvSpPr txBox="1"/>
          <p:nvPr/>
        </p:nvSpPr>
        <p:spPr>
          <a:xfrm>
            <a:off x="4842547" y="484729"/>
            <a:ext cx="2506905" cy="49244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id-ID" sz="3200" b="1" dirty="0"/>
              <a:t>Globe Strategy</a:t>
            </a:r>
            <a:endParaRPr lang="en-US" sz="3200" b="1" dirty="0"/>
          </a:p>
        </p:txBody>
      </p: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424D43C-5A45-46FD-8232-A66EE91727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3383" y="6350052"/>
            <a:ext cx="745234" cy="211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9272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>
            <a:extLst>
              <a:ext uri="{FF2B5EF4-FFF2-40B4-BE49-F238E27FC236}">
                <a16:creationId xmlns:a16="http://schemas.microsoft.com/office/drawing/2014/main" id="{7B4BAAA4-E141-4851-BB10-EE45E8001EB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02" b="9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DCFEEC03-AA73-4324-AA9D-236AC61DB27E}"/>
              </a:ext>
            </a:extLst>
          </p:cNvPr>
          <p:cNvSpPr/>
          <p:nvPr/>
        </p:nvSpPr>
        <p:spPr>
          <a:xfrm>
            <a:off x="0" y="-1"/>
            <a:ext cx="12202235" cy="6858001"/>
          </a:xfrm>
          <a:prstGeom prst="rect">
            <a:avLst/>
          </a:prstGeom>
          <a:gradFill>
            <a:gsLst>
              <a:gs pos="47000">
                <a:srgbClr val="ED1263">
                  <a:alpha val="92000"/>
                </a:srgbClr>
              </a:gs>
              <a:gs pos="100000">
                <a:srgbClr val="FF7437">
                  <a:alpha val="74000"/>
                </a:srgbClr>
              </a:gs>
              <a:gs pos="12000">
                <a:srgbClr val="38116E">
                  <a:alpha val="80000"/>
                </a:srgbClr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dirty="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D71D9100-AD37-405E-9F89-64E1BB358303}"/>
              </a:ext>
            </a:extLst>
          </p:cNvPr>
          <p:cNvSpPr>
            <a:spLocks/>
          </p:cNvSpPr>
          <p:nvPr/>
        </p:nvSpPr>
        <p:spPr bwMode="auto">
          <a:xfrm flipH="1">
            <a:off x="543719" y="4882661"/>
            <a:ext cx="3244333" cy="1975339"/>
          </a:xfrm>
          <a:custGeom>
            <a:avLst/>
            <a:gdLst>
              <a:gd name="T0" fmla="*/ 0 w 996"/>
              <a:gd name="T1" fmla="*/ 607 h 607"/>
              <a:gd name="T2" fmla="*/ 92 w 996"/>
              <a:gd name="T3" fmla="*/ 452 h 607"/>
              <a:gd name="T4" fmla="*/ 41 w 996"/>
              <a:gd name="T5" fmla="*/ 343 h 607"/>
              <a:gd name="T6" fmla="*/ 195 w 996"/>
              <a:gd name="T7" fmla="*/ 254 h 607"/>
              <a:gd name="T8" fmla="*/ 653 w 996"/>
              <a:gd name="T9" fmla="*/ 13 h 607"/>
              <a:gd name="T10" fmla="*/ 678 w 996"/>
              <a:gd name="T11" fmla="*/ 0 h 607"/>
              <a:gd name="T12" fmla="*/ 738 w 996"/>
              <a:gd name="T13" fmla="*/ 238 h 607"/>
              <a:gd name="T14" fmla="*/ 996 w 996"/>
              <a:gd name="T15" fmla="*/ 607 h 607"/>
              <a:gd name="T16" fmla="*/ 0 w 996"/>
              <a:gd name="T17" fmla="*/ 607 h 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96" h="607">
                <a:moveTo>
                  <a:pt x="0" y="607"/>
                </a:moveTo>
                <a:cubicBezTo>
                  <a:pt x="92" y="452"/>
                  <a:pt x="92" y="452"/>
                  <a:pt x="92" y="452"/>
                </a:cubicBezTo>
                <a:cubicBezTo>
                  <a:pt x="92" y="452"/>
                  <a:pt x="66" y="400"/>
                  <a:pt x="41" y="343"/>
                </a:cubicBezTo>
                <a:cubicBezTo>
                  <a:pt x="88" y="322"/>
                  <a:pt x="139" y="293"/>
                  <a:pt x="195" y="254"/>
                </a:cubicBezTo>
                <a:cubicBezTo>
                  <a:pt x="653" y="13"/>
                  <a:pt x="653" y="13"/>
                  <a:pt x="653" y="13"/>
                </a:cubicBezTo>
                <a:cubicBezTo>
                  <a:pt x="666" y="8"/>
                  <a:pt x="678" y="0"/>
                  <a:pt x="678" y="0"/>
                </a:cubicBezTo>
                <a:cubicBezTo>
                  <a:pt x="742" y="90"/>
                  <a:pt x="738" y="238"/>
                  <a:pt x="738" y="238"/>
                </a:cubicBezTo>
                <a:cubicBezTo>
                  <a:pt x="966" y="398"/>
                  <a:pt x="996" y="607"/>
                  <a:pt x="996" y="607"/>
                </a:cubicBezTo>
                <a:lnTo>
                  <a:pt x="0" y="607"/>
                </a:lnTo>
                <a:close/>
              </a:path>
            </a:pathLst>
          </a:custGeom>
          <a:solidFill>
            <a:srgbClr val="3811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0F55BDFC-530E-4494-A37B-222FB09C7FD3}"/>
              </a:ext>
            </a:extLst>
          </p:cNvPr>
          <p:cNvSpPr>
            <a:spLocks/>
          </p:cNvSpPr>
          <p:nvPr/>
        </p:nvSpPr>
        <p:spPr bwMode="auto">
          <a:xfrm flipH="1">
            <a:off x="1186006" y="966609"/>
            <a:ext cx="2299079" cy="2236755"/>
          </a:xfrm>
          <a:custGeom>
            <a:avLst/>
            <a:gdLst>
              <a:gd name="T0" fmla="*/ 695 w 706"/>
              <a:gd name="T1" fmla="*/ 688 h 688"/>
              <a:gd name="T2" fmla="*/ 426 w 706"/>
              <a:gd name="T3" fmla="*/ 688 h 688"/>
              <a:gd name="T4" fmla="*/ 415 w 706"/>
              <a:gd name="T5" fmla="*/ 655 h 688"/>
              <a:gd name="T6" fmla="*/ 377 w 706"/>
              <a:gd name="T7" fmla="*/ 586 h 688"/>
              <a:gd name="T8" fmla="*/ 347 w 706"/>
              <a:gd name="T9" fmla="*/ 645 h 688"/>
              <a:gd name="T10" fmla="*/ 347 w 706"/>
              <a:gd name="T11" fmla="*/ 688 h 688"/>
              <a:gd name="T12" fmla="*/ 102 w 706"/>
              <a:gd name="T13" fmla="*/ 688 h 688"/>
              <a:gd name="T14" fmla="*/ 102 w 706"/>
              <a:gd name="T15" fmla="*/ 376 h 688"/>
              <a:gd name="T16" fmla="*/ 60 w 706"/>
              <a:gd name="T17" fmla="*/ 376 h 688"/>
              <a:gd name="T18" fmla="*/ 0 w 706"/>
              <a:gd name="T19" fmla="*/ 347 h 688"/>
              <a:gd name="T20" fmla="*/ 69 w 706"/>
              <a:gd name="T21" fmla="*/ 308 h 688"/>
              <a:gd name="T22" fmla="*/ 102 w 706"/>
              <a:gd name="T23" fmla="*/ 298 h 688"/>
              <a:gd name="T24" fmla="*/ 102 w 706"/>
              <a:gd name="T25" fmla="*/ 23 h 688"/>
              <a:gd name="T26" fmla="*/ 705 w 706"/>
              <a:gd name="T27" fmla="*/ 556 h 688"/>
              <a:gd name="T28" fmla="*/ 695 w 706"/>
              <a:gd name="T29" fmla="*/ 688 h 6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06" h="688">
                <a:moveTo>
                  <a:pt x="695" y="688"/>
                </a:moveTo>
                <a:cubicBezTo>
                  <a:pt x="426" y="688"/>
                  <a:pt x="426" y="688"/>
                  <a:pt x="426" y="688"/>
                </a:cubicBezTo>
                <a:cubicBezTo>
                  <a:pt x="426" y="688"/>
                  <a:pt x="393" y="688"/>
                  <a:pt x="415" y="655"/>
                </a:cubicBezTo>
                <a:cubicBezTo>
                  <a:pt x="437" y="621"/>
                  <a:pt x="426" y="586"/>
                  <a:pt x="377" y="586"/>
                </a:cubicBezTo>
                <a:cubicBezTo>
                  <a:pt x="327" y="586"/>
                  <a:pt x="330" y="631"/>
                  <a:pt x="347" y="645"/>
                </a:cubicBezTo>
                <a:cubicBezTo>
                  <a:pt x="365" y="660"/>
                  <a:pt x="347" y="688"/>
                  <a:pt x="347" y="688"/>
                </a:cubicBezTo>
                <a:cubicBezTo>
                  <a:pt x="102" y="688"/>
                  <a:pt x="102" y="688"/>
                  <a:pt x="102" y="688"/>
                </a:cubicBezTo>
                <a:cubicBezTo>
                  <a:pt x="102" y="376"/>
                  <a:pt x="102" y="376"/>
                  <a:pt x="102" y="376"/>
                </a:cubicBezTo>
                <a:cubicBezTo>
                  <a:pt x="102" y="376"/>
                  <a:pt x="74" y="359"/>
                  <a:pt x="60" y="376"/>
                </a:cubicBezTo>
                <a:cubicBezTo>
                  <a:pt x="45" y="394"/>
                  <a:pt x="0" y="396"/>
                  <a:pt x="0" y="347"/>
                </a:cubicBezTo>
                <a:cubicBezTo>
                  <a:pt x="0" y="297"/>
                  <a:pt x="36" y="286"/>
                  <a:pt x="69" y="308"/>
                </a:cubicBezTo>
                <a:cubicBezTo>
                  <a:pt x="102" y="330"/>
                  <a:pt x="102" y="298"/>
                  <a:pt x="102" y="298"/>
                </a:cubicBezTo>
                <a:cubicBezTo>
                  <a:pt x="102" y="23"/>
                  <a:pt x="102" y="23"/>
                  <a:pt x="102" y="23"/>
                </a:cubicBezTo>
                <a:cubicBezTo>
                  <a:pt x="495" y="0"/>
                  <a:pt x="700" y="291"/>
                  <a:pt x="705" y="556"/>
                </a:cubicBezTo>
                <a:cubicBezTo>
                  <a:pt x="706" y="602"/>
                  <a:pt x="702" y="646"/>
                  <a:pt x="695" y="688"/>
                </a:cubicBezTo>
                <a:close/>
              </a:path>
            </a:pathLst>
          </a:custGeom>
          <a:solidFill>
            <a:schemeClr val="bg1">
              <a:alpha val="98000"/>
            </a:schemeClr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BC40D2F9-D513-4710-A77C-38C069AC1AE4}"/>
              </a:ext>
            </a:extLst>
          </p:cNvPr>
          <p:cNvSpPr>
            <a:spLocks/>
          </p:cNvSpPr>
          <p:nvPr/>
        </p:nvSpPr>
        <p:spPr bwMode="auto">
          <a:xfrm flipH="1">
            <a:off x="3152689" y="3203364"/>
            <a:ext cx="2094793" cy="2795944"/>
          </a:xfrm>
          <a:custGeom>
            <a:avLst/>
            <a:gdLst>
              <a:gd name="T0" fmla="*/ 541 w 643"/>
              <a:gd name="T1" fmla="*/ 410 h 859"/>
              <a:gd name="T2" fmla="*/ 601 w 643"/>
              <a:gd name="T3" fmla="*/ 439 h 859"/>
              <a:gd name="T4" fmla="*/ 643 w 643"/>
              <a:gd name="T5" fmla="*/ 439 h 859"/>
              <a:gd name="T6" fmla="*/ 643 w 643"/>
              <a:gd name="T7" fmla="*/ 770 h 859"/>
              <a:gd name="T8" fmla="*/ 489 w 643"/>
              <a:gd name="T9" fmla="*/ 859 h 859"/>
              <a:gd name="T10" fmla="*/ 440 w 643"/>
              <a:gd name="T11" fmla="*/ 708 h 859"/>
              <a:gd name="T12" fmla="*/ 426 w 643"/>
              <a:gd name="T13" fmla="*/ 648 h 859"/>
              <a:gd name="T14" fmla="*/ 190 w 643"/>
              <a:gd name="T15" fmla="*/ 634 h 859"/>
              <a:gd name="T16" fmla="*/ 126 w 643"/>
              <a:gd name="T17" fmla="*/ 498 h 859"/>
              <a:gd name="T18" fmla="*/ 116 w 643"/>
              <a:gd name="T19" fmla="*/ 428 h 859"/>
              <a:gd name="T20" fmla="*/ 116 w 643"/>
              <a:gd name="T21" fmla="*/ 362 h 859"/>
              <a:gd name="T22" fmla="*/ 88 w 643"/>
              <a:gd name="T23" fmla="*/ 294 h 859"/>
              <a:gd name="T24" fmla="*/ 54 w 643"/>
              <a:gd name="T25" fmla="*/ 236 h 859"/>
              <a:gd name="T26" fmla="*/ 8 w 643"/>
              <a:gd name="T27" fmla="*/ 182 h 859"/>
              <a:gd name="T28" fmla="*/ 108 w 643"/>
              <a:gd name="T29" fmla="*/ 74 h 859"/>
              <a:gd name="T30" fmla="*/ 144 w 643"/>
              <a:gd name="T31" fmla="*/ 0 h 859"/>
              <a:gd name="T32" fmla="*/ 239 w 643"/>
              <a:gd name="T33" fmla="*/ 0 h 859"/>
              <a:gd name="T34" fmla="*/ 250 w 643"/>
              <a:gd name="T35" fmla="*/ 33 h 859"/>
              <a:gd name="T36" fmla="*/ 288 w 643"/>
              <a:gd name="T37" fmla="*/ 101 h 859"/>
              <a:gd name="T38" fmla="*/ 318 w 643"/>
              <a:gd name="T39" fmla="*/ 42 h 859"/>
              <a:gd name="T40" fmla="*/ 318 w 643"/>
              <a:gd name="T41" fmla="*/ 0 h 859"/>
              <a:gd name="T42" fmla="*/ 643 w 643"/>
              <a:gd name="T43" fmla="*/ 0 h 859"/>
              <a:gd name="T44" fmla="*/ 643 w 643"/>
              <a:gd name="T45" fmla="*/ 361 h 859"/>
              <a:gd name="T46" fmla="*/ 610 w 643"/>
              <a:gd name="T47" fmla="*/ 372 h 859"/>
              <a:gd name="T48" fmla="*/ 541 w 643"/>
              <a:gd name="T49" fmla="*/ 410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43" h="859">
                <a:moveTo>
                  <a:pt x="541" y="410"/>
                </a:moveTo>
                <a:cubicBezTo>
                  <a:pt x="541" y="460"/>
                  <a:pt x="586" y="457"/>
                  <a:pt x="601" y="439"/>
                </a:cubicBezTo>
                <a:cubicBezTo>
                  <a:pt x="615" y="422"/>
                  <a:pt x="643" y="439"/>
                  <a:pt x="643" y="439"/>
                </a:cubicBezTo>
                <a:cubicBezTo>
                  <a:pt x="643" y="770"/>
                  <a:pt x="643" y="770"/>
                  <a:pt x="643" y="770"/>
                </a:cubicBezTo>
                <a:cubicBezTo>
                  <a:pt x="587" y="809"/>
                  <a:pt x="536" y="838"/>
                  <a:pt x="489" y="859"/>
                </a:cubicBezTo>
                <a:cubicBezTo>
                  <a:pt x="462" y="797"/>
                  <a:pt x="435" y="729"/>
                  <a:pt x="440" y="708"/>
                </a:cubicBezTo>
                <a:cubicBezTo>
                  <a:pt x="450" y="668"/>
                  <a:pt x="438" y="654"/>
                  <a:pt x="426" y="648"/>
                </a:cubicBezTo>
                <a:cubicBezTo>
                  <a:pt x="414" y="642"/>
                  <a:pt x="256" y="658"/>
                  <a:pt x="190" y="634"/>
                </a:cubicBezTo>
                <a:cubicBezTo>
                  <a:pt x="124" y="610"/>
                  <a:pt x="98" y="534"/>
                  <a:pt x="126" y="498"/>
                </a:cubicBezTo>
                <a:cubicBezTo>
                  <a:pt x="154" y="462"/>
                  <a:pt x="134" y="446"/>
                  <a:pt x="116" y="428"/>
                </a:cubicBezTo>
                <a:cubicBezTo>
                  <a:pt x="99" y="410"/>
                  <a:pt x="116" y="362"/>
                  <a:pt x="116" y="362"/>
                </a:cubicBezTo>
                <a:cubicBezTo>
                  <a:pt x="87" y="358"/>
                  <a:pt x="64" y="328"/>
                  <a:pt x="88" y="294"/>
                </a:cubicBezTo>
                <a:cubicBezTo>
                  <a:pt x="112" y="260"/>
                  <a:pt x="104" y="250"/>
                  <a:pt x="54" y="236"/>
                </a:cubicBezTo>
                <a:cubicBezTo>
                  <a:pt x="4" y="222"/>
                  <a:pt x="0" y="196"/>
                  <a:pt x="8" y="182"/>
                </a:cubicBezTo>
                <a:cubicBezTo>
                  <a:pt x="16" y="168"/>
                  <a:pt x="68" y="114"/>
                  <a:pt x="108" y="74"/>
                </a:cubicBezTo>
                <a:cubicBezTo>
                  <a:pt x="133" y="49"/>
                  <a:pt x="144" y="36"/>
                  <a:pt x="144" y="0"/>
                </a:cubicBezTo>
                <a:cubicBezTo>
                  <a:pt x="239" y="0"/>
                  <a:pt x="239" y="0"/>
                  <a:pt x="239" y="0"/>
                </a:cubicBezTo>
                <a:cubicBezTo>
                  <a:pt x="239" y="0"/>
                  <a:pt x="272" y="0"/>
                  <a:pt x="250" y="33"/>
                </a:cubicBezTo>
                <a:cubicBezTo>
                  <a:pt x="228" y="66"/>
                  <a:pt x="239" y="101"/>
                  <a:pt x="288" y="101"/>
                </a:cubicBezTo>
                <a:cubicBezTo>
                  <a:pt x="338" y="101"/>
                  <a:pt x="335" y="56"/>
                  <a:pt x="318" y="42"/>
                </a:cubicBezTo>
                <a:cubicBezTo>
                  <a:pt x="300" y="27"/>
                  <a:pt x="318" y="0"/>
                  <a:pt x="318" y="0"/>
                </a:cubicBezTo>
                <a:cubicBezTo>
                  <a:pt x="643" y="0"/>
                  <a:pt x="643" y="0"/>
                  <a:pt x="643" y="0"/>
                </a:cubicBezTo>
                <a:cubicBezTo>
                  <a:pt x="643" y="361"/>
                  <a:pt x="643" y="361"/>
                  <a:pt x="643" y="361"/>
                </a:cubicBezTo>
                <a:cubicBezTo>
                  <a:pt x="643" y="361"/>
                  <a:pt x="643" y="394"/>
                  <a:pt x="610" y="372"/>
                </a:cubicBezTo>
                <a:cubicBezTo>
                  <a:pt x="577" y="350"/>
                  <a:pt x="541" y="361"/>
                  <a:pt x="541" y="410"/>
                </a:cubicBezTo>
                <a:close/>
              </a:path>
            </a:pathLst>
          </a:custGeom>
          <a:solidFill>
            <a:schemeClr val="bg1">
              <a:alpha val="98000"/>
            </a:schemeClr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14EF6CD3-8BF4-427B-A26A-36E8F767269D}"/>
              </a:ext>
            </a:extLst>
          </p:cNvPr>
          <p:cNvSpPr>
            <a:spLocks/>
          </p:cNvSpPr>
          <p:nvPr/>
        </p:nvSpPr>
        <p:spPr bwMode="auto">
          <a:xfrm flipH="1">
            <a:off x="3152689" y="1041052"/>
            <a:ext cx="1717384" cy="2491247"/>
          </a:xfrm>
          <a:custGeom>
            <a:avLst/>
            <a:gdLst>
              <a:gd name="T0" fmla="*/ 425 w 527"/>
              <a:gd name="T1" fmla="*/ 324 h 766"/>
              <a:gd name="T2" fmla="*/ 485 w 527"/>
              <a:gd name="T3" fmla="*/ 353 h 766"/>
              <a:gd name="T4" fmla="*/ 527 w 527"/>
              <a:gd name="T5" fmla="*/ 353 h 766"/>
              <a:gd name="T6" fmla="*/ 527 w 527"/>
              <a:gd name="T7" fmla="*/ 665 h 766"/>
              <a:gd name="T8" fmla="*/ 202 w 527"/>
              <a:gd name="T9" fmla="*/ 665 h 766"/>
              <a:gd name="T10" fmla="*/ 202 w 527"/>
              <a:gd name="T11" fmla="*/ 707 h 766"/>
              <a:gd name="T12" fmla="*/ 172 w 527"/>
              <a:gd name="T13" fmla="*/ 766 h 766"/>
              <a:gd name="T14" fmla="*/ 134 w 527"/>
              <a:gd name="T15" fmla="*/ 698 h 766"/>
              <a:gd name="T16" fmla="*/ 123 w 527"/>
              <a:gd name="T17" fmla="*/ 665 h 766"/>
              <a:gd name="T18" fmla="*/ 28 w 527"/>
              <a:gd name="T19" fmla="*/ 665 h 766"/>
              <a:gd name="T20" fmla="*/ 18 w 527"/>
              <a:gd name="T21" fmla="*/ 569 h 766"/>
              <a:gd name="T22" fmla="*/ 112 w 527"/>
              <a:gd name="T23" fmla="*/ 305 h 766"/>
              <a:gd name="T24" fmla="*/ 42 w 527"/>
              <a:gd name="T25" fmla="*/ 275 h 766"/>
              <a:gd name="T26" fmla="*/ 62 w 527"/>
              <a:gd name="T27" fmla="*/ 233 h 766"/>
              <a:gd name="T28" fmla="*/ 14 w 527"/>
              <a:gd name="T29" fmla="*/ 247 h 766"/>
              <a:gd name="T30" fmla="*/ 50 w 527"/>
              <a:gd name="T31" fmla="*/ 207 h 766"/>
              <a:gd name="T32" fmla="*/ 46 w 527"/>
              <a:gd name="T33" fmla="*/ 191 h 766"/>
              <a:gd name="T34" fmla="*/ 20 w 527"/>
              <a:gd name="T35" fmla="*/ 173 h 766"/>
              <a:gd name="T36" fmla="*/ 382 w 527"/>
              <a:gd name="T37" fmla="*/ 21 h 766"/>
              <a:gd name="T38" fmla="*/ 527 w 527"/>
              <a:gd name="T39" fmla="*/ 0 h 766"/>
              <a:gd name="T40" fmla="*/ 527 w 527"/>
              <a:gd name="T41" fmla="*/ 275 h 766"/>
              <a:gd name="T42" fmla="*/ 494 w 527"/>
              <a:gd name="T43" fmla="*/ 285 h 766"/>
              <a:gd name="T44" fmla="*/ 425 w 527"/>
              <a:gd name="T45" fmla="*/ 324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27" h="766">
                <a:moveTo>
                  <a:pt x="425" y="324"/>
                </a:moveTo>
                <a:cubicBezTo>
                  <a:pt x="425" y="373"/>
                  <a:pt x="470" y="371"/>
                  <a:pt x="485" y="353"/>
                </a:cubicBezTo>
                <a:cubicBezTo>
                  <a:pt x="499" y="336"/>
                  <a:pt x="527" y="353"/>
                  <a:pt x="527" y="353"/>
                </a:cubicBezTo>
                <a:cubicBezTo>
                  <a:pt x="527" y="665"/>
                  <a:pt x="527" y="665"/>
                  <a:pt x="527" y="665"/>
                </a:cubicBezTo>
                <a:cubicBezTo>
                  <a:pt x="202" y="665"/>
                  <a:pt x="202" y="665"/>
                  <a:pt x="202" y="665"/>
                </a:cubicBezTo>
                <a:cubicBezTo>
                  <a:pt x="202" y="665"/>
                  <a:pt x="184" y="692"/>
                  <a:pt x="202" y="707"/>
                </a:cubicBezTo>
                <a:cubicBezTo>
                  <a:pt x="219" y="721"/>
                  <a:pt x="222" y="766"/>
                  <a:pt x="172" y="766"/>
                </a:cubicBezTo>
                <a:cubicBezTo>
                  <a:pt x="123" y="766"/>
                  <a:pt x="112" y="731"/>
                  <a:pt x="134" y="698"/>
                </a:cubicBezTo>
                <a:cubicBezTo>
                  <a:pt x="156" y="665"/>
                  <a:pt x="123" y="665"/>
                  <a:pt x="123" y="665"/>
                </a:cubicBezTo>
                <a:cubicBezTo>
                  <a:pt x="28" y="665"/>
                  <a:pt x="28" y="665"/>
                  <a:pt x="28" y="665"/>
                </a:cubicBezTo>
                <a:cubicBezTo>
                  <a:pt x="28" y="643"/>
                  <a:pt x="25" y="614"/>
                  <a:pt x="18" y="569"/>
                </a:cubicBezTo>
                <a:cubicBezTo>
                  <a:pt x="0" y="449"/>
                  <a:pt x="112" y="305"/>
                  <a:pt x="112" y="305"/>
                </a:cubicBezTo>
                <a:cubicBezTo>
                  <a:pt x="90" y="267"/>
                  <a:pt x="48" y="275"/>
                  <a:pt x="42" y="275"/>
                </a:cubicBezTo>
                <a:cubicBezTo>
                  <a:pt x="36" y="275"/>
                  <a:pt x="60" y="253"/>
                  <a:pt x="62" y="233"/>
                </a:cubicBezTo>
                <a:cubicBezTo>
                  <a:pt x="64" y="213"/>
                  <a:pt x="14" y="259"/>
                  <a:pt x="14" y="247"/>
                </a:cubicBezTo>
                <a:cubicBezTo>
                  <a:pt x="14" y="235"/>
                  <a:pt x="50" y="207"/>
                  <a:pt x="50" y="207"/>
                </a:cubicBezTo>
                <a:cubicBezTo>
                  <a:pt x="50" y="207"/>
                  <a:pt x="16" y="201"/>
                  <a:pt x="46" y="191"/>
                </a:cubicBezTo>
                <a:cubicBezTo>
                  <a:pt x="76" y="181"/>
                  <a:pt x="20" y="173"/>
                  <a:pt x="20" y="173"/>
                </a:cubicBezTo>
                <a:cubicBezTo>
                  <a:pt x="82" y="111"/>
                  <a:pt x="382" y="21"/>
                  <a:pt x="382" y="21"/>
                </a:cubicBezTo>
                <a:cubicBezTo>
                  <a:pt x="433" y="9"/>
                  <a:pt x="481" y="2"/>
                  <a:pt x="527" y="0"/>
                </a:cubicBezTo>
                <a:cubicBezTo>
                  <a:pt x="527" y="275"/>
                  <a:pt x="527" y="275"/>
                  <a:pt x="527" y="275"/>
                </a:cubicBezTo>
                <a:cubicBezTo>
                  <a:pt x="527" y="275"/>
                  <a:pt x="527" y="307"/>
                  <a:pt x="494" y="285"/>
                </a:cubicBezTo>
                <a:cubicBezTo>
                  <a:pt x="461" y="263"/>
                  <a:pt x="425" y="274"/>
                  <a:pt x="425" y="32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blurRad="304800" dir="10800000">
              <a:prstClr val="black">
                <a:alpha val="18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52F19FE0-8806-44C9-999D-9D36C728F035}"/>
              </a:ext>
            </a:extLst>
          </p:cNvPr>
          <p:cNvSpPr>
            <a:spLocks/>
          </p:cNvSpPr>
          <p:nvPr/>
        </p:nvSpPr>
        <p:spPr bwMode="auto">
          <a:xfrm flipH="1">
            <a:off x="1220631" y="2872697"/>
            <a:ext cx="2264454" cy="2835762"/>
          </a:xfrm>
          <a:custGeom>
            <a:avLst/>
            <a:gdLst>
              <a:gd name="T0" fmla="*/ 560 w 695"/>
              <a:gd name="T1" fmla="*/ 631 h 872"/>
              <a:gd name="T2" fmla="*/ 102 w 695"/>
              <a:gd name="T3" fmla="*/ 872 h 872"/>
              <a:gd name="T4" fmla="*/ 102 w 695"/>
              <a:gd name="T5" fmla="*/ 541 h 872"/>
              <a:gd name="T6" fmla="*/ 60 w 695"/>
              <a:gd name="T7" fmla="*/ 541 h 872"/>
              <a:gd name="T8" fmla="*/ 0 w 695"/>
              <a:gd name="T9" fmla="*/ 512 h 872"/>
              <a:gd name="T10" fmla="*/ 69 w 695"/>
              <a:gd name="T11" fmla="*/ 474 h 872"/>
              <a:gd name="T12" fmla="*/ 102 w 695"/>
              <a:gd name="T13" fmla="*/ 463 h 872"/>
              <a:gd name="T14" fmla="*/ 102 w 695"/>
              <a:gd name="T15" fmla="*/ 102 h 872"/>
              <a:gd name="T16" fmla="*/ 347 w 695"/>
              <a:gd name="T17" fmla="*/ 102 h 872"/>
              <a:gd name="T18" fmla="*/ 347 w 695"/>
              <a:gd name="T19" fmla="*/ 59 h 872"/>
              <a:gd name="T20" fmla="*/ 377 w 695"/>
              <a:gd name="T21" fmla="*/ 0 h 872"/>
              <a:gd name="T22" fmla="*/ 415 w 695"/>
              <a:gd name="T23" fmla="*/ 69 h 872"/>
              <a:gd name="T24" fmla="*/ 426 w 695"/>
              <a:gd name="T25" fmla="*/ 102 h 872"/>
              <a:gd name="T26" fmla="*/ 695 w 695"/>
              <a:gd name="T27" fmla="*/ 102 h 872"/>
              <a:gd name="T28" fmla="*/ 533 w 695"/>
              <a:gd name="T29" fmla="*/ 518 h 872"/>
              <a:gd name="T30" fmla="*/ 531 w 695"/>
              <a:gd name="T31" fmla="*/ 590 h 872"/>
              <a:gd name="T32" fmla="*/ 533 w 695"/>
              <a:gd name="T33" fmla="*/ 628 h 872"/>
              <a:gd name="T34" fmla="*/ 560 w 695"/>
              <a:gd name="T35" fmla="*/ 631 h 8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95" h="872">
                <a:moveTo>
                  <a:pt x="560" y="631"/>
                </a:moveTo>
                <a:cubicBezTo>
                  <a:pt x="102" y="872"/>
                  <a:pt x="102" y="872"/>
                  <a:pt x="102" y="872"/>
                </a:cubicBezTo>
                <a:cubicBezTo>
                  <a:pt x="102" y="541"/>
                  <a:pt x="102" y="541"/>
                  <a:pt x="102" y="541"/>
                </a:cubicBezTo>
                <a:cubicBezTo>
                  <a:pt x="102" y="541"/>
                  <a:pt x="74" y="524"/>
                  <a:pt x="60" y="541"/>
                </a:cubicBezTo>
                <a:cubicBezTo>
                  <a:pt x="45" y="559"/>
                  <a:pt x="0" y="562"/>
                  <a:pt x="0" y="512"/>
                </a:cubicBezTo>
                <a:cubicBezTo>
                  <a:pt x="0" y="463"/>
                  <a:pt x="36" y="452"/>
                  <a:pt x="69" y="474"/>
                </a:cubicBezTo>
                <a:cubicBezTo>
                  <a:pt x="102" y="496"/>
                  <a:pt x="102" y="463"/>
                  <a:pt x="102" y="463"/>
                </a:cubicBezTo>
                <a:cubicBezTo>
                  <a:pt x="102" y="102"/>
                  <a:pt x="102" y="102"/>
                  <a:pt x="102" y="102"/>
                </a:cubicBezTo>
                <a:cubicBezTo>
                  <a:pt x="347" y="102"/>
                  <a:pt x="347" y="102"/>
                  <a:pt x="347" y="102"/>
                </a:cubicBezTo>
                <a:cubicBezTo>
                  <a:pt x="347" y="102"/>
                  <a:pt x="365" y="74"/>
                  <a:pt x="347" y="59"/>
                </a:cubicBezTo>
                <a:cubicBezTo>
                  <a:pt x="330" y="45"/>
                  <a:pt x="327" y="0"/>
                  <a:pt x="377" y="0"/>
                </a:cubicBezTo>
                <a:cubicBezTo>
                  <a:pt x="426" y="0"/>
                  <a:pt x="437" y="35"/>
                  <a:pt x="415" y="69"/>
                </a:cubicBezTo>
                <a:cubicBezTo>
                  <a:pt x="393" y="102"/>
                  <a:pt x="426" y="102"/>
                  <a:pt x="426" y="102"/>
                </a:cubicBezTo>
                <a:cubicBezTo>
                  <a:pt x="695" y="102"/>
                  <a:pt x="695" y="102"/>
                  <a:pt x="695" y="102"/>
                </a:cubicBezTo>
                <a:cubicBezTo>
                  <a:pt x="657" y="330"/>
                  <a:pt x="523" y="491"/>
                  <a:pt x="533" y="518"/>
                </a:cubicBezTo>
                <a:cubicBezTo>
                  <a:pt x="545" y="550"/>
                  <a:pt x="537" y="580"/>
                  <a:pt x="531" y="590"/>
                </a:cubicBezTo>
                <a:cubicBezTo>
                  <a:pt x="525" y="600"/>
                  <a:pt x="517" y="612"/>
                  <a:pt x="533" y="628"/>
                </a:cubicBezTo>
                <a:cubicBezTo>
                  <a:pt x="540" y="635"/>
                  <a:pt x="550" y="634"/>
                  <a:pt x="560" y="6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  <a:effectLst>
            <a:innerShdw blurRad="63500" dist="50800" dir="8100000">
              <a:prstClr val="black">
                <a:alpha val="7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E62FC0-D5A0-4F99-BB10-F4CB42683079}"/>
              </a:ext>
            </a:extLst>
          </p:cNvPr>
          <p:cNvSpPr txBox="1"/>
          <p:nvPr/>
        </p:nvSpPr>
        <p:spPr>
          <a:xfrm>
            <a:off x="6067204" y="528806"/>
            <a:ext cx="4819650" cy="15561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r>
              <a:rPr lang="id-ID" sz="4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DER STRATEGY FOR THE COMPANY</a:t>
            </a:r>
            <a:endParaRPr lang="en-US" sz="4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32FC8A0-611B-4EE5-A6C2-6C1611E928EB}"/>
              </a:ext>
            </a:extLst>
          </p:cNvPr>
          <p:cNvSpPr txBox="1"/>
          <p:nvPr/>
        </p:nvSpPr>
        <p:spPr>
          <a:xfrm>
            <a:off x="3526961" y="2289081"/>
            <a:ext cx="968840" cy="3066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id-ID" sz="2000" b="1" dirty="0">
                <a:solidFill>
                  <a:srgbClr val="38116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ion</a:t>
            </a:r>
            <a:endParaRPr lang="en-US" sz="2000" b="1" dirty="0">
              <a:solidFill>
                <a:srgbClr val="38116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4FB2474-D16D-4E51-A521-DA8816D7F5EF}"/>
              </a:ext>
            </a:extLst>
          </p:cNvPr>
          <p:cNvSpPr txBox="1"/>
          <p:nvPr/>
        </p:nvSpPr>
        <p:spPr>
          <a:xfrm>
            <a:off x="1868438" y="2289081"/>
            <a:ext cx="968840" cy="3066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id-ID" sz="2000" b="1" dirty="0">
                <a:solidFill>
                  <a:srgbClr val="38116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ssion</a:t>
            </a:r>
            <a:endParaRPr lang="en-US" sz="2000" b="1" dirty="0">
              <a:solidFill>
                <a:srgbClr val="38116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C392F6-D263-4C94-907B-1174E84288F9}"/>
              </a:ext>
            </a:extLst>
          </p:cNvPr>
          <p:cNvSpPr txBox="1"/>
          <p:nvPr/>
        </p:nvSpPr>
        <p:spPr>
          <a:xfrm>
            <a:off x="3317046" y="3965506"/>
            <a:ext cx="1388670" cy="3066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id-ID" sz="2000" b="1" dirty="0">
                <a:solidFill>
                  <a:srgbClr val="38116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ategy</a:t>
            </a:r>
            <a:endParaRPr lang="en-US" sz="2000" b="1" dirty="0">
              <a:solidFill>
                <a:srgbClr val="38116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7874673-F970-468C-9A67-B63D9D35B382}"/>
              </a:ext>
            </a:extLst>
          </p:cNvPr>
          <p:cNvSpPr txBox="1"/>
          <p:nvPr/>
        </p:nvSpPr>
        <p:spPr>
          <a:xfrm>
            <a:off x="1868438" y="3965506"/>
            <a:ext cx="968840" cy="3066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id-ID" sz="2000" b="1" dirty="0">
                <a:solidFill>
                  <a:srgbClr val="38116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al</a:t>
            </a:r>
            <a:endParaRPr lang="en-US" sz="2000" b="1" dirty="0">
              <a:solidFill>
                <a:srgbClr val="38116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8825ED0-AD69-4809-919E-52334CDC1160}"/>
              </a:ext>
            </a:extLst>
          </p:cNvPr>
          <p:cNvGrpSpPr/>
          <p:nvPr/>
        </p:nvGrpSpPr>
        <p:grpSpPr>
          <a:xfrm>
            <a:off x="6967781" y="2131741"/>
            <a:ext cx="2961704" cy="4023968"/>
            <a:chOff x="6967781" y="2131741"/>
            <a:chExt cx="2961704" cy="4023968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B51E376-A576-44D4-9B8D-F234C67ECB8A}"/>
                </a:ext>
              </a:extLst>
            </p:cNvPr>
            <p:cNvGrpSpPr/>
            <p:nvPr/>
          </p:nvGrpSpPr>
          <p:grpSpPr>
            <a:xfrm>
              <a:off x="6978016" y="2131741"/>
              <a:ext cx="2951469" cy="738663"/>
              <a:chOff x="6067204" y="2872697"/>
              <a:chExt cx="2293921" cy="738663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528A5DE-A20B-44A9-8FCD-E65FEBCBBE4D}"/>
                  </a:ext>
                </a:extLst>
              </p:cNvPr>
              <p:cNvSpPr txBox="1"/>
              <p:nvPr/>
            </p:nvSpPr>
            <p:spPr>
              <a:xfrm>
                <a:off x="6067204" y="2872697"/>
                <a:ext cx="187682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id-ID" sz="1600" b="1" dirty="0">
                    <a:solidFill>
                      <a:schemeClr val="bg1">
                        <a:lumMod val="9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Vision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1EF5CAA-478F-4D46-AE8D-47A88100BCB2}"/>
                  </a:ext>
                </a:extLst>
              </p:cNvPr>
              <p:cNvSpPr txBox="1"/>
              <p:nvPr/>
            </p:nvSpPr>
            <p:spPr>
              <a:xfrm>
                <a:off x="6067204" y="3272806"/>
                <a:ext cx="229392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en-US" sz="1200" dirty="0">
                    <a:solidFill>
                      <a:schemeClr val="bg1">
                        <a:lumMod val="95000"/>
                      </a:schemeClr>
                    </a:solidFill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400" dirty="0">
                  <a:solidFill>
                    <a:schemeClr val="bg1">
                      <a:lumMod val="95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1DCBF75E-D0A5-4B56-BC97-86E97018994B}"/>
                </a:ext>
              </a:extLst>
            </p:cNvPr>
            <p:cNvGrpSpPr/>
            <p:nvPr/>
          </p:nvGrpSpPr>
          <p:grpSpPr>
            <a:xfrm>
              <a:off x="6978016" y="3226843"/>
              <a:ext cx="2951469" cy="738663"/>
              <a:chOff x="6067204" y="2872697"/>
              <a:chExt cx="2293921" cy="738663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8175FB18-CDB7-4A2B-BFD1-D8316FDDD819}"/>
                  </a:ext>
                </a:extLst>
              </p:cNvPr>
              <p:cNvSpPr txBox="1"/>
              <p:nvPr/>
            </p:nvSpPr>
            <p:spPr>
              <a:xfrm>
                <a:off x="6067204" y="2872697"/>
                <a:ext cx="187682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id-ID" sz="1600" b="1" dirty="0">
                    <a:solidFill>
                      <a:schemeClr val="bg1">
                        <a:lumMod val="9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ission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FC06B96C-CF38-4764-B13B-0FFA7E84DBE7}"/>
                  </a:ext>
                </a:extLst>
              </p:cNvPr>
              <p:cNvSpPr txBox="1"/>
              <p:nvPr/>
            </p:nvSpPr>
            <p:spPr>
              <a:xfrm>
                <a:off x="6067204" y="3272806"/>
                <a:ext cx="229392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en-US" sz="1200" dirty="0">
                    <a:solidFill>
                      <a:schemeClr val="bg1">
                        <a:lumMod val="95000"/>
                      </a:schemeClr>
                    </a:solidFill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400" dirty="0">
                  <a:solidFill>
                    <a:schemeClr val="bg1">
                      <a:lumMod val="95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60F7E081-877A-44FB-98ED-04312874C028}"/>
                </a:ext>
              </a:extLst>
            </p:cNvPr>
            <p:cNvGrpSpPr/>
            <p:nvPr/>
          </p:nvGrpSpPr>
          <p:grpSpPr>
            <a:xfrm>
              <a:off x="6978016" y="4321945"/>
              <a:ext cx="2951469" cy="738663"/>
              <a:chOff x="6067204" y="2872697"/>
              <a:chExt cx="2293921" cy="738663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33EA30AE-7B8E-460F-BE20-FE4F111C821E}"/>
                  </a:ext>
                </a:extLst>
              </p:cNvPr>
              <p:cNvSpPr txBox="1"/>
              <p:nvPr/>
            </p:nvSpPr>
            <p:spPr>
              <a:xfrm>
                <a:off x="6067204" y="2872697"/>
                <a:ext cx="187682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id-ID" sz="1600" b="1" dirty="0">
                    <a:solidFill>
                      <a:schemeClr val="bg1">
                        <a:lumMod val="9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Strategy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0D6D7A9B-B6E9-4ED7-8D3D-0D94E284A992}"/>
                  </a:ext>
                </a:extLst>
              </p:cNvPr>
              <p:cNvSpPr txBox="1"/>
              <p:nvPr/>
            </p:nvSpPr>
            <p:spPr>
              <a:xfrm>
                <a:off x="6067204" y="3272806"/>
                <a:ext cx="229392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en-US" sz="1200" dirty="0">
                    <a:solidFill>
                      <a:schemeClr val="bg1">
                        <a:lumMod val="95000"/>
                      </a:schemeClr>
                    </a:solidFill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400" dirty="0">
                  <a:solidFill>
                    <a:schemeClr val="bg1">
                      <a:lumMod val="95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FC7D8C9D-02A6-4805-AF2D-8D47FFCD1A9C}"/>
                </a:ext>
              </a:extLst>
            </p:cNvPr>
            <p:cNvGrpSpPr/>
            <p:nvPr/>
          </p:nvGrpSpPr>
          <p:grpSpPr>
            <a:xfrm>
              <a:off x="6967781" y="5417046"/>
              <a:ext cx="2951469" cy="738663"/>
              <a:chOff x="6067204" y="2872697"/>
              <a:chExt cx="2293921" cy="738663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2D78D611-5F00-49BD-9630-1F0815C3103A}"/>
                  </a:ext>
                </a:extLst>
              </p:cNvPr>
              <p:cNvSpPr txBox="1"/>
              <p:nvPr/>
            </p:nvSpPr>
            <p:spPr>
              <a:xfrm>
                <a:off x="6067204" y="2872697"/>
                <a:ext cx="187682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id-ID" sz="1600" b="1" dirty="0">
                    <a:solidFill>
                      <a:schemeClr val="bg1">
                        <a:lumMod val="9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Goal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D514ABF-0B7A-4E0F-8D5F-A7CDCD79CF2E}"/>
                  </a:ext>
                </a:extLst>
              </p:cNvPr>
              <p:cNvSpPr txBox="1"/>
              <p:nvPr/>
            </p:nvSpPr>
            <p:spPr>
              <a:xfrm>
                <a:off x="6067204" y="3272806"/>
                <a:ext cx="229392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r>
                  <a:rPr lang="en-US" sz="1200" dirty="0">
                    <a:solidFill>
                      <a:schemeClr val="bg1">
                        <a:lumMod val="95000"/>
                      </a:schemeClr>
                    </a:solidFill>
                    <a:cs typeface="Arial" panose="020B0604020202020204" pitchFamily="34" charset="0"/>
                  </a:rPr>
                  <a:t>Lorem Ipsum is simply dummy text of the printing and typesetting industry. </a:t>
                </a:r>
                <a:endParaRPr lang="en-US" sz="2400" dirty="0">
                  <a:solidFill>
                    <a:schemeClr val="bg1">
                      <a:lumMod val="95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7" name="Freeform 22">
            <a:extLst>
              <a:ext uri="{FF2B5EF4-FFF2-40B4-BE49-F238E27FC236}">
                <a16:creationId xmlns:a16="http://schemas.microsoft.com/office/drawing/2014/main" id="{9747CDF0-93D8-4DCE-9C1F-EB7EE43C43C1}"/>
              </a:ext>
            </a:extLst>
          </p:cNvPr>
          <p:cNvSpPr>
            <a:spLocks/>
          </p:cNvSpPr>
          <p:nvPr/>
        </p:nvSpPr>
        <p:spPr bwMode="auto">
          <a:xfrm>
            <a:off x="6106235" y="2263289"/>
            <a:ext cx="599365" cy="580148"/>
          </a:xfrm>
          <a:custGeom>
            <a:avLst/>
            <a:gdLst>
              <a:gd name="T0" fmla="*/ 0 w 346"/>
              <a:gd name="T1" fmla="*/ 272 h 335"/>
              <a:gd name="T2" fmla="*/ 0 w 346"/>
              <a:gd name="T3" fmla="*/ 0 h 335"/>
              <a:gd name="T4" fmla="*/ 346 w 346"/>
              <a:gd name="T5" fmla="*/ 0 h 335"/>
              <a:gd name="T6" fmla="*/ 346 w 346"/>
              <a:gd name="T7" fmla="*/ 272 h 335"/>
              <a:gd name="T8" fmla="*/ 275 w 346"/>
              <a:gd name="T9" fmla="*/ 324 h 335"/>
              <a:gd name="T10" fmla="*/ 190 w 346"/>
              <a:gd name="T11" fmla="*/ 296 h 335"/>
              <a:gd name="T12" fmla="*/ 156 w 346"/>
              <a:gd name="T13" fmla="*/ 296 h 335"/>
              <a:gd name="T14" fmla="*/ 71 w 346"/>
              <a:gd name="T15" fmla="*/ 324 h 335"/>
              <a:gd name="T16" fmla="*/ 0 w 346"/>
              <a:gd name="T17" fmla="*/ 272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6" h="335">
                <a:moveTo>
                  <a:pt x="0" y="272"/>
                </a:moveTo>
                <a:cubicBezTo>
                  <a:pt x="0" y="0"/>
                  <a:pt x="0" y="0"/>
                  <a:pt x="0" y="0"/>
                </a:cubicBezTo>
                <a:cubicBezTo>
                  <a:pt x="346" y="0"/>
                  <a:pt x="346" y="0"/>
                  <a:pt x="346" y="0"/>
                </a:cubicBezTo>
                <a:cubicBezTo>
                  <a:pt x="346" y="272"/>
                  <a:pt x="346" y="272"/>
                  <a:pt x="346" y="272"/>
                </a:cubicBezTo>
                <a:cubicBezTo>
                  <a:pt x="346" y="309"/>
                  <a:pt x="310" y="335"/>
                  <a:pt x="275" y="324"/>
                </a:cubicBezTo>
                <a:cubicBezTo>
                  <a:pt x="190" y="296"/>
                  <a:pt x="190" y="296"/>
                  <a:pt x="190" y="296"/>
                </a:cubicBezTo>
                <a:cubicBezTo>
                  <a:pt x="179" y="293"/>
                  <a:pt x="167" y="293"/>
                  <a:pt x="156" y="296"/>
                </a:cubicBezTo>
                <a:cubicBezTo>
                  <a:pt x="71" y="324"/>
                  <a:pt x="71" y="324"/>
                  <a:pt x="71" y="324"/>
                </a:cubicBezTo>
                <a:cubicBezTo>
                  <a:pt x="35" y="335"/>
                  <a:pt x="0" y="309"/>
                  <a:pt x="0" y="272"/>
                </a:cubicBezTo>
                <a:close/>
              </a:path>
            </a:pathLst>
          </a:custGeom>
          <a:solidFill>
            <a:srgbClr val="3811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48" name="Freeform 22">
            <a:extLst>
              <a:ext uri="{FF2B5EF4-FFF2-40B4-BE49-F238E27FC236}">
                <a16:creationId xmlns:a16="http://schemas.microsoft.com/office/drawing/2014/main" id="{058FECA3-28C2-4419-8204-2751891FE7D2}"/>
              </a:ext>
            </a:extLst>
          </p:cNvPr>
          <p:cNvSpPr>
            <a:spLocks/>
          </p:cNvSpPr>
          <p:nvPr/>
        </p:nvSpPr>
        <p:spPr bwMode="auto">
          <a:xfrm>
            <a:off x="6106235" y="3374442"/>
            <a:ext cx="599365" cy="580148"/>
          </a:xfrm>
          <a:custGeom>
            <a:avLst/>
            <a:gdLst>
              <a:gd name="T0" fmla="*/ 0 w 346"/>
              <a:gd name="T1" fmla="*/ 272 h 335"/>
              <a:gd name="T2" fmla="*/ 0 w 346"/>
              <a:gd name="T3" fmla="*/ 0 h 335"/>
              <a:gd name="T4" fmla="*/ 346 w 346"/>
              <a:gd name="T5" fmla="*/ 0 h 335"/>
              <a:gd name="T6" fmla="*/ 346 w 346"/>
              <a:gd name="T7" fmla="*/ 272 h 335"/>
              <a:gd name="T8" fmla="*/ 275 w 346"/>
              <a:gd name="T9" fmla="*/ 324 h 335"/>
              <a:gd name="T10" fmla="*/ 190 w 346"/>
              <a:gd name="T11" fmla="*/ 296 h 335"/>
              <a:gd name="T12" fmla="*/ 156 w 346"/>
              <a:gd name="T13" fmla="*/ 296 h 335"/>
              <a:gd name="T14" fmla="*/ 71 w 346"/>
              <a:gd name="T15" fmla="*/ 324 h 335"/>
              <a:gd name="T16" fmla="*/ 0 w 346"/>
              <a:gd name="T17" fmla="*/ 272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6" h="335">
                <a:moveTo>
                  <a:pt x="0" y="272"/>
                </a:moveTo>
                <a:cubicBezTo>
                  <a:pt x="0" y="0"/>
                  <a:pt x="0" y="0"/>
                  <a:pt x="0" y="0"/>
                </a:cubicBezTo>
                <a:cubicBezTo>
                  <a:pt x="346" y="0"/>
                  <a:pt x="346" y="0"/>
                  <a:pt x="346" y="0"/>
                </a:cubicBezTo>
                <a:cubicBezTo>
                  <a:pt x="346" y="272"/>
                  <a:pt x="346" y="272"/>
                  <a:pt x="346" y="272"/>
                </a:cubicBezTo>
                <a:cubicBezTo>
                  <a:pt x="346" y="309"/>
                  <a:pt x="310" y="335"/>
                  <a:pt x="275" y="324"/>
                </a:cubicBezTo>
                <a:cubicBezTo>
                  <a:pt x="190" y="296"/>
                  <a:pt x="190" y="296"/>
                  <a:pt x="190" y="296"/>
                </a:cubicBezTo>
                <a:cubicBezTo>
                  <a:pt x="179" y="293"/>
                  <a:pt x="167" y="293"/>
                  <a:pt x="156" y="296"/>
                </a:cubicBezTo>
                <a:cubicBezTo>
                  <a:pt x="71" y="324"/>
                  <a:pt x="71" y="324"/>
                  <a:pt x="71" y="324"/>
                </a:cubicBezTo>
                <a:cubicBezTo>
                  <a:pt x="35" y="335"/>
                  <a:pt x="0" y="309"/>
                  <a:pt x="0" y="272"/>
                </a:cubicBezTo>
                <a:close/>
              </a:path>
            </a:pathLst>
          </a:custGeom>
          <a:solidFill>
            <a:srgbClr val="38116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Freeform 22">
            <a:extLst>
              <a:ext uri="{FF2B5EF4-FFF2-40B4-BE49-F238E27FC236}">
                <a16:creationId xmlns:a16="http://schemas.microsoft.com/office/drawing/2014/main" id="{06C7A416-8AAB-447A-92B8-AFCD49B623C1}"/>
              </a:ext>
            </a:extLst>
          </p:cNvPr>
          <p:cNvSpPr>
            <a:spLocks/>
          </p:cNvSpPr>
          <p:nvPr/>
        </p:nvSpPr>
        <p:spPr bwMode="auto">
          <a:xfrm>
            <a:off x="6106235" y="4485595"/>
            <a:ext cx="599365" cy="580148"/>
          </a:xfrm>
          <a:custGeom>
            <a:avLst/>
            <a:gdLst>
              <a:gd name="T0" fmla="*/ 0 w 346"/>
              <a:gd name="T1" fmla="*/ 272 h 335"/>
              <a:gd name="T2" fmla="*/ 0 w 346"/>
              <a:gd name="T3" fmla="*/ 0 h 335"/>
              <a:gd name="T4" fmla="*/ 346 w 346"/>
              <a:gd name="T5" fmla="*/ 0 h 335"/>
              <a:gd name="T6" fmla="*/ 346 w 346"/>
              <a:gd name="T7" fmla="*/ 272 h 335"/>
              <a:gd name="T8" fmla="*/ 275 w 346"/>
              <a:gd name="T9" fmla="*/ 324 h 335"/>
              <a:gd name="T10" fmla="*/ 190 w 346"/>
              <a:gd name="T11" fmla="*/ 296 h 335"/>
              <a:gd name="T12" fmla="*/ 156 w 346"/>
              <a:gd name="T13" fmla="*/ 296 h 335"/>
              <a:gd name="T14" fmla="*/ 71 w 346"/>
              <a:gd name="T15" fmla="*/ 324 h 335"/>
              <a:gd name="T16" fmla="*/ 0 w 346"/>
              <a:gd name="T17" fmla="*/ 272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6" h="335">
                <a:moveTo>
                  <a:pt x="0" y="272"/>
                </a:moveTo>
                <a:cubicBezTo>
                  <a:pt x="0" y="0"/>
                  <a:pt x="0" y="0"/>
                  <a:pt x="0" y="0"/>
                </a:cubicBezTo>
                <a:cubicBezTo>
                  <a:pt x="346" y="0"/>
                  <a:pt x="346" y="0"/>
                  <a:pt x="346" y="0"/>
                </a:cubicBezTo>
                <a:cubicBezTo>
                  <a:pt x="346" y="272"/>
                  <a:pt x="346" y="272"/>
                  <a:pt x="346" y="272"/>
                </a:cubicBezTo>
                <a:cubicBezTo>
                  <a:pt x="346" y="309"/>
                  <a:pt x="310" y="335"/>
                  <a:pt x="275" y="324"/>
                </a:cubicBezTo>
                <a:cubicBezTo>
                  <a:pt x="190" y="296"/>
                  <a:pt x="190" y="296"/>
                  <a:pt x="190" y="296"/>
                </a:cubicBezTo>
                <a:cubicBezTo>
                  <a:pt x="179" y="293"/>
                  <a:pt x="167" y="293"/>
                  <a:pt x="156" y="296"/>
                </a:cubicBezTo>
                <a:cubicBezTo>
                  <a:pt x="71" y="324"/>
                  <a:pt x="71" y="324"/>
                  <a:pt x="71" y="324"/>
                </a:cubicBezTo>
                <a:cubicBezTo>
                  <a:pt x="35" y="335"/>
                  <a:pt x="0" y="309"/>
                  <a:pt x="0" y="272"/>
                </a:cubicBezTo>
                <a:close/>
              </a:path>
            </a:pathLst>
          </a:custGeom>
          <a:solidFill>
            <a:srgbClr val="38116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0" name="Freeform 22">
            <a:extLst>
              <a:ext uri="{FF2B5EF4-FFF2-40B4-BE49-F238E27FC236}">
                <a16:creationId xmlns:a16="http://schemas.microsoft.com/office/drawing/2014/main" id="{459F97BC-DDDD-4B5F-885D-E61847B4F022}"/>
              </a:ext>
            </a:extLst>
          </p:cNvPr>
          <p:cNvSpPr>
            <a:spLocks/>
          </p:cNvSpPr>
          <p:nvPr/>
        </p:nvSpPr>
        <p:spPr bwMode="auto">
          <a:xfrm>
            <a:off x="6106235" y="5520758"/>
            <a:ext cx="599365" cy="580148"/>
          </a:xfrm>
          <a:custGeom>
            <a:avLst/>
            <a:gdLst>
              <a:gd name="T0" fmla="*/ 0 w 346"/>
              <a:gd name="T1" fmla="*/ 272 h 335"/>
              <a:gd name="T2" fmla="*/ 0 w 346"/>
              <a:gd name="T3" fmla="*/ 0 h 335"/>
              <a:gd name="T4" fmla="*/ 346 w 346"/>
              <a:gd name="T5" fmla="*/ 0 h 335"/>
              <a:gd name="T6" fmla="*/ 346 w 346"/>
              <a:gd name="T7" fmla="*/ 272 h 335"/>
              <a:gd name="T8" fmla="*/ 275 w 346"/>
              <a:gd name="T9" fmla="*/ 324 h 335"/>
              <a:gd name="T10" fmla="*/ 190 w 346"/>
              <a:gd name="T11" fmla="*/ 296 h 335"/>
              <a:gd name="T12" fmla="*/ 156 w 346"/>
              <a:gd name="T13" fmla="*/ 296 h 335"/>
              <a:gd name="T14" fmla="*/ 71 w 346"/>
              <a:gd name="T15" fmla="*/ 324 h 335"/>
              <a:gd name="T16" fmla="*/ 0 w 346"/>
              <a:gd name="T17" fmla="*/ 272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6" h="335">
                <a:moveTo>
                  <a:pt x="0" y="272"/>
                </a:moveTo>
                <a:cubicBezTo>
                  <a:pt x="0" y="0"/>
                  <a:pt x="0" y="0"/>
                  <a:pt x="0" y="0"/>
                </a:cubicBezTo>
                <a:cubicBezTo>
                  <a:pt x="346" y="0"/>
                  <a:pt x="346" y="0"/>
                  <a:pt x="346" y="0"/>
                </a:cubicBezTo>
                <a:cubicBezTo>
                  <a:pt x="346" y="272"/>
                  <a:pt x="346" y="272"/>
                  <a:pt x="346" y="272"/>
                </a:cubicBezTo>
                <a:cubicBezTo>
                  <a:pt x="346" y="309"/>
                  <a:pt x="310" y="335"/>
                  <a:pt x="275" y="324"/>
                </a:cubicBezTo>
                <a:cubicBezTo>
                  <a:pt x="190" y="296"/>
                  <a:pt x="190" y="296"/>
                  <a:pt x="190" y="296"/>
                </a:cubicBezTo>
                <a:cubicBezTo>
                  <a:pt x="179" y="293"/>
                  <a:pt x="167" y="293"/>
                  <a:pt x="156" y="296"/>
                </a:cubicBezTo>
                <a:cubicBezTo>
                  <a:pt x="71" y="324"/>
                  <a:pt x="71" y="324"/>
                  <a:pt x="71" y="324"/>
                </a:cubicBezTo>
                <a:cubicBezTo>
                  <a:pt x="35" y="335"/>
                  <a:pt x="0" y="309"/>
                  <a:pt x="0" y="272"/>
                </a:cubicBezTo>
                <a:close/>
              </a:path>
            </a:pathLst>
          </a:custGeom>
          <a:solidFill>
            <a:srgbClr val="38116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2E98F2EB-630B-4528-8BCF-AFDDEF1CB38F}"/>
              </a:ext>
            </a:extLst>
          </p:cNvPr>
          <p:cNvSpPr/>
          <p:nvPr/>
        </p:nvSpPr>
        <p:spPr>
          <a:xfrm>
            <a:off x="10914959" y="-772505"/>
            <a:ext cx="1929614" cy="1929614"/>
          </a:xfrm>
          <a:prstGeom prst="ellipse">
            <a:avLst/>
          </a:prstGeom>
          <a:gradFill>
            <a:gsLst>
              <a:gs pos="61104">
                <a:srgbClr val="ED1263"/>
              </a:gs>
              <a:gs pos="100000">
                <a:srgbClr val="FF7437"/>
              </a:gs>
              <a:gs pos="12000">
                <a:srgbClr val="38116E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AE5C3F6-EB04-496A-BBCE-2235A22FD073}"/>
              </a:ext>
            </a:extLst>
          </p:cNvPr>
          <p:cNvGrpSpPr/>
          <p:nvPr/>
        </p:nvGrpSpPr>
        <p:grpSpPr>
          <a:xfrm>
            <a:off x="6302910" y="5705361"/>
            <a:ext cx="206014" cy="210942"/>
            <a:chOff x="11418888" y="2954338"/>
            <a:chExt cx="331787" cy="339724"/>
          </a:xfrm>
          <a:solidFill>
            <a:schemeClr val="bg1"/>
          </a:solidFill>
        </p:grpSpPr>
        <p:sp>
          <p:nvSpPr>
            <p:cNvPr id="65" name="Freeform 31">
              <a:extLst>
                <a:ext uri="{FF2B5EF4-FFF2-40B4-BE49-F238E27FC236}">
                  <a16:creationId xmlns:a16="http://schemas.microsoft.com/office/drawing/2014/main" id="{B10A3643-566F-4786-AD3F-0845DD2E4B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47475" y="2954338"/>
              <a:ext cx="203200" cy="200025"/>
            </a:xfrm>
            <a:custGeom>
              <a:avLst/>
              <a:gdLst>
                <a:gd name="T0" fmla="*/ 55 w 58"/>
                <a:gd name="T1" fmla="*/ 2 h 57"/>
                <a:gd name="T2" fmla="*/ 46 w 58"/>
                <a:gd name="T3" fmla="*/ 3 h 57"/>
                <a:gd name="T4" fmla="*/ 41 w 58"/>
                <a:gd name="T5" fmla="*/ 10 h 57"/>
                <a:gd name="T6" fmla="*/ 26 w 58"/>
                <a:gd name="T7" fmla="*/ 5 h 57"/>
                <a:gd name="T8" fmla="*/ 7 w 58"/>
                <a:gd name="T9" fmla="*/ 14 h 57"/>
                <a:gd name="T10" fmla="*/ 7 w 58"/>
                <a:gd name="T11" fmla="*/ 17 h 57"/>
                <a:gd name="T12" fmla="*/ 0 w 58"/>
                <a:gd name="T13" fmla="*/ 32 h 57"/>
                <a:gd name="T14" fmla="*/ 0 w 58"/>
                <a:gd name="T15" fmla="*/ 33 h 57"/>
                <a:gd name="T16" fmla="*/ 9 w 58"/>
                <a:gd name="T17" fmla="*/ 33 h 57"/>
                <a:gd name="T18" fmla="*/ 15 w 58"/>
                <a:gd name="T19" fmla="*/ 39 h 57"/>
                <a:gd name="T20" fmla="*/ 13 w 58"/>
                <a:gd name="T21" fmla="*/ 53 h 57"/>
                <a:gd name="T22" fmla="*/ 26 w 58"/>
                <a:gd name="T23" fmla="*/ 57 h 57"/>
                <a:gd name="T24" fmla="*/ 52 w 58"/>
                <a:gd name="T25" fmla="*/ 31 h 57"/>
                <a:gd name="T26" fmla="*/ 49 w 58"/>
                <a:gd name="T27" fmla="*/ 19 h 57"/>
                <a:gd name="T28" fmla="*/ 56 w 58"/>
                <a:gd name="T29" fmla="*/ 11 h 57"/>
                <a:gd name="T30" fmla="*/ 55 w 58"/>
                <a:gd name="T31" fmla="*/ 2 h 57"/>
                <a:gd name="T32" fmla="*/ 53 w 58"/>
                <a:gd name="T33" fmla="*/ 8 h 57"/>
                <a:gd name="T34" fmla="*/ 28 w 58"/>
                <a:gd name="T35" fmla="*/ 41 h 57"/>
                <a:gd name="T36" fmla="*/ 27 w 58"/>
                <a:gd name="T37" fmla="*/ 42 h 57"/>
                <a:gd name="T38" fmla="*/ 26 w 58"/>
                <a:gd name="T39" fmla="*/ 42 h 57"/>
                <a:gd name="T40" fmla="*/ 25 w 58"/>
                <a:gd name="T41" fmla="*/ 41 h 57"/>
                <a:gd name="T42" fmla="*/ 14 w 58"/>
                <a:gd name="T43" fmla="*/ 30 h 57"/>
                <a:gd name="T44" fmla="*/ 14 w 58"/>
                <a:gd name="T45" fmla="*/ 28 h 57"/>
                <a:gd name="T46" fmla="*/ 17 w 58"/>
                <a:gd name="T47" fmla="*/ 28 h 57"/>
                <a:gd name="T48" fmla="*/ 26 w 58"/>
                <a:gd name="T49" fmla="*/ 37 h 57"/>
                <a:gd name="T50" fmla="*/ 49 w 58"/>
                <a:gd name="T51" fmla="*/ 6 h 57"/>
                <a:gd name="T52" fmla="*/ 52 w 58"/>
                <a:gd name="T53" fmla="*/ 5 h 57"/>
                <a:gd name="T54" fmla="*/ 53 w 58"/>
                <a:gd name="T55" fmla="*/ 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8" h="57">
                  <a:moveTo>
                    <a:pt x="55" y="2"/>
                  </a:moveTo>
                  <a:cubicBezTo>
                    <a:pt x="52" y="0"/>
                    <a:pt x="48" y="1"/>
                    <a:pt x="46" y="3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7" y="7"/>
                    <a:pt x="32" y="5"/>
                    <a:pt x="26" y="5"/>
                  </a:cubicBezTo>
                  <a:cubicBezTo>
                    <a:pt x="18" y="5"/>
                    <a:pt x="11" y="8"/>
                    <a:pt x="7" y="14"/>
                  </a:cubicBezTo>
                  <a:cubicBezTo>
                    <a:pt x="7" y="15"/>
                    <a:pt x="7" y="16"/>
                    <a:pt x="7" y="17"/>
                  </a:cubicBezTo>
                  <a:cubicBezTo>
                    <a:pt x="7" y="23"/>
                    <a:pt x="4" y="28"/>
                    <a:pt x="0" y="32"/>
                  </a:cubicBezTo>
                  <a:cubicBezTo>
                    <a:pt x="0" y="32"/>
                    <a:pt x="0" y="33"/>
                    <a:pt x="0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2" y="33"/>
                    <a:pt x="15" y="36"/>
                    <a:pt x="15" y="39"/>
                  </a:cubicBezTo>
                  <a:cubicBezTo>
                    <a:pt x="15" y="44"/>
                    <a:pt x="14" y="49"/>
                    <a:pt x="13" y="53"/>
                  </a:cubicBezTo>
                  <a:cubicBezTo>
                    <a:pt x="17" y="56"/>
                    <a:pt x="21" y="57"/>
                    <a:pt x="26" y="57"/>
                  </a:cubicBezTo>
                  <a:cubicBezTo>
                    <a:pt x="40" y="57"/>
                    <a:pt x="52" y="45"/>
                    <a:pt x="52" y="31"/>
                  </a:cubicBezTo>
                  <a:cubicBezTo>
                    <a:pt x="52" y="27"/>
                    <a:pt x="51" y="23"/>
                    <a:pt x="49" y="19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8" y="8"/>
                    <a:pt x="57" y="4"/>
                    <a:pt x="55" y="2"/>
                  </a:cubicBezTo>
                  <a:close/>
                  <a:moveTo>
                    <a:pt x="53" y="8"/>
                  </a:move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7" y="42"/>
                    <a:pt x="27" y="42"/>
                  </a:cubicBezTo>
                  <a:cubicBezTo>
                    <a:pt x="27" y="42"/>
                    <a:pt x="26" y="42"/>
                    <a:pt x="26" y="42"/>
                  </a:cubicBezTo>
                  <a:cubicBezTo>
                    <a:pt x="26" y="42"/>
                    <a:pt x="25" y="41"/>
                    <a:pt x="25" y="4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28"/>
                    <a:pt x="14" y="28"/>
                  </a:cubicBezTo>
                  <a:cubicBezTo>
                    <a:pt x="15" y="27"/>
                    <a:pt x="16" y="27"/>
                    <a:pt x="17" y="2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0" y="5"/>
                    <a:pt x="51" y="5"/>
                    <a:pt x="52" y="5"/>
                  </a:cubicBezTo>
                  <a:cubicBezTo>
                    <a:pt x="53" y="6"/>
                    <a:pt x="53" y="7"/>
                    <a:pt x="5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Oval 32">
              <a:extLst>
                <a:ext uri="{FF2B5EF4-FFF2-40B4-BE49-F238E27FC236}">
                  <a16:creationId xmlns:a16="http://schemas.microsoft.com/office/drawing/2014/main" id="{08376817-8688-406A-8D8B-FBED92A8E9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47463" y="2957513"/>
              <a:ext cx="111125" cy="11271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3">
              <a:extLst>
                <a:ext uri="{FF2B5EF4-FFF2-40B4-BE49-F238E27FC236}">
                  <a16:creationId xmlns:a16="http://schemas.microsoft.com/office/drawing/2014/main" id="{62EA69F6-ED0B-4771-B5EF-82A7193CE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8888" y="3082925"/>
              <a:ext cx="168275" cy="211137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6D1755D-3351-4AFD-97ED-E4B10A39B47C}"/>
              </a:ext>
            </a:extLst>
          </p:cNvPr>
          <p:cNvGrpSpPr/>
          <p:nvPr/>
        </p:nvGrpSpPr>
        <p:grpSpPr>
          <a:xfrm>
            <a:off x="6304389" y="2448878"/>
            <a:ext cx="203056" cy="208971"/>
            <a:chOff x="12757150" y="2957513"/>
            <a:chExt cx="327025" cy="336549"/>
          </a:xfrm>
          <a:solidFill>
            <a:schemeClr val="bg1"/>
          </a:solidFill>
        </p:grpSpPr>
        <p:sp>
          <p:nvSpPr>
            <p:cNvPr id="68" name="Freeform 34">
              <a:extLst>
                <a:ext uri="{FF2B5EF4-FFF2-40B4-BE49-F238E27FC236}">
                  <a16:creationId xmlns:a16="http://schemas.microsoft.com/office/drawing/2014/main" id="{96C41C23-4BEF-4C31-9CB4-87D4BCFEA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8125" y="2971800"/>
              <a:ext cx="146050" cy="307975"/>
            </a:xfrm>
            <a:custGeom>
              <a:avLst/>
              <a:gdLst>
                <a:gd name="T0" fmla="*/ 24 w 42"/>
                <a:gd name="T1" fmla="*/ 20 h 88"/>
                <a:gd name="T2" fmla="*/ 40 w 42"/>
                <a:gd name="T3" fmla="*/ 20 h 88"/>
                <a:gd name="T4" fmla="*/ 42 w 42"/>
                <a:gd name="T5" fmla="*/ 18 h 88"/>
                <a:gd name="T6" fmla="*/ 42 w 42"/>
                <a:gd name="T7" fmla="*/ 2 h 88"/>
                <a:gd name="T8" fmla="*/ 40 w 42"/>
                <a:gd name="T9" fmla="*/ 0 h 88"/>
                <a:gd name="T10" fmla="*/ 24 w 42"/>
                <a:gd name="T11" fmla="*/ 0 h 88"/>
                <a:gd name="T12" fmla="*/ 22 w 42"/>
                <a:gd name="T13" fmla="*/ 2 h 88"/>
                <a:gd name="T14" fmla="*/ 22 w 42"/>
                <a:gd name="T15" fmla="*/ 8 h 88"/>
                <a:gd name="T16" fmla="*/ 12 w 42"/>
                <a:gd name="T17" fmla="*/ 8 h 88"/>
                <a:gd name="T18" fmla="*/ 10 w 42"/>
                <a:gd name="T19" fmla="*/ 10 h 88"/>
                <a:gd name="T20" fmla="*/ 10 w 42"/>
                <a:gd name="T21" fmla="*/ 44 h 88"/>
                <a:gd name="T22" fmla="*/ 2 w 42"/>
                <a:gd name="T23" fmla="*/ 44 h 88"/>
                <a:gd name="T24" fmla="*/ 0 w 42"/>
                <a:gd name="T25" fmla="*/ 46 h 88"/>
                <a:gd name="T26" fmla="*/ 2 w 42"/>
                <a:gd name="T27" fmla="*/ 48 h 88"/>
                <a:gd name="T28" fmla="*/ 10 w 42"/>
                <a:gd name="T29" fmla="*/ 48 h 88"/>
                <a:gd name="T30" fmla="*/ 10 w 42"/>
                <a:gd name="T31" fmla="*/ 78 h 88"/>
                <a:gd name="T32" fmla="*/ 12 w 42"/>
                <a:gd name="T33" fmla="*/ 80 h 88"/>
                <a:gd name="T34" fmla="*/ 22 w 42"/>
                <a:gd name="T35" fmla="*/ 80 h 88"/>
                <a:gd name="T36" fmla="*/ 22 w 42"/>
                <a:gd name="T37" fmla="*/ 86 h 88"/>
                <a:gd name="T38" fmla="*/ 24 w 42"/>
                <a:gd name="T39" fmla="*/ 88 h 88"/>
                <a:gd name="T40" fmla="*/ 40 w 42"/>
                <a:gd name="T41" fmla="*/ 88 h 88"/>
                <a:gd name="T42" fmla="*/ 42 w 42"/>
                <a:gd name="T43" fmla="*/ 86 h 88"/>
                <a:gd name="T44" fmla="*/ 42 w 42"/>
                <a:gd name="T45" fmla="*/ 70 h 88"/>
                <a:gd name="T46" fmla="*/ 40 w 42"/>
                <a:gd name="T47" fmla="*/ 68 h 88"/>
                <a:gd name="T48" fmla="*/ 24 w 42"/>
                <a:gd name="T49" fmla="*/ 68 h 88"/>
                <a:gd name="T50" fmla="*/ 22 w 42"/>
                <a:gd name="T51" fmla="*/ 70 h 88"/>
                <a:gd name="T52" fmla="*/ 22 w 42"/>
                <a:gd name="T53" fmla="*/ 76 h 88"/>
                <a:gd name="T54" fmla="*/ 14 w 42"/>
                <a:gd name="T55" fmla="*/ 76 h 88"/>
                <a:gd name="T56" fmla="*/ 14 w 42"/>
                <a:gd name="T57" fmla="*/ 48 h 88"/>
                <a:gd name="T58" fmla="*/ 22 w 42"/>
                <a:gd name="T59" fmla="*/ 48 h 88"/>
                <a:gd name="T60" fmla="*/ 22 w 42"/>
                <a:gd name="T61" fmla="*/ 54 h 88"/>
                <a:gd name="T62" fmla="*/ 24 w 42"/>
                <a:gd name="T63" fmla="*/ 56 h 88"/>
                <a:gd name="T64" fmla="*/ 40 w 42"/>
                <a:gd name="T65" fmla="*/ 56 h 88"/>
                <a:gd name="T66" fmla="*/ 42 w 42"/>
                <a:gd name="T67" fmla="*/ 54 h 88"/>
                <a:gd name="T68" fmla="*/ 42 w 42"/>
                <a:gd name="T69" fmla="*/ 38 h 88"/>
                <a:gd name="T70" fmla="*/ 40 w 42"/>
                <a:gd name="T71" fmla="*/ 36 h 88"/>
                <a:gd name="T72" fmla="*/ 24 w 42"/>
                <a:gd name="T73" fmla="*/ 36 h 88"/>
                <a:gd name="T74" fmla="*/ 22 w 42"/>
                <a:gd name="T75" fmla="*/ 38 h 88"/>
                <a:gd name="T76" fmla="*/ 22 w 42"/>
                <a:gd name="T77" fmla="*/ 44 h 88"/>
                <a:gd name="T78" fmla="*/ 14 w 42"/>
                <a:gd name="T79" fmla="*/ 44 h 88"/>
                <a:gd name="T80" fmla="*/ 14 w 42"/>
                <a:gd name="T81" fmla="*/ 12 h 88"/>
                <a:gd name="T82" fmla="*/ 22 w 42"/>
                <a:gd name="T83" fmla="*/ 12 h 88"/>
                <a:gd name="T84" fmla="*/ 22 w 42"/>
                <a:gd name="T85" fmla="*/ 18 h 88"/>
                <a:gd name="T86" fmla="*/ 24 w 42"/>
                <a:gd name="T87" fmla="*/ 2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" h="88">
                  <a:moveTo>
                    <a:pt x="24" y="20"/>
                  </a:moveTo>
                  <a:cubicBezTo>
                    <a:pt x="40" y="20"/>
                    <a:pt x="40" y="20"/>
                    <a:pt x="40" y="20"/>
                  </a:cubicBezTo>
                  <a:cubicBezTo>
                    <a:pt x="41" y="20"/>
                    <a:pt x="42" y="19"/>
                    <a:pt x="42" y="18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1"/>
                    <a:pt x="41" y="0"/>
                    <a:pt x="4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2" y="1"/>
                    <a:pt x="22" y="2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8"/>
                    <a:pt x="10" y="9"/>
                    <a:pt x="10" y="10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5"/>
                    <a:pt x="0" y="46"/>
                  </a:cubicBezTo>
                  <a:cubicBezTo>
                    <a:pt x="0" y="47"/>
                    <a:pt x="1" y="48"/>
                    <a:pt x="2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10" y="79"/>
                    <a:pt x="11" y="80"/>
                    <a:pt x="1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2" y="87"/>
                    <a:pt x="23" y="88"/>
                    <a:pt x="24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1" y="88"/>
                    <a:pt x="42" y="87"/>
                    <a:pt x="42" y="86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69"/>
                    <a:pt x="41" y="68"/>
                    <a:pt x="40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3" y="68"/>
                    <a:pt x="22" y="69"/>
                    <a:pt x="22" y="70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5"/>
                    <a:pt x="23" y="56"/>
                    <a:pt x="24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1" y="56"/>
                    <a:pt x="42" y="55"/>
                    <a:pt x="42" y="54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7"/>
                    <a:pt x="41" y="36"/>
                    <a:pt x="40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2" y="37"/>
                    <a:pt x="22" y="38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3" y="20"/>
                    <a:pt x="2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35">
              <a:extLst>
                <a:ext uri="{FF2B5EF4-FFF2-40B4-BE49-F238E27FC236}">
                  <a16:creationId xmlns:a16="http://schemas.microsoft.com/office/drawing/2014/main" id="{C86A685B-CC5E-4699-A6A1-9AB3D9DDB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84138" y="2957513"/>
              <a:ext cx="112713" cy="11271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36">
              <a:extLst>
                <a:ext uri="{FF2B5EF4-FFF2-40B4-BE49-F238E27FC236}">
                  <a16:creationId xmlns:a16="http://schemas.microsoft.com/office/drawing/2014/main" id="{E8F124BC-7749-49F8-861A-0489D749E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7150" y="3082925"/>
              <a:ext cx="166688" cy="211137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1DD609C-6DB1-4E8A-A91D-C848B5DACF7A}"/>
              </a:ext>
            </a:extLst>
          </p:cNvPr>
          <p:cNvGrpSpPr/>
          <p:nvPr/>
        </p:nvGrpSpPr>
        <p:grpSpPr>
          <a:xfrm>
            <a:off x="6304389" y="4671184"/>
            <a:ext cx="203056" cy="208971"/>
            <a:chOff x="10750550" y="2957513"/>
            <a:chExt cx="327025" cy="336549"/>
          </a:xfrm>
          <a:solidFill>
            <a:schemeClr val="bg1"/>
          </a:solidFill>
        </p:grpSpPr>
        <p:sp>
          <p:nvSpPr>
            <p:cNvPr id="71" name="Freeform 37">
              <a:extLst>
                <a:ext uri="{FF2B5EF4-FFF2-40B4-BE49-F238E27FC236}">
                  <a16:creationId xmlns:a16="http://schemas.microsoft.com/office/drawing/2014/main" id="{610057E7-9159-4FE4-B0CE-29BEA8B7E6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7725" y="3082925"/>
              <a:ext cx="69850" cy="71437"/>
            </a:xfrm>
            <a:custGeom>
              <a:avLst/>
              <a:gdLst>
                <a:gd name="T0" fmla="*/ 10 w 20"/>
                <a:gd name="T1" fmla="*/ 0 h 20"/>
                <a:gd name="T2" fmla="*/ 0 w 20"/>
                <a:gd name="T3" fmla="*/ 10 h 20"/>
                <a:gd name="T4" fmla="*/ 10 w 20"/>
                <a:gd name="T5" fmla="*/ 20 h 20"/>
                <a:gd name="T6" fmla="*/ 20 w 20"/>
                <a:gd name="T7" fmla="*/ 10 h 20"/>
                <a:gd name="T8" fmla="*/ 10 w 20"/>
                <a:gd name="T9" fmla="*/ 0 h 20"/>
                <a:gd name="T10" fmla="*/ 10 w 20"/>
                <a:gd name="T11" fmla="*/ 16 h 20"/>
                <a:gd name="T12" fmla="*/ 4 w 20"/>
                <a:gd name="T13" fmla="*/ 10 h 20"/>
                <a:gd name="T14" fmla="*/ 10 w 20"/>
                <a:gd name="T15" fmla="*/ 4 h 20"/>
                <a:gd name="T16" fmla="*/ 16 w 20"/>
                <a:gd name="T17" fmla="*/ 10 h 20"/>
                <a:gd name="T18" fmla="*/ 10 w 20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4"/>
                    <a:pt x="16" y="0"/>
                    <a:pt x="10" y="0"/>
                  </a:cubicBezTo>
                  <a:close/>
                  <a:moveTo>
                    <a:pt x="10" y="16"/>
                  </a:move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38">
              <a:extLst>
                <a:ext uri="{FF2B5EF4-FFF2-40B4-BE49-F238E27FC236}">
                  <a16:creationId xmlns:a16="http://schemas.microsoft.com/office/drawing/2014/main" id="{5DACD769-AB19-4E96-9E80-0324D02AB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9125" y="2957513"/>
              <a:ext cx="111125" cy="11271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39">
              <a:extLst>
                <a:ext uri="{FF2B5EF4-FFF2-40B4-BE49-F238E27FC236}">
                  <a16:creationId xmlns:a16="http://schemas.microsoft.com/office/drawing/2014/main" id="{434C601E-0074-4BE9-B8F9-E2C20303D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0550" y="3082925"/>
              <a:ext cx="166688" cy="211137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0">
              <a:extLst>
                <a:ext uri="{FF2B5EF4-FFF2-40B4-BE49-F238E27FC236}">
                  <a16:creationId xmlns:a16="http://schemas.microsoft.com/office/drawing/2014/main" id="{D884117E-FF04-4B24-A0CB-D54C76D50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7238" y="2981325"/>
              <a:ext cx="66675" cy="71437"/>
            </a:xfrm>
            <a:custGeom>
              <a:avLst/>
              <a:gdLst>
                <a:gd name="T0" fmla="*/ 12 w 19"/>
                <a:gd name="T1" fmla="*/ 10 h 20"/>
                <a:gd name="T2" fmla="*/ 18 w 19"/>
                <a:gd name="T3" fmla="*/ 4 h 20"/>
                <a:gd name="T4" fmla="*/ 18 w 19"/>
                <a:gd name="T5" fmla="*/ 1 h 20"/>
                <a:gd name="T6" fmla="*/ 16 w 19"/>
                <a:gd name="T7" fmla="*/ 1 h 20"/>
                <a:gd name="T8" fmla="*/ 9 w 19"/>
                <a:gd name="T9" fmla="*/ 7 h 20"/>
                <a:gd name="T10" fmla="*/ 3 w 19"/>
                <a:gd name="T11" fmla="*/ 1 h 20"/>
                <a:gd name="T12" fmla="*/ 0 w 19"/>
                <a:gd name="T13" fmla="*/ 1 h 20"/>
                <a:gd name="T14" fmla="*/ 0 w 19"/>
                <a:gd name="T15" fmla="*/ 4 h 20"/>
                <a:gd name="T16" fmla="*/ 7 w 19"/>
                <a:gd name="T17" fmla="*/ 10 h 20"/>
                <a:gd name="T18" fmla="*/ 0 w 19"/>
                <a:gd name="T19" fmla="*/ 16 h 20"/>
                <a:gd name="T20" fmla="*/ 0 w 19"/>
                <a:gd name="T21" fmla="*/ 19 h 20"/>
                <a:gd name="T22" fmla="*/ 3 w 19"/>
                <a:gd name="T23" fmla="*/ 19 h 20"/>
                <a:gd name="T24" fmla="*/ 9 w 19"/>
                <a:gd name="T25" fmla="*/ 13 h 20"/>
                <a:gd name="T26" fmla="*/ 16 w 19"/>
                <a:gd name="T27" fmla="*/ 19 h 20"/>
                <a:gd name="T28" fmla="*/ 18 w 19"/>
                <a:gd name="T29" fmla="*/ 19 h 20"/>
                <a:gd name="T30" fmla="*/ 18 w 19"/>
                <a:gd name="T31" fmla="*/ 16 h 20"/>
                <a:gd name="T32" fmla="*/ 12 w 19"/>
                <a:gd name="T3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20">
                  <a:moveTo>
                    <a:pt x="12" y="10"/>
                  </a:moveTo>
                  <a:cubicBezTo>
                    <a:pt x="18" y="4"/>
                    <a:pt x="18" y="4"/>
                    <a:pt x="18" y="4"/>
                  </a:cubicBezTo>
                  <a:cubicBezTo>
                    <a:pt x="19" y="3"/>
                    <a:pt x="19" y="2"/>
                    <a:pt x="18" y="1"/>
                  </a:cubicBezTo>
                  <a:cubicBezTo>
                    <a:pt x="18" y="0"/>
                    <a:pt x="16" y="0"/>
                    <a:pt x="16" y="1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1" y="20"/>
                    <a:pt x="2" y="20"/>
                    <a:pt x="3" y="19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8" y="20"/>
                    <a:pt x="18" y="19"/>
                  </a:cubicBezTo>
                  <a:cubicBezTo>
                    <a:pt x="19" y="18"/>
                    <a:pt x="19" y="17"/>
                    <a:pt x="18" y="16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1">
              <a:extLst>
                <a:ext uri="{FF2B5EF4-FFF2-40B4-BE49-F238E27FC236}">
                  <a16:creationId xmlns:a16="http://schemas.microsoft.com/office/drawing/2014/main" id="{BE3D851F-B4A0-4AFE-872B-9A3E54730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5813" y="3013075"/>
              <a:ext cx="117475" cy="115887"/>
            </a:xfrm>
            <a:custGeom>
              <a:avLst/>
              <a:gdLst>
                <a:gd name="T0" fmla="*/ 34 w 34"/>
                <a:gd name="T1" fmla="*/ 4 h 33"/>
                <a:gd name="T2" fmla="*/ 32 w 34"/>
                <a:gd name="T3" fmla="*/ 3 h 33"/>
                <a:gd name="T4" fmla="*/ 20 w 34"/>
                <a:gd name="T5" fmla="*/ 0 h 33"/>
                <a:gd name="T6" fmla="*/ 18 w 34"/>
                <a:gd name="T7" fmla="*/ 2 h 33"/>
                <a:gd name="T8" fmla="*/ 20 w 34"/>
                <a:gd name="T9" fmla="*/ 4 h 33"/>
                <a:gd name="T10" fmla="*/ 25 w 34"/>
                <a:gd name="T11" fmla="*/ 5 h 33"/>
                <a:gd name="T12" fmla="*/ 0 w 34"/>
                <a:gd name="T13" fmla="*/ 30 h 33"/>
                <a:gd name="T14" fmla="*/ 1 w 34"/>
                <a:gd name="T15" fmla="*/ 33 h 33"/>
                <a:gd name="T16" fmla="*/ 1 w 34"/>
                <a:gd name="T17" fmla="*/ 33 h 33"/>
                <a:gd name="T18" fmla="*/ 4 w 34"/>
                <a:gd name="T19" fmla="*/ 32 h 33"/>
                <a:gd name="T20" fmla="*/ 28 w 34"/>
                <a:gd name="T21" fmla="*/ 8 h 33"/>
                <a:gd name="T22" fmla="*/ 25 w 34"/>
                <a:gd name="T23" fmla="*/ 14 h 33"/>
                <a:gd name="T24" fmla="*/ 26 w 34"/>
                <a:gd name="T25" fmla="*/ 17 h 33"/>
                <a:gd name="T26" fmla="*/ 29 w 34"/>
                <a:gd name="T27" fmla="*/ 16 h 33"/>
                <a:gd name="T28" fmla="*/ 34 w 34"/>
                <a:gd name="T29" fmla="*/ 6 h 33"/>
                <a:gd name="T30" fmla="*/ 34 w 34"/>
                <a:gd name="T31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3">
                  <a:moveTo>
                    <a:pt x="34" y="4"/>
                  </a:moveTo>
                  <a:cubicBezTo>
                    <a:pt x="34" y="3"/>
                    <a:pt x="33" y="3"/>
                    <a:pt x="32" y="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0"/>
                    <a:pt x="18" y="1"/>
                    <a:pt x="18" y="2"/>
                  </a:cubicBezTo>
                  <a:cubicBezTo>
                    <a:pt x="18" y="3"/>
                    <a:pt x="19" y="4"/>
                    <a:pt x="20" y="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14" y="11"/>
                    <a:pt x="6" y="19"/>
                    <a:pt x="0" y="30"/>
                  </a:cubicBezTo>
                  <a:cubicBezTo>
                    <a:pt x="0" y="31"/>
                    <a:pt x="0" y="32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2" y="33"/>
                    <a:pt x="3" y="33"/>
                    <a:pt x="4" y="32"/>
                  </a:cubicBezTo>
                  <a:cubicBezTo>
                    <a:pt x="9" y="21"/>
                    <a:pt x="18" y="13"/>
                    <a:pt x="28" y="8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5"/>
                    <a:pt x="25" y="17"/>
                    <a:pt x="26" y="17"/>
                  </a:cubicBezTo>
                  <a:cubicBezTo>
                    <a:pt x="27" y="17"/>
                    <a:pt x="29" y="17"/>
                    <a:pt x="29" y="1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5"/>
                    <a:pt x="34" y="4"/>
                    <a:pt x="3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EF786934-3FF4-4BCD-A08E-2FF5DAF3260F}"/>
              </a:ext>
            </a:extLst>
          </p:cNvPr>
          <p:cNvGrpSpPr/>
          <p:nvPr/>
        </p:nvGrpSpPr>
        <p:grpSpPr>
          <a:xfrm>
            <a:off x="6303896" y="3560031"/>
            <a:ext cx="204042" cy="208971"/>
            <a:chOff x="11418888" y="3629025"/>
            <a:chExt cx="328612" cy="336550"/>
          </a:xfrm>
          <a:solidFill>
            <a:schemeClr val="bg1"/>
          </a:solidFill>
        </p:grpSpPr>
        <p:sp>
          <p:nvSpPr>
            <p:cNvPr id="76" name="Oval 42">
              <a:extLst>
                <a:ext uri="{FF2B5EF4-FFF2-40B4-BE49-F238E27FC236}">
                  <a16:creationId xmlns:a16="http://schemas.microsoft.com/office/drawing/2014/main" id="{081E3121-C9F4-486E-B42B-CAEF06B15F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47463" y="3629025"/>
              <a:ext cx="111125" cy="11271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3">
              <a:extLst>
                <a:ext uri="{FF2B5EF4-FFF2-40B4-BE49-F238E27FC236}">
                  <a16:creationId xmlns:a16="http://schemas.microsoft.com/office/drawing/2014/main" id="{E5FECD93-F4EB-4E52-BDDD-905BEF8A7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8888" y="3756025"/>
              <a:ext cx="168275" cy="2095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4">
              <a:extLst>
                <a:ext uri="{FF2B5EF4-FFF2-40B4-BE49-F238E27FC236}">
                  <a16:creationId xmlns:a16="http://schemas.microsoft.com/office/drawing/2014/main" id="{1F5234CA-E6B9-4BF6-B75B-3FFC6EB934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4938" y="3660775"/>
              <a:ext cx="150813" cy="147637"/>
            </a:xfrm>
            <a:custGeom>
              <a:avLst/>
              <a:gdLst>
                <a:gd name="T0" fmla="*/ 36 w 43"/>
                <a:gd name="T1" fmla="*/ 27 h 42"/>
                <a:gd name="T2" fmla="*/ 30 w 43"/>
                <a:gd name="T3" fmla="*/ 21 h 42"/>
                <a:gd name="T4" fmla="*/ 36 w 43"/>
                <a:gd name="T5" fmla="*/ 15 h 42"/>
                <a:gd name="T6" fmla="*/ 43 w 43"/>
                <a:gd name="T7" fmla="*/ 15 h 42"/>
                <a:gd name="T8" fmla="*/ 28 w 43"/>
                <a:gd name="T9" fmla="*/ 0 h 42"/>
                <a:gd name="T10" fmla="*/ 28 w 43"/>
                <a:gd name="T11" fmla="*/ 7 h 42"/>
                <a:gd name="T12" fmla="*/ 22 w 43"/>
                <a:gd name="T13" fmla="*/ 13 h 42"/>
                <a:gd name="T14" fmla="*/ 16 w 43"/>
                <a:gd name="T15" fmla="*/ 7 h 42"/>
                <a:gd name="T16" fmla="*/ 16 w 43"/>
                <a:gd name="T17" fmla="*/ 0 h 42"/>
                <a:gd name="T18" fmla="*/ 0 w 43"/>
                <a:gd name="T19" fmla="*/ 21 h 42"/>
                <a:gd name="T20" fmla="*/ 0 w 43"/>
                <a:gd name="T21" fmla="*/ 23 h 42"/>
                <a:gd name="T22" fmla="*/ 4 w 43"/>
                <a:gd name="T23" fmla="*/ 23 h 42"/>
                <a:gd name="T24" fmla="*/ 10 w 43"/>
                <a:gd name="T25" fmla="*/ 29 h 42"/>
                <a:gd name="T26" fmla="*/ 9 w 43"/>
                <a:gd name="T27" fmla="*/ 39 h 42"/>
                <a:gd name="T28" fmla="*/ 16 w 43"/>
                <a:gd name="T29" fmla="*/ 42 h 42"/>
                <a:gd name="T30" fmla="*/ 16 w 43"/>
                <a:gd name="T31" fmla="*/ 35 h 42"/>
                <a:gd name="T32" fmla="*/ 22 w 43"/>
                <a:gd name="T33" fmla="*/ 29 h 42"/>
                <a:gd name="T34" fmla="*/ 28 w 43"/>
                <a:gd name="T35" fmla="*/ 35 h 42"/>
                <a:gd name="T36" fmla="*/ 28 w 43"/>
                <a:gd name="T37" fmla="*/ 42 h 42"/>
                <a:gd name="T38" fmla="*/ 43 w 43"/>
                <a:gd name="T39" fmla="*/ 27 h 42"/>
                <a:gd name="T40" fmla="*/ 36 w 43"/>
                <a:gd name="T41" fmla="*/ 2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3" h="42">
                  <a:moveTo>
                    <a:pt x="36" y="27"/>
                  </a:moveTo>
                  <a:cubicBezTo>
                    <a:pt x="33" y="27"/>
                    <a:pt x="30" y="24"/>
                    <a:pt x="30" y="21"/>
                  </a:cubicBezTo>
                  <a:cubicBezTo>
                    <a:pt x="30" y="18"/>
                    <a:pt x="33" y="15"/>
                    <a:pt x="36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1" y="8"/>
                    <a:pt x="35" y="2"/>
                    <a:pt x="28" y="0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10"/>
                    <a:pt x="25" y="13"/>
                    <a:pt x="22" y="13"/>
                  </a:cubicBezTo>
                  <a:cubicBezTo>
                    <a:pt x="19" y="13"/>
                    <a:pt x="16" y="10"/>
                    <a:pt x="16" y="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2"/>
                    <a:pt x="0" y="1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7" y="23"/>
                    <a:pt x="10" y="26"/>
                    <a:pt x="10" y="29"/>
                  </a:cubicBezTo>
                  <a:cubicBezTo>
                    <a:pt x="10" y="32"/>
                    <a:pt x="10" y="36"/>
                    <a:pt x="9" y="39"/>
                  </a:cubicBezTo>
                  <a:cubicBezTo>
                    <a:pt x="11" y="40"/>
                    <a:pt x="14" y="41"/>
                    <a:pt x="16" y="42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2"/>
                    <a:pt x="19" y="29"/>
                    <a:pt x="22" y="29"/>
                  </a:cubicBezTo>
                  <a:cubicBezTo>
                    <a:pt x="25" y="29"/>
                    <a:pt x="28" y="32"/>
                    <a:pt x="28" y="35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35" y="40"/>
                    <a:pt x="41" y="34"/>
                    <a:pt x="43" y="27"/>
                  </a:cubicBezTo>
                  <a:lnTo>
                    <a:pt x="36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5">
              <a:extLst>
                <a:ext uri="{FF2B5EF4-FFF2-40B4-BE49-F238E27FC236}">
                  <a16:creationId xmlns:a16="http://schemas.microsoft.com/office/drawing/2014/main" id="{329469C2-D4FB-4D59-A987-54C7789C7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4788" y="3629025"/>
              <a:ext cx="14288" cy="63500"/>
            </a:xfrm>
            <a:custGeom>
              <a:avLst/>
              <a:gdLst>
                <a:gd name="T0" fmla="*/ 2 w 4"/>
                <a:gd name="T1" fmla="*/ 18 h 18"/>
                <a:gd name="T2" fmla="*/ 0 w 4"/>
                <a:gd name="T3" fmla="*/ 16 h 18"/>
                <a:gd name="T4" fmla="*/ 0 w 4"/>
                <a:gd name="T5" fmla="*/ 2 h 18"/>
                <a:gd name="T6" fmla="*/ 2 w 4"/>
                <a:gd name="T7" fmla="*/ 0 h 18"/>
                <a:gd name="T8" fmla="*/ 4 w 4"/>
                <a:gd name="T9" fmla="*/ 2 h 18"/>
                <a:gd name="T10" fmla="*/ 4 w 4"/>
                <a:gd name="T11" fmla="*/ 16 h 18"/>
                <a:gd name="T12" fmla="*/ 2 w 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8">
                  <a:moveTo>
                    <a:pt x="2" y="18"/>
                  </a:moveTo>
                  <a:cubicBezTo>
                    <a:pt x="1" y="18"/>
                    <a:pt x="0" y="17"/>
                    <a:pt x="0" y="1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7"/>
                    <a:pt x="3" y="1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6">
              <a:extLst>
                <a:ext uri="{FF2B5EF4-FFF2-40B4-BE49-F238E27FC236}">
                  <a16:creationId xmlns:a16="http://schemas.microsoft.com/office/drawing/2014/main" id="{BCACD85A-0E41-4F68-8513-F41D4807C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4788" y="3776663"/>
              <a:ext cx="14288" cy="63500"/>
            </a:xfrm>
            <a:custGeom>
              <a:avLst/>
              <a:gdLst>
                <a:gd name="T0" fmla="*/ 2 w 4"/>
                <a:gd name="T1" fmla="*/ 18 h 18"/>
                <a:gd name="T2" fmla="*/ 0 w 4"/>
                <a:gd name="T3" fmla="*/ 16 h 18"/>
                <a:gd name="T4" fmla="*/ 0 w 4"/>
                <a:gd name="T5" fmla="*/ 2 h 18"/>
                <a:gd name="T6" fmla="*/ 2 w 4"/>
                <a:gd name="T7" fmla="*/ 0 h 18"/>
                <a:gd name="T8" fmla="*/ 4 w 4"/>
                <a:gd name="T9" fmla="*/ 2 h 18"/>
                <a:gd name="T10" fmla="*/ 4 w 4"/>
                <a:gd name="T11" fmla="*/ 16 h 18"/>
                <a:gd name="T12" fmla="*/ 2 w 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8">
                  <a:moveTo>
                    <a:pt x="2" y="18"/>
                  </a:moveTo>
                  <a:cubicBezTo>
                    <a:pt x="1" y="18"/>
                    <a:pt x="0" y="17"/>
                    <a:pt x="0" y="1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7"/>
                    <a:pt x="3" y="1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47">
              <a:extLst>
                <a:ext uri="{FF2B5EF4-FFF2-40B4-BE49-F238E27FC236}">
                  <a16:creationId xmlns:a16="http://schemas.microsoft.com/office/drawing/2014/main" id="{8B9E7027-C2EE-4419-A1C7-05FDA85A6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4000" y="3727450"/>
              <a:ext cx="63500" cy="14287"/>
            </a:xfrm>
            <a:custGeom>
              <a:avLst/>
              <a:gdLst>
                <a:gd name="T0" fmla="*/ 16 w 18"/>
                <a:gd name="T1" fmla="*/ 4 h 4"/>
                <a:gd name="T2" fmla="*/ 2 w 18"/>
                <a:gd name="T3" fmla="*/ 4 h 4"/>
                <a:gd name="T4" fmla="*/ 0 w 18"/>
                <a:gd name="T5" fmla="*/ 2 h 4"/>
                <a:gd name="T6" fmla="*/ 2 w 18"/>
                <a:gd name="T7" fmla="*/ 0 h 4"/>
                <a:gd name="T8" fmla="*/ 16 w 18"/>
                <a:gd name="T9" fmla="*/ 0 h 4"/>
                <a:gd name="T10" fmla="*/ 18 w 18"/>
                <a:gd name="T11" fmla="*/ 2 h 4"/>
                <a:gd name="T12" fmla="*/ 16 w 1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4">
                  <a:moveTo>
                    <a:pt x="1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1"/>
                    <a:pt x="18" y="2"/>
                  </a:cubicBezTo>
                  <a:cubicBezTo>
                    <a:pt x="18" y="3"/>
                    <a:pt x="17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86" name="Picture 85">
            <a:extLst>
              <a:ext uri="{FF2B5EF4-FFF2-40B4-BE49-F238E27FC236}">
                <a16:creationId xmlns:a16="http://schemas.microsoft.com/office/drawing/2014/main" id="{263CFB3A-5C1A-459E-B460-967259A1B0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50185" y="6418764"/>
            <a:ext cx="745234" cy="211062"/>
          </a:xfrm>
          <a:prstGeom prst="rect">
            <a:avLst/>
          </a:prstGeom>
        </p:spPr>
      </p:pic>
      <p:sp>
        <p:nvSpPr>
          <p:cNvPr id="87" name="Oval 86">
            <a:extLst>
              <a:ext uri="{FF2B5EF4-FFF2-40B4-BE49-F238E27FC236}">
                <a16:creationId xmlns:a16="http://schemas.microsoft.com/office/drawing/2014/main" id="{C8A5A2DB-8F1E-432D-B895-83FAE9AFA6C0}"/>
              </a:ext>
            </a:extLst>
          </p:cNvPr>
          <p:cNvSpPr/>
          <p:nvPr/>
        </p:nvSpPr>
        <p:spPr>
          <a:xfrm>
            <a:off x="10348092" y="-475380"/>
            <a:ext cx="1004186" cy="1004186"/>
          </a:xfrm>
          <a:prstGeom prst="ellipse">
            <a:avLst/>
          </a:prstGeom>
          <a:gradFill>
            <a:gsLst>
              <a:gs pos="61104">
                <a:srgbClr val="ED1263"/>
              </a:gs>
              <a:gs pos="100000">
                <a:srgbClr val="FF7437"/>
              </a:gs>
              <a:gs pos="12000">
                <a:srgbClr val="38116E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1271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Arc 42">
            <a:extLst>
              <a:ext uri="{FF2B5EF4-FFF2-40B4-BE49-F238E27FC236}">
                <a16:creationId xmlns:a16="http://schemas.microsoft.com/office/drawing/2014/main" id="{84932E9B-6BF6-4E1F-B70E-70AEC1822151}"/>
              </a:ext>
            </a:extLst>
          </p:cNvPr>
          <p:cNvSpPr/>
          <p:nvPr/>
        </p:nvSpPr>
        <p:spPr>
          <a:xfrm>
            <a:off x="4864100" y="-2413000"/>
            <a:ext cx="7502071" cy="7502071"/>
          </a:xfrm>
          <a:prstGeom prst="arc">
            <a:avLst>
              <a:gd name="adj1" fmla="val 1120267"/>
              <a:gd name="adj2" fmla="val 12082372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1C7EBA-1ADD-431A-948A-DE99DEC742EF}"/>
              </a:ext>
            </a:extLst>
          </p:cNvPr>
          <p:cNvSpPr/>
          <p:nvPr/>
        </p:nvSpPr>
        <p:spPr>
          <a:xfrm>
            <a:off x="3270544" y="2923587"/>
            <a:ext cx="8921455" cy="3205751"/>
          </a:xfrm>
          <a:prstGeom prst="rect">
            <a:avLst/>
          </a:prstGeom>
          <a:solidFill>
            <a:srgbClr val="D438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Top view of a circular maze">
            <a:extLst>
              <a:ext uri="{FF2B5EF4-FFF2-40B4-BE49-F238E27FC236}">
                <a16:creationId xmlns:a16="http://schemas.microsoft.com/office/drawing/2014/main" id="{CCE9AF74-AD4F-4371-B516-322979C1B29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217" r="66256"/>
          <a:stretch/>
        </p:blipFill>
        <p:spPr>
          <a:xfrm>
            <a:off x="0" y="1592262"/>
            <a:ext cx="3471227" cy="5265737"/>
          </a:xfrm>
          <a:prstGeom prst="round1Rect">
            <a:avLst/>
          </a:prstGeom>
        </p:spPr>
      </p:pic>
      <p:sp>
        <p:nvSpPr>
          <p:cNvPr id="87" name="Rectangle: Single Corner Rounded 86">
            <a:extLst>
              <a:ext uri="{FF2B5EF4-FFF2-40B4-BE49-F238E27FC236}">
                <a16:creationId xmlns:a16="http://schemas.microsoft.com/office/drawing/2014/main" id="{5EC25CB1-BCD5-4040-ABB9-5AE679F239EE}"/>
              </a:ext>
            </a:extLst>
          </p:cNvPr>
          <p:cNvSpPr/>
          <p:nvPr/>
        </p:nvSpPr>
        <p:spPr>
          <a:xfrm rot="10800000" flipH="1" flipV="1">
            <a:off x="0" y="1592262"/>
            <a:ext cx="3471227" cy="5265738"/>
          </a:xfrm>
          <a:prstGeom prst="round1Rect">
            <a:avLst>
              <a:gd name="adj" fmla="val 16362"/>
            </a:avLst>
          </a:prstGeom>
          <a:gradFill>
            <a:gsLst>
              <a:gs pos="100000">
                <a:srgbClr val="4D555C">
                  <a:alpha val="86000"/>
                </a:srgbClr>
              </a:gs>
              <a:gs pos="15000">
                <a:srgbClr val="1C1F26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07E484-1734-4C6A-A21F-DBDC31539F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23</a:t>
            </a:fld>
            <a:endParaRPr lang="en-ID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1ADA541-395D-48E1-BF78-9EB74C2571FD}"/>
              </a:ext>
            </a:extLst>
          </p:cNvPr>
          <p:cNvSpPr/>
          <p:nvPr/>
        </p:nvSpPr>
        <p:spPr>
          <a:xfrm>
            <a:off x="789883" y="3690458"/>
            <a:ext cx="2407399" cy="2299524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>
              <a:lnSpc>
                <a:spcPct val="110000"/>
              </a:lnSpc>
              <a:spcAft>
                <a:spcPts val="800"/>
              </a:spcAft>
            </a:pP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labore et dolore magna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Lorem ipsum dolor sit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labore et dolore magna </a:t>
            </a:r>
            <a:r>
              <a:rPr lang="en-US" sz="14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Ut</a:t>
            </a:r>
          </a:p>
        </p:txBody>
      </p:sp>
      <p:sp>
        <p:nvSpPr>
          <p:cNvPr id="44" name="Arc 43">
            <a:extLst>
              <a:ext uri="{FF2B5EF4-FFF2-40B4-BE49-F238E27FC236}">
                <a16:creationId xmlns:a16="http://schemas.microsoft.com/office/drawing/2014/main" id="{DF0556EF-5DB0-4062-85F8-FC0B72F9601D}"/>
              </a:ext>
            </a:extLst>
          </p:cNvPr>
          <p:cNvSpPr/>
          <p:nvPr/>
        </p:nvSpPr>
        <p:spPr>
          <a:xfrm>
            <a:off x="7848683" y="-2832983"/>
            <a:ext cx="4366000" cy="4366000"/>
          </a:xfrm>
          <a:prstGeom prst="arc">
            <a:avLst>
              <a:gd name="adj1" fmla="val 819859"/>
              <a:gd name="adj2" fmla="val 9787001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204047-EE9C-49DF-8ECA-BBEAE67DA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Marketing Strategi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F8D94FB-774D-4CCF-B961-EAF0D82C6BB0}"/>
              </a:ext>
            </a:extLst>
          </p:cNvPr>
          <p:cNvGrpSpPr/>
          <p:nvPr/>
        </p:nvGrpSpPr>
        <p:grpSpPr>
          <a:xfrm>
            <a:off x="1509312" y="2089716"/>
            <a:ext cx="968540" cy="968544"/>
            <a:chOff x="5554663" y="2890838"/>
            <a:chExt cx="357187" cy="357188"/>
          </a:xfrm>
          <a:solidFill>
            <a:schemeClr val="bg1"/>
          </a:solidFill>
        </p:grpSpPr>
        <p:sp>
          <p:nvSpPr>
            <p:cNvPr id="47" name="Freeform 125">
              <a:extLst>
                <a:ext uri="{FF2B5EF4-FFF2-40B4-BE49-F238E27FC236}">
                  <a16:creationId xmlns:a16="http://schemas.microsoft.com/office/drawing/2014/main" id="{E1CCC9B7-422A-4E33-A0E3-E6A5E5DA7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1025" y="3055938"/>
              <a:ext cx="85725" cy="87313"/>
            </a:xfrm>
            <a:custGeom>
              <a:avLst/>
              <a:gdLst>
                <a:gd name="T0" fmla="*/ 14 w 23"/>
                <a:gd name="T1" fmla="*/ 15 h 23"/>
                <a:gd name="T2" fmla="*/ 8 w 23"/>
                <a:gd name="T3" fmla="*/ 9 h 23"/>
                <a:gd name="T4" fmla="*/ 8 w 23"/>
                <a:gd name="T5" fmla="*/ 0 h 23"/>
                <a:gd name="T6" fmla="*/ 0 w 23"/>
                <a:gd name="T7" fmla="*/ 11 h 23"/>
                <a:gd name="T8" fmla="*/ 12 w 23"/>
                <a:gd name="T9" fmla="*/ 23 h 23"/>
                <a:gd name="T10" fmla="*/ 23 w 23"/>
                <a:gd name="T11" fmla="*/ 15 h 23"/>
                <a:gd name="T12" fmla="*/ 14 w 23"/>
                <a:gd name="T13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23">
                  <a:moveTo>
                    <a:pt x="14" y="15"/>
                  </a:moveTo>
                  <a:cubicBezTo>
                    <a:pt x="11" y="15"/>
                    <a:pt x="8" y="12"/>
                    <a:pt x="8" y="9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1"/>
                    <a:pt x="0" y="6"/>
                    <a:pt x="0" y="11"/>
                  </a:cubicBezTo>
                  <a:cubicBezTo>
                    <a:pt x="0" y="18"/>
                    <a:pt x="5" y="23"/>
                    <a:pt x="12" y="23"/>
                  </a:cubicBezTo>
                  <a:cubicBezTo>
                    <a:pt x="17" y="23"/>
                    <a:pt x="22" y="20"/>
                    <a:pt x="23" y="15"/>
                  </a:cubicBezTo>
                  <a:lnTo>
                    <a:pt x="14" y="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126">
              <a:extLst>
                <a:ext uri="{FF2B5EF4-FFF2-40B4-BE49-F238E27FC236}">
                  <a16:creationId xmlns:a16="http://schemas.microsoft.com/office/drawing/2014/main" id="{B363423B-0ACC-4B06-877E-BE9ED51CB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2946401"/>
              <a:ext cx="301625" cy="301625"/>
            </a:xfrm>
            <a:custGeom>
              <a:avLst/>
              <a:gdLst>
                <a:gd name="T0" fmla="*/ 71 w 80"/>
                <a:gd name="T1" fmla="*/ 28 h 80"/>
                <a:gd name="T2" fmla="*/ 77 w 80"/>
                <a:gd name="T3" fmla="*/ 34 h 80"/>
                <a:gd name="T4" fmla="*/ 78 w 80"/>
                <a:gd name="T5" fmla="*/ 40 h 80"/>
                <a:gd name="T6" fmla="*/ 72 w 80"/>
                <a:gd name="T7" fmla="*/ 44 h 80"/>
                <a:gd name="T8" fmla="*/ 66 w 80"/>
                <a:gd name="T9" fmla="*/ 44 h 80"/>
                <a:gd name="T10" fmla="*/ 40 w 80"/>
                <a:gd name="T11" fmla="*/ 66 h 80"/>
                <a:gd name="T12" fmla="*/ 14 w 80"/>
                <a:gd name="T13" fmla="*/ 40 h 80"/>
                <a:gd name="T14" fmla="*/ 36 w 80"/>
                <a:gd name="T15" fmla="*/ 14 h 80"/>
                <a:gd name="T16" fmla="*/ 36 w 80"/>
                <a:gd name="T17" fmla="*/ 7 h 80"/>
                <a:gd name="T18" fmla="*/ 40 w 80"/>
                <a:gd name="T19" fmla="*/ 1 h 80"/>
                <a:gd name="T20" fmla="*/ 46 w 80"/>
                <a:gd name="T21" fmla="*/ 2 h 80"/>
                <a:gd name="T22" fmla="*/ 52 w 80"/>
                <a:gd name="T23" fmla="*/ 8 h 80"/>
                <a:gd name="T24" fmla="*/ 56 w 80"/>
                <a:gd name="T25" fmla="*/ 3 h 80"/>
                <a:gd name="T26" fmla="*/ 40 w 80"/>
                <a:gd name="T27" fmla="*/ 0 h 80"/>
                <a:gd name="T28" fmla="*/ 0 w 80"/>
                <a:gd name="T29" fmla="*/ 40 h 80"/>
                <a:gd name="T30" fmla="*/ 40 w 80"/>
                <a:gd name="T31" fmla="*/ 80 h 80"/>
                <a:gd name="T32" fmla="*/ 80 w 80"/>
                <a:gd name="T33" fmla="*/ 40 h 80"/>
                <a:gd name="T34" fmla="*/ 76 w 80"/>
                <a:gd name="T35" fmla="*/ 23 h 80"/>
                <a:gd name="T36" fmla="*/ 71 w 80"/>
                <a:gd name="T37" fmla="*/ 2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0" h="80">
                  <a:moveTo>
                    <a:pt x="71" y="28"/>
                  </a:moveTo>
                  <a:cubicBezTo>
                    <a:pt x="77" y="34"/>
                    <a:pt x="77" y="34"/>
                    <a:pt x="77" y="34"/>
                  </a:cubicBezTo>
                  <a:cubicBezTo>
                    <a:pt x="78" y="36"/>
                    <a:pt x="79" y="38"/>
                    <a:pt x="78" y="40"/>
                  </a:cubicBezTo>
                  <a:cubicBezTo>
                    <a:pt x="77" y="43"/>
                    <a:pt x="75" y="44"/>
                    <a:pt x="72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4" y="56"/>
                    <a:pt x="53" y="66"/>
                    <a:pt x="40" y="66"/>
                  </a:cubicBezTo>
                  <a:cubicBezTo>
                    <a:pt x="26" y="66"/>
                    <a:pt x="14" y="54"/>
                    <a:pt x="14" y="40"/>
                  </a:cubicBezTo>
                  <a:cubicBezTo>
                    <a:pt x="14" y="27"/>
                    <a:pt x="24" y="16"/>
                    <a:pt x="36" y="14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4"/>
                    <a:pt x="37" y="2"/>
                    <a:pt x="40" y="1"/>
                  </a:cubicBezTo>
                  <a:cubicBezTo>
                    <a:pt x="42" y="0"/>
                    <a:pt x="45" y="1"/>
                    <a:pt x="46" y="2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1" y="1"/>
                    <a:pt x="46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62" y="80"/>
                    <a:pt x="80" y="62"/>
                    <a:pt x="80" y="40"/>
                  </a:cubicBezTo>
                  <a:cubicBezTo>
                    <a:pt x="80" y="34"/>
                    <a:pt x="79" y="28"/>
                    <a:pt x="76" y="23"/>
                  </a:cubicBezTo>
                  <a:lnTo>
                    <a:pt x="71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127">
              <a:extLst>
                <a:ext uri="{FF2B5EF4-FFF2-40B4-BE49-F238E27FC236}">
                  <a16:creationId xmlns:a16="http://schemas.microsoft.com/office/drawing/2014/main" id="{BACE31CF-326C-4DA8-AC5F-BAB28B133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75" y="2890838"/>
              <a:ext cx="206375" cy="206375"/>
            </a:xfrm>
            <a:custGeom>
              <a:avLst/>
              <a:gdLst>
                <a:gd name="T0" fmla="*/ 54 w 55"/>
                <a:gd name="T1" fmla="*/ 12 h 55"/>
                <a:gd name="T2" fmla="*/ 43 w 55"/>
                <a:gd name="T3" fmla="*/ 0 h 55"/>
                <a:gd name="T4" fmla="*/ 41 w 55"/>
                <a:gd name="T5" fmla="*/ 0 h 55"/>
                <a:gd name="T6" fmla="*/ 40 w 55"/>
                <a:gd name="T7" fmla="*/ 0 h 55"/>
                <a:gd name="T8" fmla="*/ 12 w 55"/>
                <a:gd name="T9" fmla="*/ 29 h 55"/>
                <a:gd name="T10" fmla="*/ 3 w 55"/>
                <a:gd name="T11" fmla="*/ 20 h 55"/>
                <a:gd name="T12" fmla="*/ 1 w 55"/>
                <a:gd name="T13" fmla="*/ 20 h 55"/>
                <a:gd name="T14" fmla="*/ 0 w 55"/>
                <a:gd name="T15" fmla="*/ 22 h 55"/>
                <a:gd name="T16" fmla="*/ 0 w 55"/>
                <a:gd name="T17" fmla="*/ 53 h 55"/>
                <a:gd name="T18" fmla="*/ 2 w 55"/>
                <a:gd name="T19" fmla="*/ 55 h 55"/>
                <a:gd name="T20" fmla="*/ 32 w 55"/>
                <a:gd name="T21" fmla="*/ 55 h 55"/>
                <a:gd name="T22" fmla="*/ 34 w 55"/>
                <a:gd name="T23" fmla="*/ 54 h 55"/>
                <a:gd name="T24" fmla="*/ 34 w 55"/>
                <a:gd name="T25" fmla="*/ 52 h 55"/>
                <a:gd name="T26" fmla="*/ 25 w 55"/>
                <a:gd name="T27" fmla="*/ 43 h 55"/>
                <a:gd name="T28" fmla="*/ 54 w 55"/>
                <a:gd name="T29" fmla="*/ 14 h 55"/>
                <a:gd name="T30" fmla="*/ 54 w 55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55">
                  <a:moveTo>
                    <a:pt x="54" y="12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2" y="0"/>
                    <a:pt x="42" y="0"/>
                    <a:pt x="41" y="0"/>
                  </a:cubicBezTo>
                  <a:cubicBezTo>
                    <a:pt x="41" y="0"/>
                    <a:pt x="40" y="0"/>
                    <a:pt x="40" y="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2" y="19"/>
                    <a:pt x="1" y="20"/>
                  </a:cubicBezTo>
                  <a:cubicBezTo>
                    <a:pt x="0" y="20"/>
                    <a:pt x="0" y="21"/>
                    <a:pt x="0" y="2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4"/>
                    <a:pt x="1" y="55"/>
                    <a:pt x="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3" y="55"/>
                    <a:pt x="34" y="55"/>
                    <a:pt x="34" y="54"/>
                  </a:cubicBezTo>
                  <a:cubicBezTo>
                    <a:pt x="35" y="53"/>
                    <a:pt x="34" y="52"/>
                    <a:pt x="34" y="52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5" y="14"/>
                    <a:pt x="55" y="12"/>
                    <a:pt x="54" y="12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70F2401-6668-4466-8CDB-38030333CB0D}"/>
              </a:ext>
            </a:extLst>
          </p:cNvPr>
          <p:cNvGrpSpPr/>
          <p:nvPr/>
        </p:nvGrpSpPr>
        <p:grpSpPr>
          <a:xfrm>
            <a:off x="3767594" y="2509040"/>
            <a:ext cx="7655740" cy="3295422"/>
            <a:chOff x="3776852" y="2509040"/>
            <a:chExt cx="7655740" cy="3295422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0DF4191-0A0D-4BEF-A301-F8F361B16787}"/>
                </a:ext>
              </a:extLst>
            </p:cNvPr>
            <p:cNvCxnSpPr>
              <a:cxnSpLocks/>
            </p:cNvCxnSpPr>
            <p:nvPr/>
          </p:nvCxnSpPr>
          <p:spPr>
            <a:xfrm>
              <a:off x="5486417" y="3248462"/>
              <a:ext cx="0" cy="2556000"/>
            </a:xfrm>
            <a:prstGeom prst="line">
              <a:avLst/>
            </a:prstGeom>
            <a:ln>
              <a:solidFill>
                <a:srgbClr val="F1C1C3">
                  <a:alpha val="46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397B59E8-F989-4D63-A311-113D90C77E4B}"/>
                </a:ext>
              </a:extLst>
            </p:cNvPr>
            <p:cNvCxnSpPr>
              <a:cxnSpLocks/>
            </p:cNvCxnSpPr>
            <p:nvPr/>
          </p:nvCxnSpPr>
          <p:spPr>
            <a:xfrm>
              <a:off x="7604723" y="3248462"/>
              <a:ext cx="0" cy="2556000"/>
            </a:xfrm>
            <a:prstGeom prst="line">
              <a:avLst/>
            </a:prstGeom>
            <a:ln>
              <a:solidFill>
                <a:srgbClr val="F1C1C3">
                  <a:alpha val="46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DD4C6DD-CA0D-4B60-8607-1DBCA55843A5}"/>
                </a:ext>
              </a:extLst>
            </p:cNvPr>
            <p:cNvCxnSpPr>
              <a:cxnSpLocks/>
            </p:cNvCxnSpPr>
            <p:nvPr/>
          </p:nvCxnSpPr>
          <p:spPr>
            <a:xfrm>
              <a:off x="9723029" y="3248462"/>
              <a:ext cx="0" cy="2556000"/>
            </a:xfrm>
            <a:prstGeom prst="line">
              <a:avLst/>
            </a:prstGeom>
            <a:ln>
              <a:solidFill>
                <a:srgbClr val="F1C1C3">
                  <a:alpha val="46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0E09B75-64E2-4C28-A5D2-A29ABD02CC02}"/>
                </a:ext>
              </a:extLst>
            </p:cNvPr>
            <p:cNvGrpSpPr/>
            <p:nvPr/>
          </p:nvGrpSpPr>
          <p:grpSpPr>
            <a:xfrm>
              <a:off x="3776852" y="2509040"/>
              <a:ext cx="1300824" cy="2955525"/>
              <a:chOff x="3776852" y="2509040"/>
              <a:chExt cx="1300824" cy="2955525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522899AD-91FB-47DD-8AA8-FF91D7675EA8}"/>
                  </a:ext>
                </a:extLst>
              </p:cNvPr>
              <p:cNvGrpSpPr/>
              <p:nvPr/>
            </p:nvGrpSpPr>
            <p:grpSpPr>
              <a:xfrm>
                <a:off x="4012718" y="2509040"/>
                <a:ext cx="829092" cy="829092"/>
                <a:chOff x="4054189" y="2509040"/>
                <a:chExt cx="829092" cy="829092"/>
              </a:xfrm>
            </p:grpSpPr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FE19C552-25C7-4E7A-A8F2-D13BF4FFE571}"/>
                    </a:ext>
                  </a:extLst>
                </p:cNvPr>
                <p:cNvSpPr/>
                <p:nvPr/>
              </p:nvSpPr>
              <p:spPr>
                <a:xfrm>
                  <a:off x="4054189" y="2509040"/>
                  <a:ext cx="829092" cy="829092"/>
                </a:xfrm>
                <a:prstGeom prst="ellipse">
                  <a:avLst/>
                </a:prstGeom>
                <a:solidFill>
                  <a:srgbClr val="D4383E">
                    <a:alpha val="10000"/>
                  </a:srgbClr>
                </a:solidFill>
                <a:ln>
                  <a:noFill/>
                </a:ln>
                <a:effectLst>
                  <a:outerShdw blurRad="254000" dist="38100" dir="2700000" algn="tl" rotWithShape="0">
                    <a:srgbClr val="D4383E">
                      <a:alpha val="1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59" name="Oval 58">
                  <a:extLst>
                    <a:ext uri="{FF2B5EF4-FFF2-40B4-BE49-F238E27FC236}">
                      <a16:creationId xmlns:a16="http://schemas.microsoft.com/office/drawing/2014/main" id="{174ADE74-D0F2-4FFC-8C66-98ABAB8C6B2A}"/>
                    </a:ext>
                  </a:extLst>
                </p:cNvPr>
                <p:cNvSpPr/>
                <p:nvPr/>
              </p:nvSpPr>
              <p:spPr>
                <a:xfrm>
                  <a:off x="4188269" y="2640446"/>
                  <a:ext cx="566281" cy="56628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254000" dist="38100" dir="2700000" algn="tl" rotWithShape="0">
                    <a:srgbClr val="D4383E">
                      <a:alpha val="1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64" name="Isosceles Triangle 63">
                  <a:extLst>
                    <a:ext uri="{FF2B5EF4-FFF2-40B4-BE49-F238E27FC236}">
                      <a16:creationId xmlns:a16="http://schemas.microsoft.com/office/drawing/2014/main" id="{3CDCC807-975D-49B3-A2C2-F73DDC63200E}"/>
                    </a:ext>
                  </a:extLst>
                </p:cNvPr>
                <p:cNvSpPr/>
                <p:nvPr/>
              </p:nvSpPr>
              <p:spPr>
                <a:xfrm flipV="1">
                  <a:off x="4296096" y="3141393"/>
                  <a:ext cx="345281" cy="169943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sp>
            <p:nvSpPr>
              <p:cNvPr id="107" name="Freeform 176">
                <a:extLst>
                  <a:ext uri="{FF2B5EF4-FFF2-40B4-BE49-F238E27FC236}">
                    <a16:creationId xmlns:a16="http://schemas.microsoft.com/office/drawing/2014/main" id="{87668BD3-AD4B-4EFE-95A4-1127330B64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05359" y="2789254"/>
                <a:ext cx="243810" cy="268665"/>
              </a:xfrm>
              <a:custGeom>
                <a:avLst/>
                <a:gdLst>
                  <a:gd name="T0" fmla="*/ 81 w 87"/>
                  <a:gd name="T1" fmla="*/ 39 h 96"/>
                  <a:gd name="T2" fmla="*/ 78 w 87"/>
                  <a:gd name="T3" fmla="*/ 34 h 96"/>
                  <a:gd name="T4" fmla="*/ 40 w 87"/>
                  <a:gd name="T5" fmla="*/ 0 h 96"/>
                  <a:gd name="T6" fmla="*/ 0 w 87"/>
                  <a:gd name="T7" fmla="*/ 40 h 96"/>
                  <a:gd name="T8" fmla="*/ 16 w 87"/>
                  <a:gd name="T9" fmla="*/ 72 h 96"/>
                  <a:gd name="T10" fmla="*/ 16 w 87"/>
                  <a:gd name="T11" fmla="*/ 94 h 96"/>
                  <a:gd name="T12" fmla="*/ 18 w 87"/>
                  <a:gd name="T13" fmla="*/ 96 h 96"/>
                  <a:gd name="T14" fmla="*/ 58 w 87"/>
                  <a:gd name="T15" fmla="*/ 96 h 96"/>
                  <a:gd name="T16" fmla="*/ 60 w 87"/>
                  <a:gd name="T17" fmla="*/ 94 h 96"/>
                  <a:gd name="T18" fmla="*/ 60 w 87"/>
                  <a:gd name="T19" fmla="*/ 82 h 96"/>
                  <a:gd name="T20" fmla="*/ 74 w 87"/>
                  <a:gd name="T21" fmla="*/ 78 h 96"/>
                  <a:gd name="T22" fmla="*/ 78 w 87"/>
                  <a:gd name="T23" fmla="*/ 60 h 96"/>
                  <a:gd name="T24" fmla="*/ 82 w 87"/>
                  <a:gd name="T25" fmla="*/ 60 h 96"/>
                  <a:gd name="T26" fmla="*/ 86 w 87"/>
                  <a:gd name="T27" fmla="*/ 58 h 96"/>
                  <a:gd name="T28" fmla="*/ 87 w 87"/>
                  <a:gd name="T29" fmla="*/ 55 h 96"/>
                  <a:gd name="T30" fmla="*/ 87 w 87"/>
                  <a:gd name="T31" fmla="*/ 54 h 96"/>
                  <a:gd name="T32" fmla="*/ 81 w 87"/>
                  <a:gd name="T33" fmla="*/ 39 h 96"/>
                  <a:gd name="T34" fmla="*/ 41 w 87"/>
                  <a:gd name="T35" fmla="*/ 60 h 96"/>
                  <a:gd name="T36" fmla="*/ 40 w 87"/>
                  <a:gd name="T37" fmla="*/ 60 h 96"/>
                  <a:gd name="T38" fmla="*/ 39 w 87"/>
                  <a:gd name="T39" fmla="*/ 60 h 96"/>
                  <a:gd name="T40" fmla="*/ 18 w 87"/>
                  <a:gd name="T41" fmla="*/ 33 h 96"/>
                  <a:gd name="T42" fmla="*/ 30 w 87"/>
                  <a:gd name="T43" fmla="*/ 20 h 96"/>
                  <a:gd name="T44" fmla="*/ 40 w 87"/>
                  <a:gd name="T45" fmla="*/ 26 h 96"/>
                  <a:gd name="T46" fmla="*/ 50 w 87"/>
                  <a:gd name="T47" fmla="*/ 20 h 96"/>
                  <a:gd name="T48" fmla="*/ 62 w 87"/>
                  <a:gd name="T49" fmla="*/ 33 h 96"/>
                  <a:gd name="T50" fmla="*/ 41 w 87"/>
                  <a:gd name="T51" fmla="*/ 6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7" h="96">
                    <a:moveTo>
                      <a:pt x="81" y="39"/>
                    </a:moveTo>
                    <a:cubicBezTo>
                      <a:pt x="80" y="37"/>
                      <a:pt x="78" y="34"/>
                      <a:pt x="78" y="34"/>
                    </a:cubicBezTo>
                    <a:cubicBezTo>
                      <a:pt x="78" y="13"/>
                      <a:pt x="59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5"/>
                      <a:pt x="5" y="65"/>
                      <a:pt x="16" y="72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16" y="95"/>
                      <a:pt x="17" y="96"/>
                      <a:pt x="18" y="96"/>
                    </a:cubicBezTo>
                    <a:cubicBezTo>
                      <a:pt x="58" y="96"/>
                      <a:pt x="58" y="96"/>
                      <a:pt x="58" y="96"/>
                    </a:cubicBezTo>
                    <a:cubicBezTo>
                      <a:pt x="59" y="96"/>
                      <a:pt x="60" y="95"/>
                      <a:pt x="60" y="94"/>
                    </a:cubicBezTo>
                    <a:cubicBezTo>
                      <a:pt x="60" y="82"/>
                      <a:pt x="60" y="82"/>
                      <a:pt x="60" y="82"/>
                    </a:cubicBezTo>
                    <a:cubicBezTo>
                      <a:pt x="67" y="82"/>
                      <a:pt x="71" y="81"/>
                      <a:pt x="74" y="78"/>
                    </a:cubicBezTo>
                    <a:cubicBezTo>
                      <a:pt x="78" y="75"/>
                      <a:pt x="78" y="65"/>
                      <a:pt x="78" y="60"/>
                    </a:cubicBezTo>
                    <a:cubicBezTo>
                      <a:pt x="79" y="60"/>
                      <a:pt x="81" y="60"/>
                      <a:pt x="82" y="60"/>
                    </a:cubicBezTo>
                    <a:cubicBezTo>
                      <a:pt x="84" y="60"/>
                      <a:pt x="85" y="59"/>
                      <a:pt x="86" y="58"/>
                    </a:cubicBezTo>
                    <a:cubicBezTo>
                      <a:pt x="87" y="57"/>
                      <a:pt x="87" y="56"/>
                      <a:pt x="87" y="55"/>
                    </a:cubicBezTo>
                    <a:cubicBezTo>
                      <a:pt x="87" y="54"/>
                      <a:pt x="87" y="54"/>
                      <a:pt x="87" y="54"/>
                    </a:cubicBezTo>
                    <a:cubicBezTo>
                      <a:pt x="87" y="50"/>
                      <a:pt x="84" y="44"/>
                      <a:pt x="81" y="39"/>
                    </a:cubicBezTo>
                    <a:close/>
                    <a:moveTo>
                      <a:pt x="41" y="60"/>
                    </a:moveTo>
                    <a:cubicBezTo>
                      <a:pt x="41" y="60"/>
                      <a:pt x="40" y="60"/>
                      <a:pt x="40" y="60"/>
                    </a:cubicBezTo>
                    <a:cubicBezTo>
                      <a:pt x="40" y="60"/>
                      <a:pt x="39" y="60"/>
                      <a:pt x="39" y="60"/>
                    </a:cubicBezTo>
                    <a:cubicBezTo>
                      <a:pt x="37" y="58"/>
                      <a:pt x="18" y="45"/>
                      <a:pt x="18" y="33"/>
                    </a:cubicBezTo>
                    <a:cubicBezTo>
                      <a:pt x="18" y="25"/>
                      <a:pt x="24" y="20"/>
                      <a:pt x="30" y="20"/>
                    </a:cubicBezTo>
                    <a:cubicBezTo>
                      <a:pt x="33" y="20"/>
                      <a:pt x="37" y="22"/>
                      <a:pt x="40" y="26"/>
                    </a:cubicBezTo>
                    <a:cubicBezTo>
                      <a:pt x="43" y="22"/>
                      <a:pt x="47" y="20"/>
                      <a:pt x="50" y="20"/>
                    </a:cubicBezTo>
                    <a:cubicBezTo>
                      <a:pt x="56" y="20"/>
                      <a:pt x="62" y="25"/>
                      <a:pt x="62" y="33"/>
                    </a:cubicBezTo>
                    <a:cubicBezTo>
                      <a:pt x="62" y="45"/>
                      <a:pt x="43" y="58"/>
                      <a:pt x="41" y="60"/>
                    </a:cubicBezTo>
                    <a:close/>
                  </a:path>
                </a:pathLst>
              </a:custGeom>
              <a:solidFill>
                <a:srgbClr val="D4383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BD659734-FF45-4957-9E50-CC0D5EB9153A}"/>
                  </a:ext>
                </a:extLst>
              </p:cNvPr>
              <p:cNvSpPr/>
              <p:nvPr/>
            </p:nvSpPr>
            <p:spPr>
              <a:xfrm>
                <a:off x="3776852" y="4362248"/>
                <a:ext cx="1300824" cy="1102317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800"/>
                  </a:spcAft>
                </a:pP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Lorem ipsum dolor sit amet, consectetur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dipiscing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elit. Sed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eget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semper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apien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. </a:t>
                </a: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60FBE9EB-A3DC-483D-9361-41989C292910}"/>
                  </a:ext>
                </a:extLst>
              </p:cNvPr>
              <p:cNvSpPr/>
              <p:nvPr/>
            </p:nvSpPr>
            <p:spPr>
              <a:xfrm>
                <a:off x="3776853" y="3783906"/>
                <a:ext cx="1300822" cy="478541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800"/>
                  </a:spcAft>
                </a:pPr>
                <a:r>
                  <a:rPr lang="en-US" sz="1400" b="1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Lorem ipsum dolor sit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D1D7986-BEE2-4A85-9467-C0313D2A0901}"/>
                </a:ext>
              </a:extLst>
            </p:cNvPr>
            <p:cNvGrpSpPr/>
            <p:nvPr/>
          </p:nvGrpSpPr>
          <p:grpSpPr>
            <a:xfrm>
              <a:off x="5895158" y="2509040"/>
              <a:ext cx="1300824" cy="2955525"/>
              <a:chOff x="5929502" y="2509040"/>
              <a:chExt cx="1300824" cy="2955525"/>
            </a:xfrm>
          </p:grpSpPr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739F71C2-45D9-4A32-B971-AD2E64B2FEB0}"/>
                  </a:ext>
                </a:extLst>
              </p:cNvPr>
              <p:cNvGrpSpPr/>
              <p:nvPr/>
            </p:nvGrpSpPr>
            <p:grpSpPr>
              <a:xfrm>
                <a:off x="6165368" y="2509040"/>
                <a:ext cx="829092" cy="829092"/>
                <a:chOff x="4054189" y="2509040"/>
                <a:chExt cx="829092" cy="829092"/>
              </a:xfrm>
            </p:grpSpPr>
            <p:sp>
              <p:nvSpPr>
                <p:cNvPr id="66" name="Oval 65">
                  <a:extLst>
                    <a:ext uri="{FF2B5EF4-FFF2-40B4-BE49-F238E27FC236}">
                      <a16:creationId xmlns:a16="http://schemas.microsoft.com/office/drawing/2014/main" id="{DF2EF198-6122-4E3C-88F4-857FE9CB991C}"/>
                    </a:ext>
                  </a:extLst>
                </p:cNvPr>
                <p:cNvSpPr/>
                <p:nvPr/>
              </p:nvSpPr>
              <p:spPr>
                <a:xfrm>
                  <a:off x="4054189" y="2509040"/>
                  <a:ext cx="829092" cy="829092"/>
                </a:xfrm>
                <a:prstGeom prst="ellipse">
                  <a:avLst/>
                </a:prstGeom>
                <a:solidFill>
                  <a:srgbClr val="D4383E">
                    <a:alpha val="10000"/>
                  </a:srgbClr>
                </a:solidFill>
                <a:ln>
                  <a:noFill/>
                </a:ln>
                <a:effectLst>
                  <a:outerShdw blurRad="254000" dist="38100" dir="2700000" algn="tl" rotWithShape="0">
                    <a:srgbClr val="D4383E">
                      <a:alpha val="1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67" name="Oval 66">
                  <a:extLst>
                    <a:ext uri="{FF2B5EF4-FFF2-40B4-BE49-F238E27FC236}">
                      <a16:creationId xmlns:a16="http://schemas.microsoft.com/office/drawing/2014/main" id="{7312D78E-82F4-4562-AF15-5091CDDC9925}"/>
                    </a:ext>
                  </a:extLst>
                </p:cNvPr>
                <p:cNvSpPr/>
                <p:nvPr/>
              </p:nvSpPr>
              <p:spPr>
                <a:xfrm>
                  <a:off x="4188269" y="2640446"/>
                  <a:ext cx="566281" cy="56628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254000" dist="38100" dir="2700000" algn="tl" rotWithShape="0">
                    <a:srgbClr val="D4383E">
                      <a:alpha val="1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68" name="Isosceles Triangle 67">
                  <a:extLst>
                    <a:ext uri="{FF2B5EF4-FFF2-40B4-BE49-F238E27FC236}">
                      <a16:creationId xmlns:a16="http://schemas.microsoft.com/office/drawing/2014/main" id="{9C759FE0-6D41-4C14-AB8B-D95691C32754}"/>
                    </a:ext>
                  </a:extLst>
                </p:cNvPr>
                <p:cNvSpPr/>
                <p:nvPr/>
              </p:nvSpPr>
              <p:spPr>
                <a:xfrm flipV="1">
                  <a:off x="4296096" y="3141393"/>
                  <a:ext cx="345281" cy="169943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74F223C0-B446-42FC-8868-D82D76701A1D}"/>
                  </a:ext>
                </a:extLst>
              </p:cNvPr>
              <p:cNvGrpSpPr/>
              <p:nvPr/>
            </p:nvGrpSpPr>
            <p:grpSpPr>
              <a:xfrm>
                <a:off x="6469352" y="2777011"/>
                <a:ext cx="221125" cy="293151"/>
                <a:chOff x="4867275" y="717550"/>
                <a:chExt cx="277813" cy="368301"/>
              </a:xfrm>
              <a:solidFill>
                <a:srgbClr val="D4383E"/>
              </a:solidFill>
            </p:grpSpPr>
            <p:sp>
              <p:nvSpPr>
                <p:cNvPr id="109" name="Freeform 66">
                  <a:extLst>
                    <a:ext uri="{FF2B5EF4-FFF2-40B4-BE49-F238E27FC236}">
                      <a16:creationId xmlns:a16="http://schemas.microsoft.com/office/drawing/2014/main" id="{B3BBCA1E-1F6F-4448-B228-BFE862021C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38713" y="979488"/>
                  <a:ext cx="134938" cy="106363"/>
                </a:xfrm>
                <a:custGeom>
                  <a:avLst/>
                  <a:gdLst>
                    <a:gd name="T0" fmla="*/ 29 w 36"/>
                    <a:gd name="T1" fmla="*/ 0 h 28"/>
                    <a:gd name="T2" fmla="*/ 18 w 36"/>
                    <a:gd name="T3" fmla="*/ 5 h 28"/>
                    <a:gd name="T4" fmla="*/ 7 w 36"/>
                    <a:gd name="T5" fmla="*/ 0 h 28"/>
                    <a:gd name="T6" fmla="*/ 0 w 36"/>
                    <a:gd name="T7" fmla="*/ 0 h 28"/>
                    <a:gd name="T8" fmla="*/ 0 w 36"/>
                    <a:gd name="T9" fmla="*/ 26 h 28"/>
                    <a:gd name="T10" fmla="*/ 1 w 36"/>
                    <a:gd name="T11" fmla="*/ 28 h 28"/>
                    <a:gd name="T12" fmla="*/ 3 w 36"/>
                    <a:gd name="T13" fmla="*/ 27 h 28"/>
                    <a:gd name="T14" fmla="*/ 18 w 36"/>
                    <a:gd name="T15" fmla="*/ 13 h 28"/>
                    <a:gd name="T16" fmla="*/ 33 w 36"/>
                    <a:gd name="T17" fmla="*/ 27 h 28"/>
                    <a:gd name="T18" fmla="*/ 34 w 36"/>
                    <a:gd name="T19" fmla="*/ 28 h 28"/>
                    <a:gd name="T20" fmla="*/ 35 w 36"/>
                    <a:gd name="T21" fmla="*/ 28 h 28"/>
                    <a:gd name="T22" fmla="*/ 36 w 36"/>
                    <a:gd name="T23" fmla="*/ 26 h 28"/>
                    <a:gd name="T24" fmla="*/ 36 w 36"/>
                    <a:gd name="T25" fmla="*/ 0 h 28"/>
                    <a:gd name="T26" fmla="*/ 29 w 36"/>
                    <a:gd name="T27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6" h="28">
                      <a:moveTo>
                        <a:pt x="29" y="0"/>
                      </a:moveTo>
                      <a:cubicBezTo>
                        <a:pt x="26" y="3"/>
                        <a:pt x="22" y="5"/>
                        <a:pt x="18" y="5"/>
                      </a:cubicBezTo>
                      <a:cubicBezTo>
                        <a:pt x="14" y="5"/>
                        <a:pt x="10" y="3"/>
                        <a:pt x="7" y="0"/>
                      </a:cubicBezTo>
                      <a:cubicBezTo>
                        <a:pt x="5" y="0"/>
                        <a:pt x="2" y="0"/>
                        <a:pt x="0" y="0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0" y="27"/>
                        <a:pt x="1" y="28"/>
                        <a:pt x="1" y="28"/>
                      </a:cubicBezTo>
                      <a:cubicBezTo>
                        <a:pt x="2" y="28"/>
                        <a:pt x="3" y="28"/>
                        <a:pt x="3" y="27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3" y="28"/>
                        <a:pt x="34" y="28"/>
                        <a:pt x="34" y="28"/>
                      </a:cubicBezTo>
                      <a:cubicBezTo>
                        <a:pt x="34" y="28"/>
                        <a:pt x="35" y="28"/>
                        <a:pt x="35" y="28"/>
                      </a:cubicBezTo>
                      <a:cubicBezTo>
                        <a:pt x="36" y="28"/>
                        <a:pt x="36" y="27"/>
                        <a:pt x="36" y="26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4" y="0"/>
                        <a:pt x="31" y="0"/>
                        <a:pt x="2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10" name="Freeform 67">
                  <a:extLst>
                    <a:ext uri="{FF2B5EF4-FFF2-40B4-BE49-F238E27FC236}">
                      <a16:creationId xmlns:a16="http://schemas.microsoft.com/office/drawing/2014/main" id="{758F54BB-A8CB-48D9-8235-08286D53892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67275" y="717550"/>
                  <a:ext cx="277813" cy="266700"/>
                </a:xfrm>
                <a:custGeom>
                  <a:avLst/>
                  <a:gdLst>
                    <a:gd name="T0" fmla="*/ 68 w 74"/>
                    <a:gd name="T1" fmla="*/ 36 h 71"/>
                    <a:gd name="T2" fmla="*/ 62 w 74"/>
                    <a:gd name="T3" fmla="*/ 19 h 71"/>
                    <a:gd name="T4" fmla="*/ 47 w 74"/>
                    <a:gd name="T5" fmla="*/ 8 h 71"/>
                    <a:gd name="T6" fmla="*/ 27 w 74"/>
                    <a:gd name="T7" fmla="*/ 8 h 71"/>
                    <a:gd name="T8" fmla="*/ 12 w 74"/>
                    <a:gd name="T9" fmla="*/ 19 h 71"/>
                    <a:gd name="T10" fmla="*/ 6 w 74"/>
                    <a:gd name="T11" fmla="*/ 36 h 71"/>
                    <a:gd name="T12" fmla="*/ 12 w 74"/>
                    <a:gd name="T13" fmla="*/ 54 h 71"/>
                    <a:gd name="T14" fmla="*/ 27 w 74"/>
                    <a:gd name="T15" fmla="*/ 65 h 71"/>
                    <a:gd name="T16" fmla="*/ 37 w 74"/>
                    <a:gd name="T17" fmla="*/ 71 h 71"/>
                    <a:gd name="T18" fmla="*/ 47 w 74"/>
                    <a:gd name="T19" fmla="*/ 65 h 71"/>
                    <a:gd name="T20" fmla="*/ 62 w 74"/>
                    <a:gd name="T21" fmla="*/ 54 h 71"/>
                    <a:gd name="T22" fmla="*/ 68 w 74"/>
                    <a:gd name="T23" fmla="*/ 36 h 71"/>
                    <a:gd name="T24" fmla="*/ 56 w 74"/>
                    <a:gd name="T25" fmla="*/ 32 h 71"/>
                    <a:gd name="T26" fmla="*/ 47 w 74"/>
                    <a:gd name="T27" fmla="*/ 39 h 71"/>
                    <a:gd name="T28" fmla="*/ 51 w 74"/>
                    <a:gd name="T29" fmla="*/ 51 h 71"/>
                    <a:gd name="T30" fmla="*/ 50 w 74"/>
                    <a:gd name="T31" fmla="*/ 54 h 71"/>
                    <a:gd name="T32" fmla="*/ 49 w 74"/>
                    <a:gd name="T33" fmla="*/ 54 h 71"/>
                    <a:gd name="T34" fmla="*/ 48 w 74"/>
                    <a:gd name="T35" fmla="*/ 54 h 71"/>
                    <a:gd name="T36" fmla="*/ 37 w 74"/>
                    <a:gd name="T37" fmla="*/ 47 h 71"/>
                    <a:gd name="T38" fmla="*/ 26 w 74"/>
                    <a:gd name="T39" fmla="*/ 54 h 71"/>
                    <a:gd name="T40" fmla="*/ 24 w 74"/>
                    <a:gd name="T41" fmla="*/ 54 h 71"/>
                    <a:gd name="T42" fmla="*/ 23 w 74"/>
                    <a:gd name="T43" fmla="*/ 51 h 71"/>
                    <a:gd name="T44" fmla="*/ 27 w 74"/>
                    <a:gd name="T45" fmla="*/ 39 h 71"/>
                    <a:gd name="T46" fmla="*/ 18 w 74"/>
                    <a:gd name="T47" fmla="*/ 32 h 71"/>
                    <a:gd name="T48" fmla="*/ 17 w 74"/>
                    <a:gd name="T49" fmla="*/ 29 h 71"/>
                    <a:gd name="T50" fmla="*/ 19 w 74"/>
                    <a:gd name="T51" fmla="*/ 28 h 71"/>
                    <a:gd name="T52" fmla="*/ 30 w 74"/>
                    <a:gd name="T53" fmla="*/ 28 h 71"/>
                    <a:gd name="T54" fmla="*/ 35 w 74"/>
                    <a:gd name="T55" fmla="*/ 17 h 71"/>
                    <a:gd name="T56" fmla="*/ 39 w 74"/>
                    <a:gd name="T57" fmla="*/ 17 h 71"/>
                    <a:gd name="T58" fmla="*/ 44 w 74"/>
                    <a:gd name="T59" fmla="*/ 28 h 71"/>
                    <a:gd name="T60" fmla="*/ 55 w 74"/>
                    <a:gd name="T61" fmla="*/ 28 h 71"/>
                    <a:gd name="T62" fmla="*/ 57 w 74"/>
                    <a:gd name="T63" fmla="*/ 29 h 71"/>
                    <a:gd name="T64" fmla="*/ 56 w 74"/>
                    <a:gd name="T65" fmla="*/ 32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4" h="71">
                      <a:moveTo>
                        <a:pt x="68" y="36"/>
                      </a:moveTo>
                      <a:cubicBezTo>
                        <a:pt x="74" y="30"/>
                        <a:pt x="71" y="20"/>
                        <a:pt x="62" y="19"/>
                      </a:cubicBezTo>
                      <a:cubicBezTo>
                        <a:pt x="63" y="10"/>
                        <a:pt x="55" y="4"/>
                        <a:pt x="47" y="8"/>
                      </a:cubicBezTo>
                      <a:cubicBezTo>
                        <a:pt x="43" y="1"/>
                        <a:pt x="32" y="0"/>
                        <a:pt x="27" y="8"/>
                      </a:cubicBezTo>
                      <a:cubicBezTo>
                        <a:pt x="19" y="4"/>
                        <a:pt x="11" y="10"/>
                        <a:pt x="12" y="19"/>
                      </a:cubicBezTo>
                      <a:cubicBezTo>
                        <a:pt x="4" y="20"/>
                        <a:pt x="0" y="30"/>
                        <a:pt x="6" y="36"/>
                      </a:cubicBezTo>
                      <a:cubicBezTo>
                        <a:pt x="0" y="43"/>
                        <a:pt x="4" y="53"/>
                        <a:pt x="12" y="54"/>
                      </a:cubicBezTo>
                      <a:cubicBezTo>
                        <a:pt x="11" y="61"/>
                        <a:pt x="17" y="69"/>
                        <a:pt x="27" y="65"/>
                      </a:cubicBezTo>
                      <a:cubicBezTo>
                        <a:pt x="30" y="69"/>
                        <a:pt x="33" y="71"/>
                        <a:pt x="37" y="71"/>
                      </a:cubicBezTo>
                      <a:cubicBezTo>
                        <a:pt x="41" y="71"/>
                        <a:pt x="44" y="69"/>
                        <a:pt x="47" y="65"/>
                      </a:cubicBezTo>
                      <a:cubicBezTo>
                        <a:pt x="57" y="69"/>
                        <a:pt x="63" y="61"/>
                        <a:pt x="62" y="54"/>
                      </a:cubicBezTo>
                      <a:cubicBezTo>
                        <a:pt x="70" y="53"/>
                        <a:pt x="74" y="43"/>
                        <a:pt x="68" y="36"/>
                      </a:cubicBezTo>
                      <a:close/>
                      <a:moveTo>
                        <a:pt x="56" y="32"/>
                      </a:moveTo>
                      <a:cubicBezTo>
                        <a:pt x="47" y="39"/>
                        <a:pt x="47" y="39"/>
                        <a:pt x="47" y="39"/>
                      </a:cubicBezTo>
                      <a:cubicBezTo>
                        <a:pt x="51" y="51"/>
                        <a:pt x="51" y="51"/>
                        <a:pt x="51" y="51"/>
                      </a:cubicBezTo>
                      <a:cubicBezTo>
                        <a:pt x="51" y="52"/>
                        <a:pt x="51" y="53"/>
                        <a:pt x="50" y="54"/>
                      </a:cubicBezTo>
                      <a:cubicBezTo>
                        <a:pt x="50" y="54"/>
                        <a:pt x="49" y="54"/>
                        <a:pt x="49" y="54"/>
                      </a:cubicBezTo>
                      <a:cubicBezTo>
                        <a:pt x="49" y="54"/>
                        <a:pt x="48" y="54"/>
                        <a:pt x="48" y="54"/>
                      </a:cubicBezTo>
                      <a:cubicBezTo>
                        <a:pt x="37" y="47"/>
                        <a:pt x="37" y="47"/>
                        <a:pt x="37" y="47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5" y="54"/>
                        <a:pt x="24" y="54"/>
                        <a:pt x="24" y="54"/>
                      </a:cubicBezTo>
                      <a:cubicBezTo>
                        <a:pt x="23" y="53"/>
                        <a:pt x="23" y="52"/>
                        <a:pt x="23" y="51"/>
                      </a:cubicBezTo>
                      <a:cubicBezTo>
                        <a:pt x="27" y="39"/>
                        <a:pt x="27" y="39"/>
                        <a:pt x="27" y="39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7" y="31"/>
                        <a:pt x="17" y="30"/>
                        <a:pt x="17" y="29"/>
                      </a:cubicBezTo>
                      <a:cubicBezTo>
                        <a:pt x="17" y="29"/>
                        <a:pt x="18" y="28"/>
                        <a:pt x="19" y="28"/>
                      </a:cubicBezTo>
                      <a:cubicBezTo>
                        <a:pt x="30" y="28"/>
                        <a:pt x="30" y="28"/>
                        <a:pt x="30" y="28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6"/>
                        <a:pt x="38" y="16"/>
                        <a:pt x="39" y="17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5" y="28"/>
                        <a:pt x="55" y="28"/>
                        <a:pt x="55" y="28"/>
                      </a:cubicBezTo>
                      <a:cubicBezTo>
                        <a:pt x="56" y="28"/>
                        <a:pt x="57" y="29"/>
                        <a:pt x="57" y="29"/>
                      </a:cubicBezTo>
                      <a:cubicBezTo>
                        <a:pt x="57" y="30"/>
                        <a:pt x="57" y="31"/>
                        <a:pt x="56" y="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1A1314A5-37D3-44BC-9FAE-DA03D5B87BD7}"/>
                  </a:ext>
                </a:extLst>
              </p:cNvPr>
              <p:cNvSpPr/>
              <p:nvPr/>
            </p:nvSpPr>
            <p:spPr>
              <a:xfrm>
                <a:off x="5929502" y="4362248"/>
                <a:ext cx="1300824" cy="1102317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800"/>
                  </a:spcAft>
                </a:pP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Lorem ipsum dolor sit amet, consectetur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dipiscing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elit. Sed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eget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semper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apien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. 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3E08D4CF-9EA5-4404-BFED-49AC41B89161}"/>
                  </a:ext>
                </a:extLst>
              </p:cNvPr>
              <p:cNvSpPr/>
              <p:nvPr/>
            </p:nvSpPr>
            <p:spPr>
              <a:xfrm>
                <a:off x="5929503" y="3783906"/>
                <a:ext cx="1300822" cy="478541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800"/>
                  </a:spcAft>
                </a:pPr>
                <a:r>
                  <a:rPr lang="en-US" sz="1400" b="1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Lorem ipsum dolor sit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A1B91A4-EC10-4135-AD9F-4AB727319F34}"/>
                </a:ext>
              </a:extLst>
            </p:cNvPr>
            <p:cNvGrpSpPr/>
            <p:nvPr/>
          </p:nvGrpSpPr>
          <p:grpSpPr>
            <a:xfrm>
              <a:off x="8013464" y="2509040"/>
              <a:ext cx="1300824" cy="2955525"/>
              <a:chOff x="8005952" y="2509040"/>
              <a:chExt cx="1300824" cy="2955525"/>
            </a:xfrm>
          </p:grpSpPr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EEE20D5C-BE70-4205-9B31-549758954A39}"/>
                  </a:ext>
                </a:extLst>
              </p:cNvPr>
              <p:cNvGrpSpPr/>
              <p:nvPr/>
            </p:nvGrpSpPr>
            <p:grpSpPr>
              <a:xfrm>
                <a:off x="8241818" y="2509040"/>
                <a:ext cx="829092" cy="829092"/>
                <a:chOff x="4054189" y="2509040"/>
                <a:chExt cx="829092" cy="829092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3541D04C-9623-4D47-91C0-AE3B76705A19}"/>
                    </a:ext>
                  </a:extLst>
                </p:cNvPr>
                <p:cNvSpPr/>
                <p:nvPr/>
              </p:nvSpPr>
              <p:spPr>
                <a:xfrm>
                  <a:off x="4054189" y="2509040"/>
                  <a:ext cx="829092" cy="829092"/>
                </a:xfrm>
                <a:prstGeom prst="ellipse">
                  <a:avLst/>
                </a:prstGeom>
                <a:solidFill>
                  <a:srgbClr val="D4383E">
                    <a:alpha val="10000"/>
                  </a:srgbClr>
                </a:solidFill>
                <a:ln>
                  <a:noFill/>
                </a:ln>
                <a:effectLst>
                  <a:outerShdw blurRad="254000" dist="38100" dir="2700000" algn="tl" rotWithShape="0">
                    <a:srgbClr val="D4383E">
                      <a:alpha val="1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8AC40B82-7960-473D-92D0-06172786DD79}"/>
                    </a:ext>
                  </a:extLst>
                </p:cNvPr>
                <p:cNvSpPr/>
                <p:nvPr/>
              </p:nvSpPr>
              <p:spPr>
                <a:xfrm>
                  <a:off x="4188269" y="2640446"/>
                  <a:ext cx="566281" cy="56628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254000" dist="38100" dir="2700000" algn="tl" rotWithShape="0">
                    <a:srgbClr val="D4383E">
                      <a:alpha val="1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85" name="Isosceles Triangle 84">
                  <a:extLst>
                    <a:ext uri="{FF2B5EF4-FFF2-40B4-BE49-F238E27FC236}">
                      <a16:creationId xmlns:a16="http://schemas.microsoft.com/office/drawing/2014/main" id="{86AC4630-069C-46A6-AD59-26D83278DE6F}"/>
                    </a:ext>
                  </a:extLst>
                </p:cNvPr>
                <p:cNvSpPr/>
                <p:nvPr/>
              </p:nvSpPr>
              <p:spPr>
                <a:xfrm flipV="1">
                  <a:off x="4296096" y="3141393"/>
                  <a:ext cx="345281" cy="169943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9EBC50CC-EECC-4A25-B3DE-CE307E5448D3}"/>
                  </a:ext>
                </a:extLst>
              </p:cNvPr>
              <p:cNvGrpSpPr/>
              <p:nvPr/>
            </p:nvGrpSpPr>
            <p:grpSpPr>
              <a:xfrm>
                <a:off x="8542337" y="2809559"/>
                <a:ext cx="228055" cy="228055"/>
                <a:chOff x="8440738" y="1551245"/>
                <a:chExt cx="360363" cy="360363"/>
              </a:xfrm>
              <a:solidFill>
                <a:srgbClr val="D4383E"/>
              </a:solidFill>
            </p:grpSpPr>
            <p:sp>
              <p:nvSpPr>
                <p:cNvPr id="100" name="Freeform 183">
                  <a:extLst>
                    <a:ext uri="{FF2B5EF4-FFF2-40B4-BE49-F238E27FC236}">
                      <a16:creationId xmlns:a16="http://schemas.microsoft.com/office/drawing/2014/main" id="{0218B1A3-A986-4882-BE59-9747F03669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40738" y="1551245"/>
                  <a:ext cx="269875" cy="360363"/>
                </a:xfrm>
                <a:custGeom>
                  <a:avLst/>
                  <a:gdLst>
                    <a:gd name="T0" fmla="*/ 72 w 72"/>
                    <a:gd name="T1" fmla="*/ 87 h 96"/>
                    <a:gd name="T2" fmla="*/ 64 w 72"/>
                    <a:gd name="T3" fmla="*/ 84 h 96"/>
                    <a:gd name="T4" fmla="*/ 54 w 72"/>
                    <a:gd name="T5" fmla="*/ 88 h 96"/>
                    <a:gd name="T6" fmla="*/ 40 w 72"/>
                    <a:gd name="T7" fmla="*/ 74 h 96"/>
                    <a:gd name="T8" fmla="*/ 40 w 72"/>
                    <a:gd name="T9" fmla="*/ 74 h 96"/>
                    <a:gd name="T10" fmla="*/ 36 w 72"/>
                    <a:gd name="T11" fmla="*/ 72 h 96"/>
                    <a:gd name="T12" fmla="*/ 35 w 72"/>
                    <a:gd name="T13" fmla="*/ 70 h 96"/>
                    <a:gd name="T14" fmla="*/ 35 w 72"/>
                    <a:gd name="T15" fmla="*/ 61 h 96"/>
                    <a:gd name="T16" fmla="*/ 17 w 72"/>
                    <a:gd name="T17" fmla="*/ 46 h 96"/>
                    <a:gd name="T18" fmla="*/ 16 w 72"/>
                    <a:gd name="T19" fmla="*/ 43 h 96"/>
                    <a:gd name="T20" fmla="*/ 25 w 72"/>
                    <a:gd name="T21" fmla="*/ 29 h 96"/>
                    <a:gd name="T22" fmla="*/ 27 w 72"/>
                    <a:gd name="T23" fmla="*/ 28 h 96"/>
                    <a:gd name="T24" fmla="*/ 49 w 72"/>
                    <a:gd name="T25" fmla="*/ 28 h 96"/>
                    <a:gd name="T26" fmla="*/ 49 w 72"/>
                    <a:gd name="T27" fmla="*/ 19 h 96"/>
                    <a:gd name="T28" fmla="*/ 43 w 72"/>
                    <a:gd name="T29" fmla="*/ 16 h 96"/>
                    <a:gd name="T30" fmla="*/ 42 w 72"/>
                    <a:gd name="T31" fmla="*/ 14 h 96"/>
                    <a:gd name="T32" fmla="*/ 43 w 72"/>
                    <a:gd name="T33" fmla="*/ 12 h 96"/>
                    <a:gd name="T34" fmla="*/ 61 w 72"/>
                    <a:gd name="T35" fmla="*/ 2 h 96"/>
                    <a:gd name="T36" fmla="*/ 48 w 72"/>
                    <a:gd name="T37" fmla="*/ 0 h 96"/>
                    <a:gd name="T38" fmla="*/ 0 w 72"/>
                    <a:gd name="T39" fmla="*/ 48 h 96"/>
                    <a:gd name="T40" fmla="*/ 48 w 72"/>
                    <a:gd name="T41" fmla="*/ 96 h 96"/>
                    <a:gd name="T42" fmla="*/ 72 w 72"/>
                    <a:gd name="T43" fmla="*/ 89 h 96"/>
                    <a:gd name="T44" fmla="*/ 72 w 72"/>
                    <a:gd name="T45" fmla="*/ 87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72" h="96">
                      <a:moveTo>
                        <a:pt x="72" y="87"/>
                      </a:moveTo>
                      <a:cubicBezTo>
                        <a:pt x="64" y="84"/>
                        <a:pt x="64" y="84"/>
                        <a:pt x="64" y="84"/>
                      </a:cubicBezTo>
                      <a:cubicBezTo>
                        <a:pt x="61" y="87"/>
                        <a:pt x="58" y="88"/>
                        <a:pt x="54" y="88"/>
                      </a:cubicBezTo>
                      <a:cubicBezTo>
                        <a:pt x="46" y="88"/>
                        <a:pt x="40" y="82"/>
                        <a:pt x="40" y="74"/>
                      </a:cubicBezTo>
                      <a:cubicBezTo>
                        <a:pt x="40" y="74"/>
                        <a:pt x="40" y="74"/>
                        <a:pt x="40" y="74"/>
                      </a:cubicBezTo>
                      <a:cubicBezTo>
                        <a:pt x="36" y="72"/>
                        <a:pt x="36" y="72"/>
                        <a:pt x="36" y="72"/>
                      </a:cubicBezTo>
                      <a:cubicBezTo>
                        <a:pt x="35" y="72"/>
                        <a:pt x="35" y="71"/>
                        <a:pt x="35" y="70"/>
                      </a:cubicBezTo>
                      <a:cubicBezTo>
                        <a:pt x="35" y="61"/>
                        <a:pt x="35" y="61"/>
                        <a:pt x="35" y="61"/>
                      </a:cubicBezTo>
                      <a:cubicBezTo>
                        <a:pt x="17" y="46"/>
                        <a:pt x="17" y="46"/>
                        <a:pt x="17" y="46"/>
                      </a:cubicBezTo>
                      <a:cubicBezTo>
                        <a:pt x="16" y="45"/>
                        <a:pt x="16" y="44"/>
                        <a:pt x="16" y="43"/>
                      </a:cubicBezTo>
                      <a:cubicBezTo>
                        <a:pt x="25" y="29"/>
                        <a:pt x="25" y="29"/>
                        <a:pt x="25" y="29"/>
                      </a:cubicBezTo>
                      <a:cubicBezTo>
                        <a:pt x="26" y="28"/>
                        <a:pt x="26" y="28"/>
                        <a:pt x="27" y="28"/>
                      </a:cubicBezTo>
                      <a:cubicBezTo>
                        <a:pt x="49" y="28"/>
                        <a:pt x="49" y="28"/>
                        <a:pt x="49" y="28"/>
                      </a:cubicBez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43" y="16"/>
                        <a:pt x="43" y="16"/>
                        <a:pt x="43" y="16"/>
                      </a:cubicBezTo>
                      <a:cubicBezTo>
                        <a:pt x="42" y="15"/>
                        <a:pt x="42" y="15"/>
                        <a:pt x="42" y="14"/>
                      </a:cubicBezTo>
                      <a:cubicBezTo>
                        <a:pt x="42" y="13"/>
                        <a:pt x="42" y="13"/>
                        <a:pt x="43" y="12"/>
                      </a:cubicBezTo>
                      <a:cubicBezTo>
                        <a:pt x="61" y="2"/>
                        <a:pt x="61" y="2"/>
                        <a:pt x="61" y="2"/>
                      </a:cubicBezTo>
                      <a:cubicBezTo>
                        <a:pt x="57" y="1"/>
                        <a:pt x="53" y="0"/>
                        <a:pt x="48" y="0"/>
                      </a:cubicBezTo>
                      <a:cubicBezTo>
                        <a:pt x="22" y="0"/>
                        <a:pt x="0" y="22"/>
                        <a:pt x="0" y="48"/>
                      </a:cubicBezTo>
                      <a:cubicBezTo>
                        <a:pt x="0" y="74"/>
                        <a:pt x="22" y="96"/>
                        <a:pt x="48" y="96"/>
                      </a:cubicBezTo>
                      <a:cubicBezTo>
                        <a:pt x="57" y="96"/>
                        <a:pt x="65" y="94"/>
                        <a:pt x="72" y="89"/>
                      </a:cubicBezTo>
                      <a:cubicBezTo>
                        <a:pt x="72" y="89"/>
                        <a:pt x="72" y="88"/>
                        <a:pt x="72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01" name="Freeform 184">
                  <a:extLst>
                    <a:ext uri="{FF2B5EF4-FFF2-40B4-BE49-F238E27FC236}">
                      <a16:creationId xmlns:a16="http://schemas.microsoft.com/office/drawing/2014/main" id="{77D063BB-5117-4365-95C2-FD7DE1EF78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72513" y="1614745"/>
                  <a:ext cx="128588" cy="123825"/>
                </a:xfrm>
                <a:custGeom>
                  <a:avLst/>
                  <a:gdLst>
                    <a:gd name="T0" fmla="*/ 10 w 34"/>
                    <a:gd name="T1" fmla="*/ 26 h 33"/>
                    <a:gd name="T2" fmla="*/ 12 w 34"/>
                    <a:gd name="T3" fmla="*/ 33 h 33"/>
                    <a:gd name="T4" fmla="*/ 24 w 34"/>
                    <a:gd name="T5" fmla="*/ 27 h 33"/>
                    <a:gd name="T6" fmla="*/ 34 w 34"/>
                    <a:gd name="T7" fmla="*/ 31 h 33"/>
                    <a:gd name="T8" fmla="*/ 34 w 34"/>
                    <a:gd name="T9" fmla="*/ 31 h 33"/>
                    <a:gd name="T10" fmla="*/ 22 w 34"/>
                    <a:gd name="T11" fmla="*/ 0 h 33"/>
                    <a:gd name="T12" fmla="*/ 22 w 34"/>
                    <a:gd name="T13" fmla="*/ 1 h 33"/>
                    <a:gd name="T14" fmla="*/ 15 w 34"/>
                    <a:gd name="T15" fmla="*/ 14 h 33"/>
                    <a:gd name="T16" fmla="*/ 13 w 34"/>
                    <a:gd name="T17" fmla="*/ 15 h 33"/>
                    <a:gd name="T18" fmla="*/ 7 w 34"/>
                    <a:gd name="T19" fmla="*/ 15 h 33"/>
                    <a:gd name="T20" fmla="*/ 1 w 34"/>
                    <a:gd name="T21" fmla="*/ 21 h 33"/>
                    <a:gd name="T22" fmla="*/ 0 w 34"/>
                    <a:gd name="T23" fmla="*/ 25 h 33"/>
                    <a:gd name="T24" fmla="*/ 8 w 34"/>
                    <a:gd name="T25" fmla="*/ 25 h 33"/>
                    <a:gd name="T26" fmla="*/ 10 w 34"/>
                    <a:gd name="T27" fmla="*/ 2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4" h="33">
                      <a:moveTo>
                        <a:pt x="10" y="26"/>
                      </a:moveTo>
                      <a:cubicBezTo>
                        <a:pt x="12" y="33"/>
                        <a:pt x="12" y="33"/>
                        <a:pt x="12" y="33"/>
                      </a:cubicBezTo>
                      <a:cubicBezTo>
                        <a:pt x="15" y="30"/>
                        <a:pt x="19" y="27"/>
                        <a:pt x="24" y="27"/>
                      </a:cubicBezTo>
                      <a:cubicBezTo>
                        <a:pt x="28" y="27"/>
                        <a:pt x="31" y="29"/>
                        <a:pt x="34" y="31"/>
                      </a:cubicBezTo>
                      <a:cubicBezTo>
                        <a:pt x="34" y="31"/>
                        <a:pt x="34" y="31"/>
                        <a:pt x="34" y="31"/>
                      </a:cubicBezTo>
                      <a:cubicBezTo>
                        <a:pt x="34" y="19"/>
                        <a:pt x="30" y="8"/>
                        <a:pt x="22" y="0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4" y="15"/>
                        <a:pt x="14" y="15"/>
                        <a:pt x="13" y="15"/>
                      </a:cubicBezTo>
                      <a:cubicBezTo>
                        <a:pt x="7" y="15"/>
                        <a:pt x="7" y="15"/>
                        <a:pt x="7" y="15"/>
                      </a:cubicBezTo>
                      <a:cubicBezTo>
                        <a:pt x="1" y="21"/>
                        <a:pt x="1" y="21"/>
                        <a:pt x="1" y="21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8" y="25"/>
                        <a:pt x="8" y="25"/>
                        <a:pt x="8" y="25"/>
                      </a:cubicBezTo>
                      <a:cubicBezTo>
                        <a:pt x="9" y="25"/>
                        <a:pt x="10" y="26"/>
                        <a:pt x="10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02" name="Freeform 185">
                  <a:extLst>
                    <a:ext uri="{FF2B5EF4-FFF2-40B4-BE49-F238E27FC236}">
                      <a16:creationId xmlns:a16="http://schemas.microsoft.com/office/drawing/2014/main" id="{618170F5-A6A4-43E6-8E70-F22A3121C2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05838" y="1730632"/>
                  <a:ext cx="195263" cy="180975"/>
                </a:xfrm>
                <a:custGeom>
                  <a:avLst/>
                  <a:gdLst>
                    <a:gd name="T0" fmla="*/ 42 w 52"/>
                    <a:gd name="T1" fmla="*/ 28 h 48"/>
                    <a:gd name="T2" fmla="*/ 34 w 52"/>
                    <a:gd name="T3" fmla="*/ 33 h 48"/>
                    <a:gd name="T4" fmla="*/ 20 w 52"/>
                    <a:gd name="T5" fmla="*/ 28 h 48"/>
                    <a:gd name="T6" fmla="*/ 20 w 52"/>
                    <a:gd name="T7" fmla="*/ 23 h 48"/>
                    <a:gd name="T8" fmla="*/ 34 w 52"/>
                    <a:gd name="T9" fmla="*/ 16 h 48"/>
                    <a:gd name="T10" fmla="*/ 42 w 52"/>
                    <a:gd name="T11" fmla="*/ 20 h 48"/>
                    <a:gd name="T12" fmla="*/ 52 w 52"/>
                    <a:gd name="T13" fmla="*/ 10 h 48"/>
                    <a:gd name="T14" fmla="*/ 42 w 52"/>
                    <a:gd name="T15" fmla="*/ 0 h 48"/>
                    <a:gd name="T16" fmla="*/ 32 w 52"/>
                    <a:gd name="T17" fmla="*/ 10 h 48"/>
                    <a:gd name="T18" fmla="*/ 32 w 52"/>
                    <a:gd name="T19" fmla="*/ 13 h 48"/>
                    <a:gd name="T20" fmla="*/ 18 w 52"/>
                    <a:gd name="T21" fmla="*/ 20 h 48"/>
                    <a:gd name="T22" fmla="*/ 10 w 52"/>
                    <a:gd name="T23" fmla="*/ 16 h 48"/>
                    <a:gd name="T24" fmla="*/ 0 w 52"/>
                    <a:gd name="T25" fmla="*/ 26 h 48"/>
                    <a:gd name="T26" fmla="*/ 10 w 52"/>
                    <a:gd name="T27" fmla="*/ 36 h 48"/>
                    <a:gd name="T28" fmla="*/ 18 w 52"/>
                    <a:gd name="T29" fmla="*/ 31 h 48"/>
                    <a:gd name="T30" fmla="*/ 32 w 52"/>
                    <a:gd name="T31" fmla="*/ 36 h 48"/>
                    <a:gd name="T32" fmla="*/ 32 w 52"/>
                    <a:gd name="T33" fmla="*/ 38 h 48"/>
                    <a:gd name="T34" fmla="*/ 42 w 52"/>
                    <a:gd name="T35" fmla="*/ 48 h 48"/>
                    <a:gd name="T36" fmla="*/ 52 w 52"/>
                    <a:gd name="T37" fmla="*/ 38 h 48"/>
                    <a:gd name="T38" fmla="*/ 42 w 52"/>
                    <a:gd name="T39" fmla="*/ 28 h 48"/>
                    <a:gd name="T40" fmla="*/ 42 w 52"/>
                    <a:gd name="T41" fmla="*/ 4 h 48"/>
                    <a:gd name="T42" fmla="*/ 48 w 52"/>
                    <a:gd name="T43" fmla="*/ 10 h 48"/>
                    <a:gd name="T44" fmla="*/ 42 w 52"/>
                    <a:gd name="T45" fmla="*/ 16 h 48"/>
                    <a:gd name="T46" fmla="*/ 36 w 52"/>
                    <a:gd name="T47" fmla="*/ 10 h 48"/>
                    <a:gd name="T48" fmla="*/ 42 w 52"/>
                    <a:gd name="T49" fmla="*/ 4 h 48"/>
                    <a:gd name="T50" fmla="*/ 10 w 52"/>
                    <a:gd name="T51" fmla="*/ 32 h 48"/>
                    <a:gd name="T52" fmla="*/ 4 w 52"/>
                    <a:gd name="T53" fmla="*/ 26 h 48"/>
                    <a:gd name="T54" fmla="*/ 10 w 52"/>
                    <a:gd name="T55" fmla="*/ 20 h 48"/>
                    <a:gd name="T56" fmla="*/ 16 w 52"/>
                    <a:gd name="T57" fmla="*/ 26 h 48"/>
                    <a:gd name="T58" fmla="*/ 10 w 52"/>
                    <a:gd name="T59" fmla="*/ 32 h 48"/>
                    <a:gd name="T60" fmla="*/ 42 w 52"/>
                    <a:gd name="T61" fmla="*/ 44 h 48"/>
                    <a:gd name="T62" fmla="*/ 36 w 52"/>
                    <a:gd name="T63" fmla="*/ 38 h 48"/>
                    <a:gd name="T64" fmla="*/ 42 w 52"/>
                    <a:gd name="T65" fmla="*/ 32 h 48"/>
                    <a:gd name="T66" fmla="*/ 48 w 52"/>
                    <a:gd name="T67" fmla="*/ 38 h 48"/>
                    <a:gd name="T68" fmla="*/ 42 w 52"/>
                    <a:gd name="T6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2" h="48">
                      <a:moveTo>
                        <a:pt x="42" y="28"/>
                      </a:moveTo>
                      <a:cubicBezTo>
                        <a:pt x="38" y="28"/>
                        <a:pt x="35" y="30"/>
                        <a:pt x="34" y="33"/>
                      </a:cubicBezTo>
                      <a:cubicBezTo>
                        <a:pt x="20" y="28"/>
                        <a:pt x="20" y="28"/>
                        <a:pt x="20" y="28"/>
                      </a:cubicBezTo>
                      <a:cubicBezTo>
                        <a:pt x="20" y="26"/>
                        <a:pt x="20" y="25"/>
                        <a:pt x="20" y="23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6" y="19"/>
                        <a:pt x="39" y="20"/>
                        <a:pt x="42" y="20"/>
                      </a:cubicBezTo>
                      <a:cubicBezTo>
                        <a:pt x="48" y="20"/>
                        <a:pt x="52" y="16"/>
                        <a:pt x="52" y="10"/>
                      </a:cubicBezTo>
                      <a:cubicBezTo>
                        <a:pt x="52" y="5"/>
                        <a:pt x="48" y="0"/>
                        <a:pt x="42" y="0"/>
                      </a:cubicBezTo>
                      <a:cubicBezTo>
                        <a:pt x="36" y="0"/>
                        <a:pt x="32" y="5"/>
                        <a:pt x="32" y="10"/>
                      </a:cubicBezTo>
                      <a:cubicBezTo>
                        <a:pt x="32" y="11"/>
                        <a:pt x="32" y="12"/>
                        <a:pt x="32" y="13"/>
                      </a:cubicBezTo>
                      <a:cubicBezTo>
                        <a:pt x="18" y="20"/>
                        <a:pt x="18" y="20"/>
                        <a:pt x="18" y="20"/>
                      </a:cubicBezTo>
                      <a:cubicBezTo>
                        <a:pt x="16" y="18"/>
                        <a:pt x="13" y="16"/>
                        <a:pt x="10" y="16"/>
                      </a:cubicBezTo>
                      <a:cubicBezTo>
                        <a:pt x="4" y="16"/>
                        <a:pt x="0" y="21"/>
                        <a:pt x="0" y="26"/>
                      </a:cubicBezTo>
                      <a:cubicBezTo>
                        <a:pt x="0" y="32"/>
                        <a:pt x="4" y="36"/>
                        <a:pt x="10" y="36"/>
                      </a:cubicBezTo>
                      <a:cubicBezTo>
                        <a:pt x="14" y="36"/>
                        <a:pt x="17" y="34"/>
                        <a:pt x="18" y="31"/>
                      </a:cubicBezTo>
                      <a:cubicBezTo>
                        <a:pt x="32" y="36"/>
                        <a:pt x="32" y="36"/>
                        <a:pt x="32" y="36"/>
                      </a:cubicBezTo>
                      <a:cubicBezTo>
                        <a:pt x="32" y="37"/>
                        <a:pt x="32" y="37"/>
                        <a:pt x="32" y="38"/>
                      </a:cubicBezTo>
                      <a:cubicBezTo>
                        <a:pt x="32" y="44"/>
                        <a:pt x="36" y="48"/>
                        <a:pt x="42" y="48"/>
                      </a:cubicBezTo>
                      <a:cubicBezTo>
                        <a:pt x="48" y="48"/>
                        <a:pt x="52" y="44"/>
                        <a:pt x="52" y="38"/>
                      </a:cubicBezTo>
                      <a:cubicBezTo>
                        <a:pt x="52" y="33"/>
                        <a:pt x="48" y="28"/>
                        <a:pt x="42" y="28"/>
                      </a:cubicBezTo>
                      <a:close/>
                      <a:moveTo>
                        <a:pt x="42" y="4"/>
                      </a:moveTo>
                      <a:cubicBezTo>
                        <a:pt x="45" y="4"/>
                        <a:pt x="48" y="7"/>
                        <a:pt x="48" y="10"/>
                      </a:cubicBezTo>
                      <a:cubicBezTo>
                        <a:pt x="48" y="13"/>
                        <a:pt x="45" y="16"/>
                        <a:pt x="42" y="16"/>
                      </a:cubicBezTo>
                      <a:cubicBezTo>
                        <a:pt x="39" y="16"/>
                        <a:pt x="36" y="13"/>
                        <a:pt x="36" y="10"/>
                      </a:cubicBezTo>
                      <a:cubicBezTo>
                        <a:pt x="36" y="7"/>
                        <a:pt x="39" y="4"/>
                        <a:pt x="42" y="4"/>
                      </a:cubicBezTo>
                      <a:close/>
                      <a:moveTo>
                        <a:pt x="10" y="32"/>
                      </a:moveTo>
                      <a:cubicBezTo>
                        <a:pt x="7" y="32"/>
                        <a:pt x="4" y="29"/>
                        <a:pt x="4" y="26"/>
                      </a:cubicBezTo>
                      <a:cubicBezTo>
                        <a:pt x="4" y="23"/>
                        <a:pt x="7" y="20"/>
                        <a:pt x="10" y="20"/>
                      </a:cubicBezTo>
                      <a:cubicBezTo>
                        <a:pt x="13" y="20"/>
                        <a:pt x="16" y="23"/>
                        <a:pt x="16" y="26"/>
                      </a:cubicBezTo>
                      <a:cubicBezTo>
                        <a:pt x="16" y="29"/>
                        <a:pt x="13" y="32"/>
                        <a:pt x="10" y="32"/>
                      </a:cubicBezTo>
                      <a:close/>
                      <a:moveTo>
                        <a:pt x="42" y="44"/>
                      </a:moveTo>
                      <a:cubicBezTo>
                        <a:pt x="39" y="44"/>
                        <a:pt x="36" y="41"/>
                        <a:pt x="36" y="38"/>
                      </a:cubicBezTo>
                      <a:cubicBezTo>
                        <a:pt x="36" y="35"/>
                        <a:pt x="39" y="32"/>
                        <a:pt x="42" y="32"/>
                      </a:cubicBezTo>
                      <a:cubicBezTo>
                        <a:pt x="45" y="32"/>
                        <a:pt x="48" y="35"/>
                        <a:pt x="48" y="38"/>
                      </a:cubicBezTo>
                      <a:cubicBezTo>
                        <a:pt x="48" y="41"/>
                        <a:pt x="45" y="44"/>
                        <a:pt x="42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B80E45FE-5F41-480E-A42B-9A808A9BC6BE}"/>
                  </a:ext>
                </a:extLst>
              </p:cNvPr>
              <p:cNvSpPr/>
              <p:nvPr/>
            </p:nvSpPr>
            <p:spPr>
              <a:xfrm>
                <a:off x="8005952" y="4362248"/>
                <a:ext cx="1300824" cy="1102317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800"/>
                  </a:spcAft>
                </a:pP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Lorem ipsum dolor sit amet, consectetur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dipiscing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elit. Sed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eget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semper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apien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. </a:t>
                </a: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200F73CD-B533-4092-BE04-FB7D0D72D888}"/>
                  </a:ext>
                </a:extLst>
              </p:cNvPr>
              <p:cNvSpPr/>
              <p:nvPr/>
            </p:nvSpPr>
            <p:spPr>
              <a:xfrm>
                <a:off x="8005953" y="3783906"/>
                <a:ext cx="1300822" cy="478541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800"/>
                  </a:spcAft>
                </a:pPr>
                <a:r>
                  <a:rPr lang="en-US" sz="1400" b="1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Lorem ipsum dolor sit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38CC469-324D-4EE9-8E1A-5E0862CD5C1F}"/>
                </a:ext>
              </a:extLst>
            </p:cNvPr>
            <p:cNvGrpSpPr/>
            <p:nvPr/>
          </p:nvGrpSpPr>
          <p:grpSpPr>
            <a:xfrm>
              <a:off x="10131768" y="2509040"/>
              <a:ext cx="1300824" cy="2955525"/>
              <a:chOff x="10282427" y="2509040"/>
              <a:chExt cx="1300824" cy="2955525"/>
            </a:xfrm>
          </p:grpSpPr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A3328BEF-2199-4D6C-9807-9892AC89FF77}"/>
                  </a:ext>
                </a:extLst>
              </p:cNvPr>
              <p:cNvGrpSpPr/>
              <p:nvPr/>
            </p:nvGrpSpPr>
            <p:grpSpPr>
              <a:xfrm>
                <a:off x="10518293" y="2509040"/>
                <a:ext cx="829092" cy="829092"/>
                <a:chOff x="4054189" y="2509040"/>
                <a:chExt cx="829092" cy="829092"/>
              </a:xfrm>
            </p:grpSpPr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6EDCE90F-C77C-437F-AE3C-23BF7F080343}"/>
                    </a:ext>
                  </a:extLst>
                </p:cNvPr>
                <p:cNvSpPr/>
                <p:nvPr/>
              </p:nvSpPr>
              <p:spPr>
                <a:xfrm>
                  <a:off x="4054189" y="2509040"/>
                  <a:ext cx="829092" cy="829092"/>
                </a:xfrm>
                <a:prstGeom prst="ellipse">
                  <a:avLst/>
                </a:prstGeom>
                <a:solidFill>
                  <a:srgbClr val="D4383E">
                    <a:alpha val="10000"/>
                  </a:srgbClr>
                </a:solidFill>
                <a:ln>
                  <a:noFill/>
                </a:ln>
                <a:effectLst>
                  <a:outerShdw blurRad="254000" dist="38100" dir="2700000" algn="tl" rotWithShape="0">
                    <a:srgbClr val="D4383E">
                      <a:alpha val="1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93" name="Oval 92">
                  <a:extLst>
                    <a:ext uri="{FF2B5EF4-FFF2-40B4-BE49-F238E27FC236}">
                      <a16:creationId xmlns:a16="http://schemas.microsoft.com/office/drawing/2014/main" id="{EB6DB39A-7243-4102-BE3D-5EAC80EE5A0C}"/>
                    </a:ext>
                  </a:extLst>
                </p:cNvPr>
                <p:cNvSpPr/>
                <p:nvPr/>
              </p:nvSpPr>
              <p:spPr>
                <a:xfrm>
                  <a:off x="4188269" y="2640446"/>
                  <a:ext cx="566281" cy="56628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254000" dist="38100" dir="2700000" algn="tl" rotWithShape="0">
                    <a:srgbClr val="D4383E">
                      <a:alpha val="1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95" name="Isosceles Triangle 94">
                  <a:extLst>
                    <a:ext uri="{FF2B5EF4-FFF2-40B4-BE49-F238E27FC236}">
                      <a16:creationId xmlns:a16="http://schemas.microsoft.com/office/drawing/2014/main" id="{1B6621E3-1847-405F-9822-2596C81FD735}"/>
                    </a:ext>
                  </a:extLst>
                </p:cNvPr>
                <p:cNvSpPr/>
                <p:nvPr/>
              </p:nvSpPr>
              <p:spPr>
                <a:xfrm flipV="1">
                  <a:off x="4296096" y="3141393"/>
                  <a:ext cx="345281" cy="169943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22162CAF-E138-4421-B08A-757130C9C3E5}"/>
                  </a:ext>
                </a:extLst>
              </p:cNvPr>
              <p:cNvGrpSpPr/>
              <p:nvPr/>
            </p:nvGrpSpPr>
            <p:grpSpPr>
              <a:xfrm>
                <a:off x="10825785" y="2814611"/>
                <a:ext cx="214109" cy="217950"/>
                <a:chOff x="3398838" y="5054601"/>
                <a:chExt cx="354012" cy="360362"/>
              </a:xfrm>
              <a:solidFill>
                <a:srgbClr val="D4383E"/>
              </a:solidFill>
            </p:grpSpPr>
            <p:sp>
              <p:nvSpPr>
                <p:cNvPr id="104" name="Oval 213">
                  <a:extLst>
                    <a:ext uri="{FF2B5EF4-FFF2-40B4-BE49-F238E27FC236}">
                      <a16:creationId xmlns:a16="http://schemas.microsoft.com/office/drawing/2014/main" id="{69E8B66E-32B6-47D7-A60E-E130EA3AB1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29000" y="5054601"/>
                  <a:ext cx="120650" cy="1190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05" name="Freeform 214">
                  <a:extLst>
                    <a:ext uri="{FF2B5EF4-FFF2-40B4-BE49-F238E27FC236}">
                      <a16:creationId xmlns:a16="http://schemas.microsoft.com/office/drawing/2014/main" id="{4C6B2FB5-CB9C-4D16-80C1-2D84722971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8838" y="5189538"/>
                  <a:ext cx="180975" cy="225425"/>
                </a:xfrm>
                <a:custGeom>
                  <a:avLst/>
                  <a:gdLst>
                    <a:gd name="T0" fmla="*/ 28 w 48"/>
                    <a:gd name="T1" fmla="*/ 0 h 60"/>
                    <a:gd name="T2" fmla="*/ 30 w 48"/>
                    <a:gd name="T3" fmla="*/ 27 h 60"/>
                    <a:gd name="T4" fmla="*/ 24 w 48"/>
                    <a:gd name="T5" fmla="*/ 33 h 60"/>
                    <a:gd name="T6" fmla="*/ 18 w 48"/>
                    <a:gd name="T7" fmla="*/ 27 h 60"/>
                    <a:gd name="T8" fmla="*/ 20 w 48"/>
                    <a:gd name="T9" fmla="*/ 0 h 60"/>
                    <a:gd name="T10" fmla="*/ 0 w 48"/>
                    <a:gd name="T11" fmla="*/ 0 h 60"/>
                    <a:gd name="T12" fmla="*/ 0 w 48"/>
                    <a:gd name="T13" fmla="*/ 2 h 60"/>
                    <a:gd name="T14" fmla="*/ 14 w 48"/>
                    <a:gd name="T15" fmla="*/ 33 h 60"/>
                    <a:gd name="T16" fmla="*/ 14 w 48"/>
                    <a:gd name="T17" fmla="*/ 60 h 60"/>
                    <a:gd name="T18" fmla="*/ 34 w 48"/>
                    <a:gd name="T19" fmla="*/ 60 h 60"/>
                    <a:gd name="T20" fmla="*/ 34 w 48"/>
                    <a:gd name="T21" fmla="*/ 33 h 60"/>
                    <a:gd name="T22" fmla="*/ 48 w 48"/>
                    <a:gd name="T23" fmla="*/ 2 h 60"/>
                    <a:gd name="T24" fmla="*/ 48 w 48"/>
                    <a:gd name="T25" fmla="*/ 0 h 60"/>
                    <a:gd name="T26" fmla="*/ 28 w 48"/>
                    <a:gd name="T27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8" h="60">
                      <a:moveTo>
                        <a:pt x="28" y="0"/>
                      </a:moveTo>
                      <a:cubicBezTo>
                        <a:pt x="30" y="27"/>
                        <a:pt x="30" y="27"/>
                        <a:pt x="30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18" y="27"/>
                        <a:pt x="18" y="27"/>
                        <a:pt x="18" y="27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6"/>
                        <a:pt x="5" y="27"/>
                        <a:pt x="14" y="33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34" y="60"/>
                        <a:pt x="34" y="60"/>
                        <a:pt x="34" y="60"/>
                      </a:cubicBezTo>
                      <a:cubicBezTo>
                        <a:pt x="34" y="33"/>
                        <a:pt x="34" y="33"/>
                        <a:pt x="34" y="33"/>
                      </a:cubicBezTo>
                      <a:cubicBezTo>
                        <a:pt x="43" y="27"/>
                        <a:pt x="48" y="16"/>
                        <a:pt x="48" y="2"/>
                      </a:cubicBezTo>
                      <a:cubicBezTo>
                        <a:pt x="48" y="0"/>
                        <a:pt x="48" y="0"/>
                        <a:pt x="48" y="0"/>
                      </a:cubicBezTo>
                      <a:lnTo>
                        <a:pt x="2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06" name="Freeform 215">
                  <a:extLst>
                    <a:ext uri="{FF2B5EF4-FFF2-40B4-BE49-F238E27FC236}">
                      <a16:creationId xmlns:a16="http://schemas.microsoft.com/office/drawing/2014/main" id="{6145B957-D83B-4477-9C6D-F8A0AE21BD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33775" y="5057776"/>
                  <a:ext cx="219075" cy="293688"/>
                </a:xfrm>
                <a:custGeom>
                  <a:avLst/>
                  <a:gdLst>
                    <a:gd name="T0" fmla="*/ 57 w 58"/>
                    <a:gd name="T1" fmla="*/ 15 h 78"/>
                    <a:gd name="T2" fmla="*/ 25 w 58"/>
                    <a:gd name="T3" fmla="*/ 1 h 78"/>
                    <a:gd name="T4" fmla="*/ 23 w 58"/>
                    <a:gd name="T5" fmla="*/ 1 h 78"/>
                    <a:gd name="T6" fmla="*/ 7 w 58"/>
                    <a:gd name="T7" fmla="*/ 9 h 78"/>
                    <a:gd name="T8" fmla="*/ 8 w 58"/>
                    <a:gd name="T9" fmla="*/ 15 h 78"/>
                    <a:gd name="T10" fmla="*/ 0 w 58"/>
                    <a:gd name="T11" fmla="*/ 31 h 78"/>
                    <a:gd name="T12" fmla="*/ 18 w 58"/>
                    <a:gd name="T13" fmla="*/ 31 h 78"/>
                    <a:gd name="T14" fmla="*/ 18 w 58"/>
                    <a:gd name="T15" fmla="*/ 21 h 78"/>
                    <a:gd name="T16" fmla="*/ 20 w 58"/>
                    <a:gd name="T17" fmla="*/ 19 h 78"/>
                    <a:gd name="T18" fmla="*/ 28 w 58"/>
                    <a:gd name="T19" fmla="*/ 19 h 78"/>
                    <a:gd name="T20" fmla="*/ 30 w 58"/>
                    <a:gd name="T21" fmla="*/ 21 h 78"/>
                    <a:gd name="T22" fmla="*/ 30 w 58"/>
                    <a:gd name="T23" fmla="*/ 31 h 78"/>
                    <a:gd name="T24" fmla="*/ 40 w 58"/>
                    <a:gd name="T25" fmla="*/ 31 h 78"/>
                    <a:gd name="T26" fmla="*/ 42 w 58"/>
                    <a:gd name="T27" fmla="*/ 33 h 78"/>
                    <a:gd name="T28" fmla="*/ 42 w 58"/>
                    <a:gd name="T29" fmla="*/ 41 h 78"/>
                    <a:gd name="T30" fmla="*/ 40 w 58"/>
                    <a:gd name="T31" fmla="*/ 43 h 78"/>
                    <a:gd name="T32" fmla="*/ 30 w 58"/>
                    <a:gd name="T33" fmla="*/ 43 h 78"/>
                    <a:gd name="T34" fmla="*/ 30 w 58"/>
                    <a:gd name="T35" fmla="*/ 53 h 78"/>
                    <a:gd name="T36" fmla="*/ 28 w 58"/>
                    <a:gd name="T37" fmla="*/ 55 h 78"/>
                    <a:gd name="T38" fmla="*/ 20 w 58"/>
                    <a:gd name="T39" fmla="*/ 55 h 78"/>
                    <a:gd name="T40" fmla="*/ 18 w 58"/>
                    <a:gd name="T41" fmla="*/ 53 h 78"/>
                    <a:gd name="T42" fmla="*/ 18 w 58"/>
                    <a:gd name="T43" fmla="*/ 45 h 78"/>
                    <a:gd name="T44" fmla="*/ 18 w 58"/>
                    <a:gd name="T45" fmla="*/ 43 h 78"/>
                    <a:gd name="T46" fmla="*/ 16 w 58"/>
                    <a:gd name="T47" fmla="*/ 43 h 78"/>
                    <a:gd name="T48" fmla="*/ 5 w 58"/>
                    <a:gd name="T49" fmla="*/ 67 h 78"/>
                    <a:gd name="T50" fmla="*/ 23 w 58"/>
                    <a:gd name="T51" fmla="*/ 78 h 78"/>
                    <a:gd name="T52" fmla="*/ 24 w 58"/>
                    <a:gd name="T53" fmla="*/ 78 h 78"/>
                    <a:gd name="T54" fmla="*/ 24 w 58"/>
                    <a:gd name="T55" fmla="*/ 78 h 78"/>
                    <a:gd name="T56" fmla="*/ 25 w 58"/>
                    <a:gd name="T57" fmla="*/ 78 h 78"/>
                    <a:gd name="T58" fmla="*/ 58 w 58"/>
                    <a:gd name="T59" fmla="*/ 17 h 78"/>
                    <a:gd name="T60" fmla="*/ 57 w 58"/>
                    <a:gd name="T61" fmla="*/ 15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58" h="78">
                      <a:moveTo>
                        <a:pt x="57" y="15"/>
                      </a:moveTo>
                      <a:cubicBezTo>
                        <a:pt x="56" y="15"/>
                        <a:pt x="33" y="8"/>
                        <a:pt x="25" y="1"/>
                      </a:cubicBezTo>
                      <a:cubicBezTo>
                        <a:pt x="25" y="0"/>
                        <a:pt x="23" y="0"/>
                        <a:pt x="23" y="1"/>
                      </a:cubicBezTo>
                      <a:cubicBezTo>
                        <a:pt x="19" y="4"/>
                        <a:pt x="13" y="7"/>
                        <a:pt x="7" y="9"/>
                      </a:cubicBezTo>
                      <a:cubicBezTo>
                        <a:pt x="8" y="11"/>
                        <a:pt x="8" y="13"/>
                        <a:pt x="8" y="15"/>
                      </a:cubicBezTo>
                      <a:cubicBezTo>
                        <a:pt x="8" y="22"/>
                        <a:pt x="5" y="27"/>
                        <a:pt x="0" y="31"/>
                      </a:cubicBezTo>
                      <a:cubicBezTo>
                        <a:pt x="12" y="31"/>
                        <a:pt x="6" y="31"/>
                        <a:pt x="18" y="3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8" y="20"/>
                        <a:pt x="19" y="19"/>
                        <a:pt x="20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9" y="19"/>
                        <a:pt x="30" y="20"/>
                        <a:pt x="30" y="21"/>
                      </a:cubicBezTo>
                      <a:cubicBezTo>
                        <a:pt x="30" y="31"/>
                        <a:pt x="30" y="31"/>
                        <a:pt x="30" y="31"/>
                      </a:cubicBezTo>
                      <a:cubicBezTo>
                        <a:pt x="40" y="31"/>
                        <a:pt x="40" y="31"/>
                        <a:pt x="40" y="31"/>
                      </a:cubicBezTo>
                      <a:cubicBezTo>
                        <a:pt x="41" y="31"/>
                        <a:pt x="42" y="32"/>
                        <a:pt x="42" y="33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42" y="42"/>
                        <a:pt x="41" y="43"/>
                        <a:pt x="40" y="43"/>
                      </a:cubicBezTo>
                      <a:cubicBezTo>
                        <a:pt x="30" y="43"/>
                        <a:pt x="30" y="43"/>
                        <a:pt x="30" y="43"/>
                      </a:cubicBezTo>
                      <a:cubicBezTo>
                        <a:pt x="30" y="53"/>
                        <a:pt x="30" y="53"/>
                        <a:pt x="30" y="53"/>
                      </a:cubicBezTo>
                      <a:cubicBezTo>
                        <a:pt x="30" y="54"/>
                        <a:pt x="29" y="55"/>
                        <a:pt x="28" y="55"/>
                      </a:cubicBezTo>
                      <a:cubicBezTo>
                        <a:pt x="20" y="55"/>
                        <a:pt x="20" y="55"/>
                        <a:pt x="20" y="55"/>
                      </a:cubicBezTo>
                      <a:cubicBezTo>
                        <a:pt x="19" y="55"/>
                        <a:pt x="18" y="54"/>
                        <a:pt x="18" y="53"/>
                      </a:cubicBezTo>
                      <a:cubicBezTo>
                        <a:pt x="18" y="45"/>
                        <a:pt x="18" y="45"/>
                        <a:pt x="18" y="45"/>
                      </a:cubicBezTo>
                      <a:cubicBezTo>
                        <a:pt x="18" y="43"/>
                        <a:pt x="18" y="43"/>
                        <a:pt x="18" y="43"/>
                      </a:cubicBezTo>
                      <a:cubicBezTo>
                        <a:pt x="16" y="43"/>
                        <a:pt x="16" y="43"/>
                        <a:pt x="16" y="43"/>
                      </a:cubicBezTo>
                      <a:cubicBezTo>
                        <a:pt x="15" y="53"/>
                        <a:pt x="11" y="62"/>
                        <a:pt x="5" y="67"/>
                      </a:cubicBezTo>
                      <a:cubicBezTo>
                        <a:pt x="10" y="71"/>
                        <a:pt x="16" y="75"/>
                        <a:pt x="23" y="78"/>
                      </a:cubicBezTo>
                      <a:cubicBezTo>
                        <a:pt x="23" y="78"/>
                        <a:pt x="24" y="78"/>
                        <a:pt x="24" y="78"/>
                      </a:cubicBezTo>
                      <a:cubicBezTo>
                        <a:pt x="24" y="78"/>
                        <a:pt x="24" y="78"/>
                        <a:pt x="24" y="78"/>
                      </a:cubicBezTo>
                      <a:cubicBezTo>
                        <a:pt x="24" y="78"/>
                        <a:pt x="24" y="78"/>
                        <a:pt x="25" y="78"/>
                      </a:cubicBezTo>
                      <a:cubicBezTo>
                        <a:pt x="56" y="66"/>
                        <a:pt x="58" y="44"/>
                        <a:pt x="58" y="17"/>
                      </a:cubicBezTo>
                      <a:cubicBezTo>
                        <a:pt x="58" y="16"/>
                        <a:pt x="57" y="15"/>
                        <a:pt x="57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743CCD4E-0A68-417E-B3A2-C8E166F3E9C2}"/>
                  </a:ext>
                </a:extLst>
              </p:cNvPr>
              <p:cNvSpPr/>
              <p:nvPr/>
            </p:nvSpPr>
            <p:spPr>
              <a:xfrm>
                <a:off x="10282427" y="4362248"/>
                <a:ext cx="1300824" cy="1102317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800"/>
                  </a:spcAft>
                </a:pP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Lorem ipsum dolor sit amet, consectetur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dipiscing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elit. Sed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eget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semper </a:t>
                </a:r>
                <a:r>
                  <a:rPr lang="en-US" sz="1200" dirty="0" err="1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apien</a:t>
                </a:r>
                <a:r>
                  <a:rPr lang="en-US" sz="12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. 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47B2674E-6265-4B87-B323-D6B6C1C220B7}"/>
                  </a:ext>
                </a:extLst>
              </p:cNvPr>
              <p:cNvSpPr/>
              <p:nvPr/>
            </p:nvSpPr>
            <p:spPr>
              <a:xfrm>
                <a:off x="10282428" y="3783906"/>
                <a:ext cx="1300822" cy="478541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800"/>
                  </a:spcAft>
                </a:pPr>
                <a:r>
                  <a:rPr lang="en-US" sz="1400" b="1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Lorem ipsum dolor si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738770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text, person, computer, indoor&#10;&#10;Description automatically generated">
            <a:extLst>
              <a:ext uri="{FF2B5EF4-FFF2-40B4-BE49-F238E27FC236}">
                <a16:creationId xmlns:a16="http://schemas.microsoft.com/office/drawing/2014/main" id="{BB988711-3F60-4DEF-B023-4930EA829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1169" r="1008" b="12536"/>
          <a:stretch/>
        </p:blipFill>
        <p:spPr>
          <a:xfrm>
            <a:off x="1" y="1653185"/>
            <a:ext cx="9353549" cy="4176115"/>
          </a:xfrm>
          <a:prstGeom prst="rect">
            <a:avLst/>
          </a:prstGeom>
        </p:spPr>
      </p:pic>
      <p:sp>
        <p:nvSpPr>
          <p:cNvPr id="60" name="Arc 59">
            <a:extLst>
              <a:ext uri="{FF2B5EF4-FFF2-40B4-BE49-F238E27FC236}">
                <a16:creationId xmlns:a16="http://schemas.microsoft.com/office/drawing/2014/main" id="{C5F3D928-472B-4354-AA59-C8FA8B51CD7E}"/>
              </a:ext>
            </a:extLst>
          </p:cNvPr>
          <p:cNvSpPr/>
          <p:nvPr/>
        </p:nvSpPr>
        <p:spPr>
          <a:xfrm>
            <a:off x="-1837609" y="4603986"/>
            <a:ext cx="4366000" cy="4366000"/>
          </a:xfrm>
          <a:prstGeom prst="arc">
            <a:avLst>
              <a:gd name="adj1" fmla="val 15648179"/>
              <a:gd name="adj2" fmla="val 346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3" name="Arc 42">
            <a:extLst>
              <a:ext uri="{FF2B5EF4-FFF2-40B4-BE49-F238E27FC236}">
                <a16:creationId xmlns:a16="http://schemas.microsoft.com/office/drawing/2014/main" id="{84932E9B-6BF6-4E1F-B70E-70AEC1822151}"/>
              </a:ext>
            </a:extLst>
          </p:cNvPr>
          <p:cNvSpPr/>
          <p:nvPr/>
        </p:nvSpPr>
        <p:spPr>
          <a:xfrm>
            <a:off x="4864100" y="-2413000"/>
            <a:ext cx="7502071" cy="7502071"/>
          </a:xfrm>
          <a:prstGeom prst="arc">
            <a:avLst>
              <a:gd name="adj1" fmla="val 1120267"/>
              <a:gd name="adj2" fmla="val 12082372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79CA997-DFCD-49E1-B9DD-94B6000325B8}"/>
              </a:ext>
            </a:extLst>
          </p:cNvPr>
          <p:cNvSpPr/>
          <p:nvPr/>
        </p:nvSpPr>
        <p:spPr>
          <a:xfrm>
            <a:off x="1" y="1509205"/>
            <a:ext cx="9353550" cy="4320095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07E484-1734-4C6A-A21F-DBDC31539F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24</a:t>
            </a:fld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204047-EE9C-49DF-8ECA-BBEAE67DA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Marketing Chann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D6BC80D-A459-433C-80F0-AC66185C747B}"/>
              </a:ext>
            </a:extLst>
          </p:cNvPr>
          <p:cNvGrpSpPr/>
          <p:nvPr/>
        </p:nvGrpSpPr>
        <p:grpSpPr>
          <a:xfrm>
            <a:off x="6328035" y="1784804"/>
            <a:ext cx="6380777" cy="3768897"/>
            <a:chOff x="506462" y="2241843"/>
            <a:chExt cx="5589537" cy="3301540"/>
          </a:xfrm>
        </p:grpSpPr>
        <p:pic>
          <p:nvPicPr>
            <p:cNvPr id="8" name="Picture 7" descr="Short-haired woman in glasses and suit looking at camera and standing in front of seated colleagues in conference hall">
              <a:extLst>
                <a:ext uri="{FF2B5EF4-FFF2-40B4-BE49-F238E27FC236}">
                  <a16:creationId xmlns:a16="http://schemas.microsoft.com/office/drawing/2014/main" id="{84145406-675C-4C6A-8113-BF55C1E72A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55" t="28811" r="20568" b="1112"/>
            <a:stretch/>
          </p:blipFill>
          <p:spPr>
            <a:xfrm>
              <a:off x="1151070" y="2324409"/>
              <a:ext cx="4505786" cy="3004122"/>
            </a:xfrm>
            <a:prstGeom prst="rect">
              <a:avLst/>
            </a:prstGeom>
          </p:spPr>
        </p:pic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79FADC49-D2C4-4576-ACCE-BA04F8169D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4367" t="-1335" r="-485" b="1335"/>
            <a:stretch/>
          </p:blipFill>
          <p:spPr>
            <a:xfrm flipH="1">
              <a:off x="506462" y="2241843"/>
              <a:ext cx="5589537" cy="3301540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58D0B2C-C47C-4275-9A3E-6D8DCF6AD60C}"/>
              </a:ext>
            </a:extLst>
          </p:cNvPr>
          <p:cNvGrpSpPr/>
          <p:nvPr/>
        </p:nvGrpSpPr>
        <p:grpSpPr>
          <a:xfrm>
            <a:off x="1184235" y="1773278"/>
            <a:ext cx="2178336" cy="1095633"/>
            <a:chOff x="6095999" y="3248715"/>
            <a:chExt cx="1948357" cy="1095633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B5C4E532-AF3C-4765-9B91-33FECF95BB5D}"/>
                </a:ext>
              </a:extLst>
            </p:cNvPr>
            <p:cNvSpPr/>
            <p:nvPr/>
          </p:nvSpPr>
          <p:spPr>
            <a:xfrm>
              <a:off x="6096000" y="3616012"/>
              <a:ext cx="1948356" cy="728336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sed do</a:t>
              </a: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E8843C69-1377-4C14-A54A-432485DD60FA}"/>
                </a:ext>
              </a:extLst>
            </p:cNvPr>
            <p:cNvSpPr/>
            <p:nvPr/>
          </p:nvSpPr>
          <p:spPr>
            <a:xfrm>
              <a:off x="6095999" y="3248715"/>
              <a:ext cx="1948356" cy="342017"/>
            </a:xfrm>
            <a:prstGeom prst="rect">
              <a:avLst/>
            </a:prstGeom>
            <a:noFill/>
          </p:spPr>
          <p:txBody>
            <a:bodyPr wrap="square" lIns="0" tIns="0" rIns="0" bIns="0" anchor="b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</a:t>
              </a:r>
            </a:p>
          </p:txBody>
        </p:sp>
      </p:grpSp>
      <p:sp>
        <p:nvSpPr>
          <p:cNvPr id="180" name="Oval 179">
            <a:extLst>
              <a:ext uri="{FF2B5EF4-FFF2-40B4-BE49-F238E27FC236}">
                <a16:creationId xmlns:a16="http://schemas.microsoft.com/office/drawing/2014/main" id="{732D38A2-B802-4546-8485-8A477D4C8903}"/>
              </a:ext>
            </a:extLst>
          </p:cNvPr>
          <p:cNvSpPr/>
          <p:nvPr/>
        </p:nvSpPr>
        <p:spPr>
          <a:xfrm>
            <a:off x="515938" y="1773278"/>
            <a:ext cx="488869" cy="48886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A66F7237-C285-4F3E-9CF2-2A5697CD7EEB}"/>
              </a:ext>
            </a:extLst>
          </p:cNvPr>
          <p:cNvGrpSpPr/>
          <p:nvPr/>
        </p:nvGrpSpPr>
        <p:grpSpPr>
          <a:xfrm>
            <a:off x="1184235" y="3144379"/>
            <a:ext cx="2178336" cy="1095633"/>
            <a:chOff x="6095999" y="3248715"/>
            <a:chExt cx="1948357" cy="1095633"/>
          </a:xfrm>
        </p:grpSpPr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AF86BD25-8E80-4206-8481-7B600A0E3A6C}"/>
                </a:ext>
              </a:extLst>
            </p:cNvPr>
            <p:cNvSpPr/>
            <p:nvPr/>
          </p:nvSpPr>
          <p:spPr>
            <a:xfrm>
              <a:off x="6096000" y="3616012"/>
              <a:ext cx="1948356" cy="728336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sed do</a:t>
              </a: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23620CA4-2608-433A-9458-89F5CC054245}"/>
                </a:ext>
              </a:extLst>
            </p:cNvPr>
            <p:cNvSpPr/>
            <p:nvPr/>
          </p:nvSpPr>
          <p:spPr>
            <a:xfrm>
              <a:off x="6095999" y="3248715"/>
              <a:ext cx="1948356" cy="342017"/>
            </a:xfrm>
            <a:prstGeom prst="rect">
              <a:avLst/>
            </a:prstGeom>
            <a:noFill/>
          </p:spPr>
          <p:txBody>
            <a:bodyPr wrap="square" lIns="0" tIns="0" rIns="0" bIns="0" anchor="b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</a:t>
              </a:r>
            </a:p>
          </p:txBody>
        </p:sp>
      </p:grpSp>
      <p:sp>
        <p:nvSpPr>
          <p:cNvPr id="184" name="Oval 183">
            <a:extLst>
              <a:ext uri="{FF2B5EF4-FFF2-40B4-BE49-F238E27FC236}">
                <a16:creationId xmlns:a16="http://schemas.microsoft.com/office/drawing/2014/main" id="{13514A00-CBF5-49B9-83B5-C1B50C22B7FC}"/>
              </a:ext>
            </a:extLst>
          </p:cNvPr>
          <p:cNvSpPr/>
          <p:nvPr/>
        </p:nvSpPr>
        <p:spPr>
          <a:xfrm>
            <a:off x="515938" y="3144379"/>
            <a:ext cx="488869" cy="48886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D978282-A1C0-493C-B383-3FECFEB54797}"/>
              </a:ext>
            </a:extLst>
          </p:cNvPr>
          <p:cNvGrpSpPr/>
          <p:nvPr/>
        </p:nvGrpSpPr>
        <p:grpSpPr>
          <a:xfrm>
            <a:off x="4287741" y="1773278"/>
            <a:ext cx="2178336" cy="1095633"/>
            <a:chOff x="6095999" y="3248715"/>
            <a:chExt cx="1948357" cy="1095633"/>
          </a:xfrm>
        </p:grpSpPr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D043AA7E-1F54-4230-AFB0-D8C1C19450D5}"/>
                </a:ext>
              </a:extLst>
            </p:cNvPr>
            <p:cNvSpPr/>
            <p:nvPr/>
          </p:nvSpPr>
          <p:spPr>
            <a:xfrm>
              <a:off x="6096000" y="3616011"/>
              <a:ext cx="1948356" cy="728337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sed do</a:t>
              </a: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0023DB26-E9F4-4BC2-9782-6FFA4D36E535}"/>
                </a:ext>
              </a:extLst>
            </p:cNvPr>
            <p:cNvSpPr/>
            <p:nvPr/>
          </p:nvSpPr>
          <p:spPr>
            <a:xfrm>
              <a:off x="6095999" y="3248715"/>
              <a:ext cx="1948356" cy="342017"/>
            </a:xfrm>
            <a:prstGeom prst="rect">
              <a:avLst/>
            </a:prstGeom>
            <a:noFill/>
          </p:spPr>
          <p:txBody>
            <a:bodyPr wrap="square" lIns="0" tIns="0" rIns="0" bIns="0" anchor="b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</a:t>
              </a:r>
            </a:p>
          </p:txBody>
        </p:sp>
      </p:grpSp>
      <p:sp>
        <p:nvSpPr>
          <p:cNvPr id="188" name="Oval 187">
            <a:extLst>
              <a:ext uri="{FF2B5EF4-FFF2-40B4-BE49-F238E27FC236}">
                <a16:creationId xmlns:a16="http://schemas.microsoft.com/office/drawing/2014/main" id="{36C78557-4F3C-4718-8A26-81650619813C}"/>
              </a:ext>
            </a:extLst>
          </p:cNvPr>
          <p:cNvSpPr/>
          <p:nvPr/>
        </p:nvSpPr>
        <p:spPr>
          <a:xfrm>
            <a:off x="3619444" y="1773278"/>
            <a:ext cx="488869" cy="48886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BCDB2A0C-0756-4DB5-926D-1D718ACDDD4A}"/>
              </a:ext>
            </a:extLst>
          </p:cNvPr>
          <p:cNvGrpSpPr/>
          <p:nvPr/>
        </p:nvGrpSpPr>
        <p:grpSpPr>
          <a:xfrm>
            <a:off x="4287741" y="3144379"/>
            <a:ext cx="2178336" cy="1120911"/>
            <a:chOff x="6095999" y="3248715"/>
            <a:chExt cx="1948357" cy="1120911"/>
          </a:xfrm>
        </p:grpSpPr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E3A421B6-6255-43A4-B20C-1C2CA2EB0FDD}"/>
                </a:ext>
              </a:extLst>
            </p:cNvPr>
            <p:cNvSpPr/>
            <p:nvPr/>
          </p:nvSpPr>
          <p:spPr>
            <a:xfrm>
              <a:off x="6096000" y="3616011"/>
              <a:ext cx="1948356" cy="753615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sed do</a:t>
              </a: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9EAD2653-9AC3-4175-BC93-9D4150DD2817}"/>
                </a:ext>
              </a:extLst>
            </p:cNvPr>
            <p:cNvSpPr/>
            <p:nvPr/>
          </p:nvSpPr>
          <p:spPr>
            <a:xfrm>
              <a:off x="6095999" y="3248715"/>
              <a:ext cx="1948356" cy="342017"/>
            </a:xfrm>
            <a:prstGeom prst="rect">
              <a:avLst/>
            </a:prstGeom>
            <a:noFill/>
          </p:spPr>
          <p:txBody>
            <a:bodyPr wrap="square" lIns="0" tIns="0" rIns="0" bIns="0" anchor="b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</a:t>
              </a:r>
            </a:p>
          </p:txBody>
        </p:sp>
      </p:grpSp>
      <p:sp>
        <p:nvSpPr>
          <p:cNvPr id="192" name="Oval 191">
            <a:extLst>
              <a:ext uri="{FF2B5EF4-FFF2-40B4-BE49-F238E27FC236}">
                <a16:creationId xmlns:a16="http://schemas.microsoft.com/office/drawing/2014/main" id="{691BB820-321E-4BAD-B41A-B5FD3FFEC67E}"/>
              </a:ext>
            </a:extLst>
          </p:cNvPr>
          <p:cNvSpPr/>
          <p:nvPr/>
        </p:nvSpPr>
        <p:spPr>
          <a:xfrm>
            <a:off x="3619444" y="3144379"/>
            <a:ext cx="488869" cy="48886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E4ECA8AF-63F2-4968-921A-A7870DAA761E}"/>
              </a:ext>
            </a:extLst>
          </p:cNvPr>
          <p:cNvGrpSpPr/>
          <p:nvPr/>
        </p:nvGrpSpPr>
        <p:grpSpPr>
          <a:xfrm>
            <a:off x="1184235" y="4536905"/>
            <a:ext cx="2178336" cy="1095633"/>
            <a:chOff x="6095999" y="3248715"/>
            <a:chExt cx="1948357" cy="1095633"/>
          </a:xfrm>
        </p:grpSpPr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767BAC0D-0743-4825-ACFA-21C8289E6E4A}"/>
                </a:ext>
              </a:extLst>
            </p:cNvPr>
            <p:cNvSpPr/>
            <p:nvPr/>
          </p:nvSpPr>
          <p:spPr>
            <a:xfrm>
              <a:off x="6096000" y="3616012"/>
              <a:ext cx="1948356" cy="728336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sed do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2812D10F-539F-4B2B-AAD7-08336260DDE9}"/>
                </a:ext>
              </a:extLst>
            </p:cNvPr>
            <p:cNvSpPr/>
            <p:nvPr/>
          </p:nvSpPr>
          <p:spPr>
            <a:xfrm>
              <a:off x="6095999" y="3248715"/>
              <a:ext cx="1948356" cy="342017"/>
            </a:xfrm>
            <a:prstGeom prst="rect">
              <a:avLst/>
            </a:prstGeom>
            <a:noFill/>
          </p:spPr>
          <p:txBody>
            <a:bodyPr wrap="square" lIns="0" tIns="0" rIns="0" bIns="0" anchor="b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</a:t>
              </a:r>
            </a:p>
          </p:txBody>
        </p:sp>
      </p:grpSp>
      <p:sp>
        <p:nvSpPr>
          <p:cNvPr id="204" name="Oval 203">
            <a:extLst>
              <a:ext uri="{FF2B5EF4-FFF2-40B4-BE49-F238E27FC236}">
                <a16:creationId xmlns:a16="http://schemas.microsoft.com/office/drawing/2014/main" id="{D1A9D189-9869-44C3-B4F3-73761381AC21}"/>
              </a:ext>
            </a:extLst>
          </p:cNvPr>
          <p:cNvSpPr/>
          <p:nvPr/>
        </p:nvSpPr>
        <p:spPr>
          <a:xfrm>
            <a:off x="515938" y="4536905"/>
            <a:ext cx="488869" cy="48886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9D8CE1EB-E142-46E3-AB0A-8EE94DA7FCA7}"/>
              </a:ext>
            </a:extLst>
          </p:cNvPr>
          <p:cNvGrpSpPr/>
          <p:nvPr/>
        </p:nvGrpSpPr>
        <p:grpSpPr>
          <a:xfrm>
            <a:off x="4287741" y="4536905"/>
            <a:ext cx="2178336" cy="1120911"/>
            <a:chOff x="6095999" y="3248715"/>
            <a:chExt cx="1948357" cy="1120911"/>
          </a:xfrm>
        </p:grpSpPr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C7201CC1-A287-43B9-B0C6-22448D7BD3EE}"/>
                </a:ext>
              </a:extLst>
            </p:cNvPr>
            <p:cNvSpPr/>
            <p:nvPr/>
          </p:nvSpPr>
          <p:spPr>
            <a:xfrm>
              <a:off x="6096000" y="3616011"/>
              <a:ext cx="1948356" cy="753615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, sed do</a:t>
              </a: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C0AFFEEC-0B2C-4DE3-AD62-8DB36FE633A3}"/>
                </a:ext>
              </a:extLst>
            </p:cNvPr>
            <p:cNvSpPr/>
            <p:nvPr/>
          </p:nvSpPr>
          <p:spPr>
            <a:xfrm>
              <a:off x="6095999" y="3248715"/>
              <a:ext cx="1948356" cy="342017"/>
            </a:xfrm>
            <a:prstGeom prst="rect">
              <a:avLst/>
            </a:prstGeom>
            <a:noFill/>
          </p:spPr>
          <p:txBody>
            <a:bodyPr wrap="square" lIns="0" tIns="0" rIns="0" bIns="0" anchor="b" anchorCtr="0">
              <a:noAutofit/>
            </a:bodyPr>
            <a:lstStyle/>
            <a:p>
              <a:pPr>
                <a:lnSpc>
                  <a:spcPct val="110000"/>
                </a:lnSpc>
                <a:spcAft>
                  <a:spcPts val="8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rem ipsum dolor sit</a:t>
              </a:r>
            </a:p>
          </p:txBody>
        </p:sp>
      </p:grpSp>
      <p:sp>
        <p:nvSpPr>
          <p:cNvPr id="208" name="Oval 207">
            <a:extLst>
              <a:ext uri="{FF2B5EF4-FFF2-40B4-BE49-F238E27FC236}">
                <a16:creationId xmlns:a16="http://schemas.microsoft.com/office/drawing/2014/main" id="{2A1F3F2D-8D3B-4B42-8BC5-F12E376B2935}"/>
              </a:ext>
            </a:extLst>
          </p:cNvPr>
          <p:cNvSpPr/>
          <p:nvPr/>
        </p:nvSpPr>
        <p:spPr>
          <a:xfrm>
            <a:off x="3619444" y="4536905"/>
            <a:ext cx="488869" cy="488869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A47B9954-13CC-4EAA-AE44-C3984BDF49A0}"/>
              </a:ext>
            </a:extLst>
          </p:cNvPr>
          <p:cNvGrpSpPr/>
          <p:nvPr/>
        </p:nvGrpSpPr>
        <p:grpSpPr>
          <a:xfrm>
            <a:off x="611462" y="1868146"/>
            <a:ext cx="297821" cy="299132"/>
            <a:chOff x="6276975" y="1443038"/>
            <a:chExt cx="360363" cy="361950"/>
          </a:xfrm>
          <a:solidFill>
            <a:schemeClr val="bg1"/>
          </a:solidFill>
        </p:grpSpPr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0718E619-7CAF-44A0-9D35-E812038948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1913" y="1577976"/>
              <a:ext cx="90488" cy="90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1" name="Freeform 87">
              <a:extLst>
                <a:ext uri="{FF2B5EF4-FFF2-40B4-BE49-F238E27FC236}">
                  <a16:creationId xmlns:a16="http://schemas.microsoft.com/office/drawing/2014/main" id="{F649AACF-4F25-445C-8C67-BAF4F0D4D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1443038"/>
              <a:ext cx="360363" cy="361950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68 w 96"/>
                <a:gd name="T11" fmla="*/ 64 h 96"/>
                <a:gd name="T12" fmla="*/ 60 w 96"/>
                <a:gd name="T13" fmla="*/ 58 h 96"/>
                <a:gd name="T14" fmla="*/ 48 w 96"/>
                <a:gd name="T15" fmla="*/ 64 h 96"/>
                <a:gd name="T16" fmla="*/ 32 w 96"/>
                <a:gd name="T17" fmla="*/ 48 h 96"/>
                <a:gd name="T18" fmla="*/ 48 w 96"/>
                <a:gd name="T19" fmla="*/ 32 h 96"/>
                <a:gd name="T20" fmla="*/ 60 w 96"/>
                <a:gd name="T21" fmla="*/ 37 h 96"/>
                <a:gd name="T22" fmla="*/ 60 w 96"/>
                <a:gd name="T23" fmla="*/ 36 h 96"/>
                <a:gd name="T24" fmla="*/ 62 w 96"/>
                <a:gd name="T25" fmla="*/ 34 h 96"/>
                <a:gd name="T26" fmla="*/ 64 w 96"/>
                <a:gd name="T27" fmla="*/ 36 h 96"/>
                <a:gd name="T28" fmla="*/ 64 w 96"/>
                <a:gd name="T29" fmla="*/ 56 h 96"/>
                <a:gd name="T30" fmla="*/ 68 w 96"/>
                <a:gd name="T31" fmla="*/ 60 h 96"/>
                <a:gd name="T32" fmla="*/ 77 w 96"/>
                <a:gd name="T33" fmla="*/ 46 h 96"/>
                <a:gd name="T34" fmla="*/ 70 w 96"/>
                <a:gd name="T35" fmla="*/ 30 h 96"/>
                <a:gd name="T36" fmla="*/ 48 w 96"/>
                <a:gd name="T37" fmla="*/ 22 h 96"/>
                <a:gd name="T38" fmla="*/ 22 w 96"/>
                <a:gd name="T39" fmla="*/ 48 h 96"/>
                <a:gd name="T40" fmla="*/ 48 w 96"/>
                <a:gd name="T41" fmla="*/ 74 h 96"/>
                <a:gd name="T42" fmla="*/ 61 w 96"/>
                <a:gd name="T43" fmla="*/ 71 h 96"/>
                <a:gd name="T44" fmla="*/ 64 w 96"/>
                <a:gd name="T45" fmla="*/ 71 h 96"/>
                <a:gd name="T46" fmla="*/ 63 w 96"/>
                <a:gd name="T47" fmla="*/ 74 h 96"/>
                <a:gd name="T48" fmla="*/ 48 w 96"/>
                <a:gd name="T49" fmla="*/ 78 h 96"/>
                <a:gd name="T50" fmla="*/ 18 w 96"/>
                <a:gd name="T51" fmla="*/ 48 h 96"/>
                <a:gd name="T52" fmla="*/ 48 w 96"/>
                <a:gd name="T53" fmla="*/ 18 h 96"/>
                <a:gd name="T54" fmla="*/ 73 w 96"/>
                <a:gd name="T55" fmla="*/ 27 h 96"/>
                <a:gd name="T56" fmla="*/ 81 w 96"/>
                <a:gd name="T57" fmla="*/ 46 h 96"/>
                <a:gd name="T58" fmla="*/ 68 w 96"/>
                <a:gd name="T59" fmla="*/ 6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4" y="96"/>
                    <a:pt x="96" y="74"/>
                    <a:pt x="96" y="48"/>
                  </a:cubicBezTo>
                  <a:cubicBezTo>
                    <a:pt x="96" y="22"/>
                    <a:pt x="74" y="0"/>
                    <a:pt x="48" y="0"/>
                  </a:cubicBezTo>
                  <a:close/>
                  <a:moveTo>
                    <a:pt x="68" y="64"/>
                  </a:moveTo>
                  <a:cubicBezTo>
                    <a:pt x="64" y="64"/>
                    <a:pt x="61" y="62"/>
                    <a:pt x="60" y="58"/>
                  </a:cubicBezTo>
                  <a:cubicBezTo>
                    <a:pt x="57" y="62"/>
                    <a:pt x="53" y="64"/>
                    <a:pt x="48" y="64"/>
                  </a:cubicBezTo>
                  <a:cubicBezTo>
                    <a:pt x="39" y="64"/>
                    <a:pt x="32" y="57"/>
                    <a:pt x="32" y="48"/>
                  </a:cubicBezTo>
                  <a:cubicBezTo>
                    <a:pt x="32" y="39"/>
                    <a:pt x="39" y="32"/>
                    <a:pt x="48" y="32"/>
                  </a:cubicBezTo>
                  <a:cubicBezTo>
                    <a:pt x="53" y="32"/>
                    <a:pt x="57" y="34"/>
                    <a:pt x="60" y="37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5"/>
                    <a:pt x="61" y="34"/>
                    <a:pt x="62" y="34"/>
                  </a:cubicBezTo>
                  <a:cubicBezTo>
                    <a:pt x="63" y="34"/>
                    <a:pt x="64" y="35"/>
                    <a:pt x="64" y="3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8"/>
                    <a:pt x="64" y="60"/>
                    <a:pt x="68" y="60"/>
                  </a:cubicBezTo>
                  <a:cubicBezTo>
                    <a:pt x="74" y="60"/>
                    <a:pt x="77" y="53"/>
                    <a:pt x="77" y="46"/>
                  </a:cubicBezTo>
                  <a:cubicBezTo>
                    <a:pt x="77" y="40"/>
                    <a:pt x="74" y="34"/>
                    <a:pt x="70" y="30"/>
                  </a:cubicBezTo>
                  <a:cubicBezTo>
                    <a:pt x="65" y="25"/>
                    <a:pt x="58" y="22"/>
                    <a:pt x="48" y="22"/>
                  </a:cubicBezTo>
                  <a:cubicBezTo>
                    <a:pt x="34" y="22"/>
                    <a:pt x="22" y="34"/>
                    <a:pt x="22" y="48"/>
                  </a:cubicBezTo>
                  <a:cubicBezTo>
                    <a:pt x="22" y="62"/>
                    <a:pt x="34" y="74"/>
                    <a:pt x="48" y="74"/>
                  </a:cubicBezTo>
                  <a:cubicBezTo>
                    <a:pt x="53" y="74"/>
                    <a:pt x="57" y="73"/>
                    <a:pt x="61" y="71"/>
                  </a:cubicBezTo>
                  <a:cubicBezTo>
                    <a:pt x="62" y="70"/>
                    <a:pt x="63" y="70"/>
                    <a:pt x="64" y="71"/>
                  </a:cubicBezTo>
                  <a:cubicBezTo>
                    <a:pt x="64" y="72"/>
                    <a:pt x="64" y="73"/>
                    <a:pt x="63" y="74"/>
                  </a:cubicBezTo>
                  <a:cubicBezTo>
                    <a:pt x="58" y="77"/>
                    <a:pt x="53" y="78"/>
                    <a:pt x="48" y="78"/>
                  </a:cubicBezTo>
                  <a:cubicBezTo>
                    <a:pt x="31" y="78"/>
                    <a:pt x="18" y="65"/>
                    <a:pt x="18" y="48"/>
                  </a:cubicBezTo>
                  <a:cubicBezTo>
                    <a:pt x="18" y="31"/>
                    <a:pt x="31" y="18"/>
                    <a:pt x="48" y="18"/>
                  </a:cubicBezTo>
                  <a:cubicBezTo>
                    <a:pt x="59" y="18"/>
                    <a:pt x="67" y="21"/>
                    <a:pt x="73" y="27"/>
                  </a:cubicBezTo>
                  <a:cubicBezTo>
                    <a:pt x="78" y="32"/>
                    <a:pt x="81" y="39"/>
                    <a:pt x="81" y="46"/>
                  </a:cubicBezTo>
                  <a:cubicBezTo>
                    <a:pt x="81" y="57"/>
                    <a:pt x="75" y="64"/>
                    <a:pt x="6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12" name="Freeform 120">
            <a:extLst>
              <a:ext uri="{FF2B5EF4-FFF2-40B4-BE49-F238E27FC236}">
                <a16:creationId xmlns:a16="http://schemas.microsoft.com/office/drawing/2014/main" id="{0CB830CB-47C2-40CE-A719-5E87464B36A6}"/>
              </a:ext>
            </a:extLst>
          </p:cNvPr>
          <p:cNvSpPr>
            <a:spLocks noEditPoints="1"/>
          </p:cNvSpPr>
          <p:nvPr/>
        </p:nvSpPr>
        <p:spPr bwMode="auto">
          <a:xfrm>
            <a:off x="611462" y="3239247"/>
            <a:ext cx="297821" cy="299132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62 w 96"/>
              <a:gd name="T11" fmla="*/ 46 h 96"/>
              <a:gd name="T12" fmla="*/ 54 w 96"/>
              <a:gd name="T13" fmla="*/ 46 h 96"/>
              <a:gd name="T14" fmla="*/ 54 w 96"/>
              <a:gd name="T15" fmla="*/ 74 h 96"/>
              <a:gd name="T16" fmla="*/ 42 w 96"/>
              <a:gd name="T17" fmla="*/ 74 h 96"/>
              <a:gd name="T18" fmla="*/ 42 w 96"/>
              <a:gd name="T19" fmla="*/ 46 h 96"/>
              <a:gd name="T20" fmla="*/ 34 w 96"/>
              <a:gd name="T21" fmla="*/ 46 h 96"/>
              <a:gd name="T22" fmla="*/ 34 w 96"/>
              <a:gd name="T23" fmla="*/ 38 h 96"/>
              <a:gd name="T24" fmla="*/ 42 w 96"/>
              <a:gd name="T25" fmla="*/ 38 h 96"/>
              <a:gd name="T26" fmla="*/ 42 w 96"/>
              <a:gd name="T27" fmla="*/ 33 h 96"/>
              <a:gd name="T28" fmla="*/ 53 w 96"/>
              <a:gd name="T29" fmla="*/ 22 h 96"/>
              <a:gd name="T30" fmla="*/ 62 w 96"/>
              <a:gd name="T31" fmla="*/ 22 h 96"/>
              <a:gd name="T32" fmla="*/ 62 w 96"/>
              <a:gd name="T33" fmla="*/ 31 h 96"/>
              <a:gd name="T34" fmla="*/ 56 w 96"/>
              <a:gd name="T35" fmla="*/ 31 h 96"/>
              <a:gd name="T36" fmla="*/ 54 w 96"/>
              <a:gd name="T37" fmla="*/ 34 h 96"/>
              <a:gd name="T38" fmla="*/ 54 w 96"/>
              <a:gd name="T39" fmla="*/ 38 h 96"/>
              <a:gd name="T40" fmla="*/ 63 w 96"/>
              <a:gd name="T41" fmla="*/ 38 h 96"/>
              <a:gd name="T42" fmla="*/ 62 w 96"/>
              <a:gd name="T43" fmla="*/ 4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4" y="96"/>
                  <a:pt x="96" y="74"/>
                  <a:pt x="96" y="48"/>
                </a:cubicBezTo>
                <a:cubicBezTo>
                  <a:pt x="96" y="22"/>
                  <a:pt x="74" y="0"/>
                  <a:pt x="48" y="0"/>
                </a:cubicBezTo>
                <a:close/>
                <a:moveTo>
                  <a:pt x="62" y="46"/>
                </a:moveTo>
                <a:cubicBezTo>
                  <a:pt x="54" y="46"/>
                  <a:pt x="54" y="46"/>
                  <a:pt x="54" y="46"/>
                </a:cubicBezTo>
                <a:cubicBezTo>
                  <a:pt x="54" y="58"/>
                  <a:pt x="54" y="74"/>
                  <a:pt x="54" y="74"/>
                </a:cubicBezTo>
                <a:cubicBezTo>
                  <a:pt x="42" y="74"/>
                  <a:pt x="42" y="74"/>
                  <a:pt x="42" y="74"/>
                </a:cubicBezTo>
                <a:cubicBezTo>
                  <a:pt x="42" y="74"/>
                  <a:pt x="42" y="58"/>
                  <a:pt x="42" y="46"/>
                </a:cubicBezTo>
                <a:cubicBezTo>
                  <a:pt x="34" y="46"/>
                  <a:pt x="34" y="46"/>
                  <a:pt x="34" y="46"/>
                </a:cubicBezTo>
                <a:cubicBezTo>
                  <a:pt x="34" y="38"/>
                  <a:pt x="34" y="38"/>
                  <a:pt x="34" y="38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33"/>
                  <a:pt x="42" y="33"/>
                  <a:pt x="42" y="33"/>
                </a:cubicBezTo>
                <a:cubicBezTo>
                  <a:pt x="42" y="29"/>
                  <a:pt x="43" y="22"/>
                  <a:pt x="53" y="22"/>
                </a:cubicBezTo>
                <a:cubicBezTo>
                  <a:pt x="62" y="22"/>
                  <a:pt x="62" y="22"/>
                  <a:pt x="62" y="22"/>
                </a:cubicBezTo>
                <a:cubicBezTo>
                  <a:pt x="62" y="31"/>
                  <a:pt x="62" y="31"/>
                  <a:pt x="62" y="31"/>
                </a:cubicBezTo>
                <a:cubicBezTo>
                  <a:pt x="62" y="31"/>
                  <a:pt x="57" y="31"/>
                  <a:pt x="56" y="31"/>
                </a:cubicBezTo>
                <a:cubicBezTo>
                  <a:pt x="55" y="31"/>
                  <a:pt x="54" y="32"/>
                  <a:pt x="54" y="34"/>
                </a:cubicBezTo>
                <a:cubicBezTo>
                  <a:pt x="54" y="38"/>
                  <a:pt x="54" y="38"/>
                  <a:pt x="54" y="38"/>
                </a:cubicBezTo>
                <a:cubicBezTo>
                  <a:pt x="63" y="38"/>
                  <a:pt x="63" y="38"/>
                  <a:pt x="63" y="38"/>
                </a:cubicBezTo>
                <a:lnTo>
                  <a:pt x="62" y="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81DC705D-D7D6-495E-AB0D-459FDE284D83}"/>
              </a:ext>
            </a:extLst>
          </p:cNvPr>
          <p:cNvGrpSpPr/>
          <p:nvPr/>
        </p:nvGrpSpPr>
        <p:grpSpPr>
          <a:xfrm>
            <a:off x="611462" y="4635709"/>
            <a:ext cx="297821" cy="291261"/>
            <a:chOff x="6276975" y="1812925"/>
            <a:chExt cx="360363" cy="352426"/>
          </a:xfrm>
          <a:solidFill>
            <a:schemeClr val="bg1"/>
          </a:solidFill>
        </p:grpSpPr>
        <p:sp>
          <p:nvSpPr>
            <p:cNvPr id="214" name="Freeform 75">
              <a:extLst>
                <a:ext uri="{FF2B5EF4-FFF2-40B4-BE49-F238E27FC236}">
                  <a16:creationId xmlns:a16="http://schemas.microsoft.com/office/drawing/2014/main" id="{E4AA642C-BE66-4D7C-A5E0-128956004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887538"/>
              <a:ext cx="360363" cy="277813"/>
            </a:xfrm>
            <a:custGeom>
              <a:avLst/>
              <a:gdLst>
                <a:gd name="T0" fmla="*/ 85 w 96"/>
                <a:gd name="T1" fmla="*/ 56 h 74"/>
                <a:gd name="T2" fmla="*/ 62 w 96"/>
                <a:gd name="T3" fmla="*/ 49 h 74"/>
                <a:gd name="T4" fmla="*/ 62 w 96"/>
                <a:gd name="T5" fmla="*/ 37 h 74"/>
                <a:gd name="T6" fmla="*/ 74 w 96"/>
                <a:gd name="T7" fmla="*/ 11 h 74"/>
                <a:gd name="T8" fmla="*/ 73 w 96"/>
                <a:gd name="T9" fmla="*/ 5 h 74"/>
                <a:gd name="T10" fmla="*/ 71 w 96"/>
                <a:gd name="T11" fmla="*/ 7 h 74"/>
                <a:gd name="T12" fmla="*/ 65 w 96"/>
                <a:gd name="T13" fmla="*/ 8 h 74"/>
                <a:gd name="T14" fmla="*/ 51 w 96"/>
                <a:gd name="T15" fmla="*/ 0 h 74"/>
                <a:gd name="T16" fmla="*/ 48 w 96"/>
                <a:gd name="T17" fmla="*/ 2 h 74"/>
                <a:gd name="T18" fmla="*/ 56 w 96"/>
                <a:gd name="T19" fmla="*/ 12 h 74"/>
                <a:gd name="T20" fmla="*/ 56 w 96"/>
                <a:gd name="T21" fmla="*/ 34 h 74"/>
                <a:gd name="T22" fmla="*/ 46 w 96"/>
                <a:gd name="T23" fmla="*/ 44 h 74"/>
                <a:gd name="T24" fmla="*/ 34 w 96"/>
                <a:gd name="T25" fmla="*/ 44 h 74"/>
                <a:gd name="T26" fmla="*/ 34 w 96"/>
                <a:gd name="T27" fmla="*/ 49 h 74"/>
                <a:gd name="T28" fmla="*/ 11 w 96"/>
                <a:gd name="T29" fmla="*/ 57 h 74"/>
                <a:gd name="T30" fmla="*/ 0 w 96"/>
                <a:gd name="T31" fmla="*/ 72 h 74"/>
                <a:gd name="T32" fmla="*/ 0 w 96"/>
                <a:gd name="T33" fmla="*/ 74 h 74"/>
                <a:gd name="T34" fmla="*/ 96 w 96"/>
                <a:gd name="T35" fmla="*/ 74 h 74"/>
                <a:gd name="T36" fmla="*/ 96 w 96"/>
                <a:gd name="T37" fmla="*/ 72 h 74"/>
                <a:gd name="T38" fmla="*/ 85 w 96"/>
                <a:gd name="T39" fmla="*/ 5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74">
                  <a:moveTo>
                    <a:pt x="85" y="56"/>
                  </a:moveTo>
                  <a:cubicBezTo>
                    <a:pt x="62" y="49"/>
                    <a:pt x="62" y="49"/>
                    <a:pt x="62" y="49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9" y="31"/>
                    <a:pt x="74" y="22"/>
                    <a:pt x="74" y="11"/>
                  </a:cubicBezTo>
                  <a:cubicBezTo>
                    <a:pt x="74" y="9"/>
                    <a:pt x="73" y="7"/>
                    <a:pt x="73" y="5"/>
                  </a:cubicBezTo>
                  <a:cubicBezTo>
                    <a:pt x="73" y="6"/>
                    <a:pt x="72" y="7"/>
                    <a:pt x="71" y="7"/>
                  </a:cubicBezTo>
                  <a:cubicBezTo>
                    <a:pt x="71" y="7"/>
                    <a:pt x="67" y="8"/>
                    <a:pt x="65" y="8"/>
                  </a:cubicBezTo>
                  <a:cubicBezTo>
                    <a:pt x="59" y="8"/>
                    <a:pt x="55" y="5"/>
                    <a:pt x="51" y="0"/>
                  </a:cubicBezTo>
                  <a:cubicBezTo>
                    <a:pt x="50" y="0"/>
                    <a:pt x="49" y="1"/>
                    <a:pt x="48" y="2"/>
                  </a:cubicBezTo>
                  <a:cubicBezTo>
                    <a:pt x="52" y="3"/>
                    <a:pt x="56" y="7"/>
                    <a:pt x="56" y="12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40"/>
                    <a:pt x="52" y="44"/>
                    <a:pt x="46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4" y="59"/>
                    <a:pt x="0" y="65"/>
                    <a:pt x="0" y="72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96" y="65"/>
                    <a:pt x="92" y="59"/>
                    <a:pt x="85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5" name="Freeform 76">
              <a:extLst>
                <a:ext uri="{FF2B5EF4-FFF2-40B4-BE49-F238E27FC236}">
                  <a16:creationId xmlns:a16="http://schemas.microsoft.com/office/drawing/2014/main" id="{0573B6C7-EA65-48C0-9583-8036A8C9D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2700" y="1812925"/>
              <a:ext cx="187325" cy="93663"/>
            </a:xfrm>
            <a:custGeom>
              <a:avLst/>
              <a:gdLst>
                <a:gd name="T0" fmla="*/ 13 w 50"/>
                <a:gd name="T1" fmla="*/ 18 h 25"/>
                <a:gd name="T2" fmla="*/ 19 w 50"/>
                <a:gd name="T3" fmla="*/ 21 h 25"/>
                <a:gd name="T4" fmla="*/ 26 w 50"/>
                <a:gd name="T5" fmla="*/ 15 h 25"/>
                <a:gd name="T6" fmla="*/ 28 w 50"/>
                <a:gd name="T7" fmla="*/ 12 h 25"/>
                <a:gd name="T8" fmla="*/ 30 w 50"/>
                <a:gd name="T9" fmla="*/ 15 h 25"/>
                <a:gd name="T10" fmla="*/ 46 w 50"/>
                <a:gd name="T11" fmla="*/ 24 h 25"/>
                <a:gd name="T12" fmla="*/ 48 w 50"/>
                <a:gd name="T13" fmla="*/ 23 h 25"/>
                <a:gd name="T14" fmla="*/ 50 w 50"/>
                <a:gd name="T15" fmla="*/ 25 h 25"/>
                <a:gd name="T16" fmla="*/ 24 w 50"/>
                <a:gd name="T17" fmla="*/ 0 h 25"/>
                <a:gd name="T18" fmla="*/ 24 w 50"/>
                <a:gd name="T19" fmla="*/ 0 h 25"/>
                <a:gd name="T20" fmla="*/ 0 w 50"/>
                <a:gd name="T21" fmla="*/ 19 h 25"/>
                <a:gd name="T22" fmla="*/ 3 w 50"/>
                <a:gd name="T23" fmla="*/ 18 h 25"/>
                <a:gd name="T24" fmla="*/ 13 w 50"/>
                <a:gd name="T25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25">
                  <a:moveTo>
                    <a:pt x="13" y="18"/>
                  </a:moveTo>
                  <a:cubicBezTo>
                    <a:pt x="15" y="18"/>
                    <a:pt x="18" y="19"/>
                    <a:pt x="19" y="21"/>
                  </a:cubicBezTo>
                  <a:cubicBezTo>
                    <a:pt x="21" y="19"/>
                    <a:pt x="26" y="17"/>
                    <a:pt x="26" y="1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4" y="23"/>
                    <a:pt x="39" y="25"/>
                    <a:pt x="46" y="24"/>
                  </a:cubicBezTo>
                  <a:cubicBezTo>
                    <a:pt x="46" y="24"/>
                    <a:pt x="48" y="23"/>
                    <a:pt x="48" y="23"/>
                  </a:cubicBezTo>
                  <a:cubicBezTo>
                    <a:pt x="49" y="23"/>
                    <a:pt x="50" y="24"/>
                    <a:pt x="50" y="25"/>
                  </a:cubicBezTo>
                  <a:cubicBezTo>
                    <a:pt x="48" y="11"/>
                    <a:pt x="37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3" y="0"/>
                    <a:pt x="4" y="8"/>
                    <a:pt x="0" y="19"/>
                  </a:cubicBezTo>
                  <a:cubicBezTo>
                    <a:pt x="1" y="18"/>
                    <a:pt x="2" y="18"/>
                    <a:pt x="3" y="18"/>
                  </a:cubicBezTo>
                  <a:lnTo>
                    <a:pt x="13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Oval 77">
              <a:extLst>
                <a:ext uri="{FF2B5EF4-FFF2-40B4-BE49-F238E27FC236}">
                  <a16:creationId xmlns:a16="http://schemas.microsoft.com/office/drawing/2014/main" id="{D3DB7162-3F62-4D24-B846-CF663396E2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5875" y="1947863"/>
              <a:ext cx="46038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7" name="Freeform 78">
              <a:extLst>
                <a:ext uri="{FF2B5EF4-FFF2-40B4-BE49-F238E27FC236}">
                  <a16:creationId xmlns:a16="http://schemas.microsoft.com/office/drawing/2014/main" id="{B72F53FE-7D30-462F-BDB5-8B84219C85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1895475"/>
              <a:ext cx="195263" cy="142875"/>
            </a:xfrm>
            <a:custGeom>
              <a:avLst/>
              <a:gdLst>
                <a:gd name="T0" fmla="*/ 6 w 52"/>
                <a:gd name="T1" fmla="*/ 38 h 38"/>
                <a:gd name="T2" fmla="*/ 46 w 52"/>
                <a:gd name="T3" fmla="*/ 38 h 38"/>
                <a:gd name="T4" fmla="*/ 52 w 52"/>
                <a:gd name="T5" fmla="*/ 32 h 38"/>
                <a:gd name="T6" fmla="*/ 52 w 52"/>
                <a:gd name="T7" fmla="*/ 10 h 38"/>
                <a:gd name="T8" fmla="*/ 46 w 52"/>
                <a:gd name="T9" fmla="*/ 4 h 38"/>
                <a:gd name="T10" fmla="*/ 42 w 52"/>
                <a:gd name="T11" fmla="*/ 4 h 38"/>
                <a:gd name="T12" fmla="*/ 41 w 52"/>
                <a:gd name="T13" fmla="*/ 3 h 38"/>
                <a:gd name="T14" fmla="*/ 36 w 52"/>
                <a:gd name="T15" fmla="*/ 0 h 38"/>
                <a:gd name="T16" fmla="*/ 26 w 52"/>
                <a:gd name="T17" fmla="*/ 0 h 38"/>
                <a:gd name="T18" fmla="*/ 21 w 52"/>
                <a:gd name="T19" fmla="*/ 3 h 38"/>
                <a:gd name="T20" fmla="*/ 21 w 52"/>
                <a:gd name="T21" fmla="*/ 3 h 38"/>
                <a:gd name="T22" fmla="*/ 21 w 52"/>
                <a:gd name="T23" fmla="*/ 4 h 38"/>
                <a:gd name="T24" fmla="*/ 20 w 52"/>
                <a:gd name="T25" fmla="*/ 4 h 38"/>
                <a:gd name="T26" fmla="*/ 12 w 52"/>
                <a:gd name="T27" fmla="*/ 4 h 38"/>
                <a:gd name="T28" fmla="*/ 12 w 52"/>
                <a:gd name="T29" fmla="*/ 0 h 38"/>
                <a:gd name="T30" fmla="*/ 6 w 52"/>
                <a:gd name="T31" fmla="*/ 0 h 38"/>
                <a:gd name="T32" fmla="*/ 6 w 52"/>
                <a:gd name="T33" fmla="*/ 4 h 38"/>
                <a:gd name="T34" fmla="*/ 0 w 52"/>
                <a:gd name="T35" fmla="*/ 10 h 38"/>
                <a:gd name="T36" fmla="*/ 0 w 52"/>
                <a:gd name="T37" fmla="*/ 32 h 38"/>
                <a:gd name="T38" fmla="*/ 6 w 52"/>
                <a:gd name="T39" fmla="*/ 38 h 38"/>
                <a:gd name="T40" fmla="*/ 30 w 52"/>
                <a:gd name="T41" fmla="*/ 10 h 38"/>
                <a:gd name="T42" fmla="*/ 40 w 52"/>
                <a:gd name="T43" fmla="*/ 20 h 38"/>
                <a:gd name="T44" fmla="*/ 30 w 52"/>
                <a:gd name="T45" fmla="*/ 30 h 38"/>
                <a:gd name="T46" fmla="*/ 20 w 52"/>
                <a:gd name="T47" fmla="*/ 20 h 38"/>
                <a:gd name="T48" fmla="*/ 30 w 52"/>
                <a:gd name="T49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38">
                  <a:moveTo>
                    <a:pt x="6" y="38"/>
                  </a:moveTo>
                  <a:cubicBezTo>
                    <a:pt x="46" y="38"/>
                    <a:pt x="46" y="38"/>
                    <a:pt x="46" y="38"/>
                  </a:cubicBezTo>
                  <a:cubicBezTo>
                    <a:pt x="49" y="38"/>
                    <a:pt x="52" y="35"/>
                    <a:pt x="52" y="32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2" y="7"/>
                    <a:pt x="49" y="4"/>
                    <a:pt x="46" y="4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4"/>
                    <a:pt x="41" y="4"/>
                    <a:pt x="41" y="3"/>
                  </a:cubicBezTo>
                  <a:cubicBezTo>
                    <a:pt x="40" y="1"/>
                    <a:pt x="38" y="0"/>
                    <a:pt x="3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4" y="0"/>
                    <a:pt x="22" y="1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4"/>
                    <a:pt x="0" y="7"/>
                    <a:pt x="0" y="1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3" y="38"/>
                    <a:pt x="6" y="38"/>
                  </a:cubicBezTo>
                  <a:close/>
                  <a:moveTo>
                    <a:pt x="30" y="10"/>
                  </a:moveTo>
                  <a:cubicBezTo>
                    <a:pt x="36" y="10"/>
                    <a:pt x="40" y="14"/>
                    <a:pt x="40" y="20"/>
                  </a:cubicBezTo>
                  <a:cubicBezTo>
                    <a:pt x="40" y="26"/>
                    <a:pt x="36" y="30"/>
                    <a:pt x="30" y="30"/>
                  </a:cubicBezTo>
                  <a:cubicBezTo>
                    <a:pt x="24" y="30"/>
                    <a:pt x="20" y="26"/>
                    <a:pt x="20" y="20"/>
                  </a:cubicBezTo>
                  <a:cubicBezTo>
                    <a:pt x="20" y="14"/>
                    <a:pt x="24" y="10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C58911AC-9B8C-4877-80A5-D86BC9117A2B}"/>
              </a:ext>
            </a:extLst>
          </p:cNvPr>
          <p:cNvGrpSpPr/>
          <p:nvPr/>
        </p:nvGrpSpPr>
        <p:grpSpPr>
          <a:xfrm>
            <a:off x="3727909" y="1882340"/>
            <a:ext cx="271939" cy="270745"/>
            <a:chOff x="3390900" y="4694238"/>
            <a:chExt cx="361951" cy="360362"/>
          </a:xfrm>
          <a:solidFill>
            <a:schemeClr val="bg1"/>
          </a:solidFill>
        </p:grpSpPr>
        <p:sp>
          <p:nvSpPr>
            <p:cNvPr id="219" name="Freeform 134">
              <a:extLst>
                <a:ext uri="{FF2B5EF4-FFF2-40B4-BE49-F238E27FC236}">
                  <a16:creationId xmlns:a16="http://schemas.microsoft.com/office/drawing/2014/main" id="{AE42E9C1-2E0C-4F58-898F-9EC3EF288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799013"/>
              <a:ext cx="361950" cy="225425"/>
            </a:xfrm>
            <a:custGeom>
              <a:avLst/>
              <a:gdLst>
                <a:gd name="T0" fmla="*/ 44 w 96"/>
                <a:gd name="T1" fmla="*/ 44 h 60"/>
                <a:gd name="T2" fmla="*/ 72 w 96"/>
                <a:gd name="T3" fmla="*/ 16 h 60"/>
                <a:gd name="T4" fmla="*/ 96 w 96"/>
                <a:gd name="T5" fmla="*/ 30 h 60"/>
                <a:gd name="T6" fmla="*/ 96 w 96"/>
                <a:gd name="T7" fmla="*/ 0 h 60"/>
                <a:gd name="T8" fmla="*/ 0 w 96"/>
                <a:gd name="T9" fmla="*/ 0 h 60"/>
                <a:gd name="T10" fmla="*/ 0 w 96"/>
                <a:gd name="T11" fmla="*/ 52 h 60"/>
                <a:gd name="T12" fmla="*/ 8 w 96"/>
                <a:gd name="T13" fmla="*/ 60 h 60"/>
                <a:gd name="T14" fmla="*/ 49 w 96"/>
                <a:gd name="T15" fmla="*/ 60 h 60"/>
                <a:gd name="T16" fmla="*/ 44 w 96"/>
                <a:gd name="T17" fmla="*/ 4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60">
                  <a:moveTo>
                    <a:pt x="44" y="44"/>
                  </a:moveTo>
                  <a:cubicBezTo>
                    <a:pt x="44" y="29"/>
                    <a:pt x="57" y="16"/>
                    <a:pt x="72" y="16"/>
                  </a:cubicBezTo>
                  <a:cubicBezTo>
                    <a:pt x="82" y="16"/>
                    <a:pt x="91" y="21"/>
                    <a:pt x="96" y="3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3" y="60"/>
                    <a:pt x="8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6" y="55"/>
                    <a:pt x="44" y="50"/>
                    <a:pt x="44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0" name="Freeform 135">
              <a:extLst>
                <a:ext uri="{FF2B5EF4-FFF2-40B4-BE49-F238E27FC236}">
                  <a16:creationId xmlns:a16="http://schemas.microsoft.com/office/drawing/2014/main" id="{6A972D8A-AA9B-4812-8A5B-D2F9BC759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4694238"/>
              <a:ext cx="128588" cy="88900"/>
            </a:xfrm>
            <a:custGeom>
              <a:avLst/>
              <a:gdLst>
                <a:gd name="T0" fmla="*/ 81 w 81"/>
                <a:gd name="T1" fmla="*/ 0 h 56"/>
                <a:gd name="T2" fmla="*/ 57 w 81"/>
                <a:gd name="T3" fmla="*/ 0 h 56"/>
                <a:gd name="T4" fmla="*/ 0 w 81"/>
                <a:gd name="T5" fmla="*/ 56 h 56"/>
                <a:gd name="T6" fmla="*/ 24 w 81"/>
                <a:gd name="T7" fmla="*/ 56 h 56"/>
                <a:gd name="T8" fmla="*/ 81 w 81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56">
                  <a:moveTo>
                    <a:pt x="81" y="0"/>
                  </a:moveTo>
                  <a:lnTo>
                    <a:pt x="57" y="0"/>
                  </a:lnTo>
                  <a:lnTo>
                    <a:pt x="0" y="56"/>
                  </a:lnTo>
                  <a:lnTo>
                    <a:pt x="24" y="56"/>
                  </a:lnTo>
                  <a:lnTo>
                    <a:pt x="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1" name="Freeform 136">
              <a:extLst>
                <a:ext uri="{FF2B5EF4-FFF2-40B4-BE49-F238E27FC236}">
                  <a16:creationId xmlns:a16="http://schemas.microsoft.com/office/drawing/2014/main" id="{A55BF65C-03DD-4E97-B369-DBAEF1C58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75" y="4694238"/>
              <a:ext cx="127000" cy="88900"/>
            </a:xfrm>
            <a:custGeom>
              <a:avLst/>
              <a:gdLst>
                <a:gd name="T0" fmla="*/ 80 w 80"/>
                <a:gd name="T1" fmla="*/ 0 h 56"/>
                <a:gd name="T2" fmla="*/ 57 w 80"/>
                <a:gd name="T3" fmla="*/ 0 h 56"/>
                <a:gd name="T4" fmla="*/ 0 w 80"/>
                <a:gd name="T5" fmla="*/ 56 h 56"/>
                <a:gd name="T6" fmla="*/ 24 w 80"/>
                <a:gd name="T7" fmla="*/ 56 h 56"/>
                <a:gd name="T8" fmla="*/ 80 w 80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56">
                  <a:moveTo>
                    <a:pt x="80" y="0"/>
                  </a:moveTo>
                  <a:lnTo>
                    <a:pt x="57" y="0"/>
                  </a:lnTo>
                  <a:lnTo>
                    <a:pt x="0" y="56"/>
                  </a:lnTo>
                  <a:lnTo>
                    <a:pt x="24" y="56"/>
                  </a:ln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2" name="Freeform 137">
              <a:extLst>
                <a:ext uri="{FF2B5EF4-FFF2-40B4-BE49-F238E27FC236}">
                  <a16:creationId xmlns:a16="http://schemas.microsoft.com/office/drawing/2014/main" id="{17408FE7-0D91-49AB-9ACC-CF77BC5CA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4694238"/>
              <a:ext cx="123825" cy="88900"/>
            </a:xfrm>
            <a:custGeom>
              <a:avLst/>
              <a:gdLst>
                <a:gd name="T0" fmla="*/ 78 w 78"/>
                <a:gd name="T1" fmla="*/ 0 h 56"/>
                <a:gd name="T2" fmla="*/ 56 w 78"/>
                <a:gd name="T3" fmla="*/ 0 h 56"/>
                <a:gd name="T4" fmla="*/ 0 w 78"/>
                <a:gd name="T5" fmla="*/ 56 h 56"/>
                <a:gd name="T6" fmla="*/ 23 w 78"/>
                <a:gd name="T7" fmla="*/ 56 h 56"/>
                <a:gd name="T8" fmla="*/ 78 w 78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56">
                  <a:moveTo>
                    <a:pt x="78" y="0"/>
                  </a:moveTo>
                  <a:lnTo>
                    <a:pt x="56" y="0"/>
                  </a:lnTo>
                  <a:lnTo>
                    <a:pt x="0" y="56"/>
                  </a:lnTo>
                  <a:lnTo>
                    <a:pt x="23" y="56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3" name="Freeform 138">
              <a:extLst>
                <a:ext uri="{FF2B5EF4-FFF2-40B4-BE49-F238E27FC236}">
                  <a16:creationId xmlns:a16="http://schemas.microsoft.com/office/drawing/2014/main" id="{DED214AF-FF2F-4453-A015-DF9A999B9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5663" y="4694238"/>
              <a:ext cx="127000" cy="88900"/>
            </a:xfrm>
            <a:custGeom>
              <a:avLst/>
              <a:gdLst>
                <a:gd name="T0" fmla="*/ 0 w 80"/>
                <a:gd name="T1" fmla="*/ 56 h 56"/>
                <a:gd name="T2" fmla="*/ 23 w 80"/>
                <a:gd name="T3" fmla="*/ 56 h 56"/>
                <a:gd name="T4" fmla="*/ 80 w 80"/>
                <a:gd name="T5" fmla="*/ 0 h 56"/>
                <a:gd name="T6" fmla="*/ 57 w 80"/>
                <a:gd name="T7" fmla="*/ 0 h 56"/>
                <a:gd name="T8" fmla="*/ 0 w 80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56">
                  <a:moveTo>
                    <a:pt x="0" y="56"/>
                  </a:moveTo>
                  <a:lnTo>
                    <a:pt x="23" y="56"/>
                  </a:lnTo>
                  <a:lnTo>
                    <a:pt x="80" y="0"/>
                  </a:lnTo>
                  <a:lnTo>
                    <a:pt x="57" y="0"/>
                  </a:lnTo>
                  <a:lnTo>
                    <a:pt x="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4" name="Freeform 139">
              <a:extLst>
                <a:ext uri="{FF2B5EF4-FFF2-40B4-BE49-F238E27FC236}">
                  <a16:creationId xmlns:a16="http://schemas.microsoft.com/office/drawing/2014/main" id="{9F4861DB-FF8B-4D27-9C8B-161DB782E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7763" y="4719638"/>
              <a:ext cx="65088" cy="63500"/>
            </a:xfrm>
            <a:custGeom>
              <a:avLst/>
              <a:gdLst>
                <a:gd name="T0" fmla="*/ 0 w 41"/>
                <a:gd name="T1" fmla="*/ 40 h 40"/>
                <a:gd name="T2" fmla="*/ 41 w 41"/>
                <a:gd name="T3" fmla="*/ 40 h 40"/>
                <a:gd name="T4" fmla="*/ 41 w 41"/>
                <a:gd name="T5" fmla="*/ 0 h 40"/>
                <a:gd name="T6" fmla="*/ 0 w 41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40">
                  <a:moveTo>
                    <a:pt x="0" y="40"/>
                  </a:moveTo>
                  <a:lnTo>
                    <a:pt x="41" y="40"/>
                  </a:lnTo>
                  <a:lnTo>
                    <a:pt x="41" y="0"/>
                  </a:lnTo>
                  <a:lnTo>
                    <a:pt x="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5" name="Freeform 140">
              <a:extLst>
                <a:ext uri="{FF2B5EF4-FFF2-40B4-BE49-F238E27FC236}">
                  <a16:creationId xmlns:a16="http://schemas.microsoft.com/office/drawing/2014/main" id="{9E39D718-2A40-463A-A8F5-2A428E7AA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694238"/>
              <a:ext cx="71438" cy="71438"/>
            </a:xfrm>
            <a:custGeom>
              <a:avLst/>
              <a:gdLst>
                <a:gd name="T0" fmla="*/ 19 w 19"/>
                <a:gd name="T1" fmla="*/ 0 h 19"/>
                <a:gd name="T2" fmla="*/ 6 w 19"/>
                <a:gd name="T3" fmla="*/ 0 h 19"/>
                <a:gd name="T4" fmla="*/ 0 w 19"/>
                <a:gd name="T5" fmla="*/ 6 h 19"/>
                <a:gd name="T6" fmla="*/ 0 w 19"/>
                <a:gd name="T7" fmla="*/ 19 h 19"/>
                <a:gd name="T8" fmla="*/ 19 w 1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6" name="Freeform 141">
              <a:extLst>
                <a:ext uri="{FF2B5EF4-FFF2-40B4-BE49-F238E27FC236}">
                  <a16:creationId xmlns:a16="http://schemas.microsoft.com/office/drawing/2014/main" id="{6FEDD0D6-E0E1-4292-8547-22F40824B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7438" y="4694238"/>
              <a:ext cx="120650" cy="88900"/>
            </a:xfrm>
            <a:custGeom>
              <a:avLst/>
              <a:gdLst>
                <a:gd name="T0" fmla="*/ 32 w 32"/>
                <a:gd name="T1" fmla="*/ 2 h 24"/>
                <a:gd name="T2" fmla="*/ 27 w 32"/>
                <a:gd name="T3" fmla="*/ 0 h 24"/>
                <a:gd name="T4" fmla="*/ 24 w 32"/>
                <a:gd name="T5" fmla="*/ 0 h 24"/>
                <a:gd name="T6" fmla="*/ 0 w 32"/>
                <a:gd name="T7" fmla="*/ 24 h 24"/>
                <a:gd name="T8" fmla="*/ 10 w 32"/>
                <a:gd name="T9" fmla="*/ 24 h 24"/>
                <a:gd name="T10" fmla="*/ 32 w 32"/>
                <a:gd name="T11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4">
                  <a:moveTo>
                    <a:pt x="32" y="2"/>
                  </a:moveTo>
                  <a:cubicBezTo>
                    <a:pt x="31" y="1"/>
                    <a:pt x="29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0" y="24"/>
                    <a:pt x="10" y="24"/>
                    <a:pt x="10" y="24"/>
                  </a:cubicBezTo>
                  <a:lnTo>
                    <a:pt x="3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7" name="Freeform 142">
              <a:extLst>
                <a:ext uri="{FF2B5EF4-FFF2-40B4-BE49-F238E27FC236}">
                  <a16:creationId xmlns:a16="http://schemas.microsoft.com/office/drawing/2014/main" id="{3F47B8C2-9893-437E-81FF-6F9C2EB433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1875" y="4873625"/>
              <a:ext cx="180975" cy="180975"/>
            </a:xfrm>
            <a:custGeom>
              <a:avLst/>
              <a:gdLst>
                <a:gd name="T0" fmla="*/ 24 w 48"/>
                <a:gd name="T1" fmla="*/ 0 h 48"/>
                <a:gd name="T2" fmla="*/ 0 w 48"/>
                <a:gd name="T3" fmla="*/ 24 h 48"/>
                <a:gd name="T4" fmla="*/ 24 w 48"/>
                <a:gd name="T5" fmla="*/ 48 h 48"/>
                <a:gd name="T6" fmla="*/ 48 w 48"/>
                <a:gd name="T7" fmla="*/ 24 h 48"/>
                <a:gd name="T8" fmla="*/ 24 w 48"/>
                <a:gd name="T9" fmla="*/ 0 h 48"/>
                <a:gd name="T10" fmla="*/ 27 w 48"/>
                <a:gd name="T11" fmla="*/ 26 h 48"/>
                <a:gd name="T12" fmla="*/ 15 w 48"/>
                <a:gd name="T13" fmla="*/ 36 h 48"/>
                <a:gd name="T14" fmla="*/ 14 w 48"/>
                <a:gd name="T15" fmla="*/ 36 h 48"/>
                <a:gd name="T16" fmla="*/ 13 w 48"/>
                <a:gd name="T17" fmla="*/ 36 h 48"/>
                <a:gd name="T18" fmla="*/ 12 w 48"/>
                <a:gd name="T19" fmla="*/ 34 h 48"/>
                <a:gd name="T20" fmla="*/ 12 w 48"/>
                <a:gd name="T21" fmla="*/ 14 h 48"/>
                <a:gd name="T22" fmla="*/ 13 w 48"/>
                <a:gd name="T23" fmla="*/ 12 h 48"/>
                <a:gd name="T24" fmla="*/ 15 w 48"/>
                <a:gd name="T25" fmla="*/ 12 h 48"/>
                <a:gd name="T26" fmla="*/ 27 w 48"/>
                <a:gd name="T27" fmla="*/ 22 h 48"/>
                <a:gd name="T28" fmla="*/ 28 w 48"/>
                <a:gd name="T29" fmla="*/ 24 h 48"/>
                <a:gd name="T30" fmla="*/ 27 w 48"/>
                <a:gd name="T31" fmla="*/ 26 h 48"/>
                <a:gd name="T32" fmla="*/ 36 w 48"/>
                <a:gd name="T33" fmla="*/ 34 h 48"/>
                <a:gd name="T34" fmla="*/ 34 w 48"/>
                <a:gd name="T35" fmla="*/ 36 h 48"/>
                <a:gd name="T36" fmla="*/ 32 w 48"/>
                <a:gd name="T37" fmla="*/ 34 h 48"/>
                <a:gd name="T38" fmla="*/ 32 w 48"/>
                <a:gd name="T39" fmla="*/ 14 h 48"/>
                <a:gd name="T40" fmla="*/ 34 w 48"/>
                <a:gd name="T41" fmla="*/ 12 h 48"/>
                <a:gd name="T42" fmla="*/ 36 w 48"/>
                <a:gd name="T43" fmla="*/ 14 h 48"/>
                <a:gd name="T44" fmla="*/ 36 w 48"/>
                <a:gd name="T45" fmla="*/ 3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48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37" y="48"/>
                    <a:pt x="48" y="37"/>
                    <a:pt x="48" y="24"/>
                  </a:cubicBezTo>
                  <a:cubicBezTo>
                    <a:pt x="48" y="11"/>
                    <a:pt x="37" y="0"/>
                    <a:pt x="24" y="0"/>
                  </a:cubicBezTo>
                  <a:close/>
                  <a:moveTo>
                    <a:pt x="27" y="2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4" y="36"/>
                    <a:pt x="14" y="36"/>
                  </a:cubicBezTo>
                  <a:cubicBezTo>
                    <a:pt x="14" y="36"/>
                    <a:pt x="13" y="36"/>
                    <a:pt x="13" y="36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3"/>
                    <a:pt x="12" y="13"/>
                    <a:pt x="13" y="12"/>
                  </a:cubicBezTo>
                  <a:cubicBezTo>
                    <a:pt x="14" y="12"/>
                    <a:pt x="15" y="12"/>
                    <a:pt x="15" y="1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3"/>
                    <a:pt x="28" y="23"/>
                    <a:pt x="28" y="24"/>
                  </a:cubicBezTo>
                  <a:cubicBezTo>
                    <a:pt x="28" y="25"/>
                    <a:pt x="28" y="25"/>
                    <a:pt x="27" y="26"/>
                  </a:cubicBezTo>
                  <a:close/>
                  <a:moveTo>
                    <a:pt x="36" y="34"/>
                  </a:moveTo>
                  <a:cubicBezTo>
                    <a:pt x="36" y="35"/>
                    <a:pt x="35" y="36"/>
                    <a:pt x="34" y="36"/>
                  </a:cubicBezTo>
                  <a:cubicBezTo>
                    <a:pt x="33" y="36"/>
                    <a:pt x="32" y="35"/>
                    <a:pt x="32" y="3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3"/>
                    <a:pt x="33" y="12"/>
                    <a:pt x="34" y="12"/>
                  </a:cubicBezTo>
                  <a:cubicBezTo>
                    <a:pt x="35" y="12"/>
                    <a:pt x="36" y="13"/>
                    <a:pt x="36" y="14"/>
                  </a:cubicBezTo>
                  <a:lnTo>
                    <a:pt x="36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31" name="Group 230">
            <a:extLst>
              <a:ext uri="{FF2B5EF4-FFF2-40B4-BE49-F238E27FC236}">
                <a16:creationId xmlns:a16="http://schemas.microsoft.com/office/drawing/2014/main" id="{F3844C31-A5B7-497B-BEB5-9547DC1E050A}"/>
              </a:ext>
            </a:extLst>
          </p:cNvPr>
          <p:cNvGrpSpPr/>
          <p:nvPr/>
        </p:nvGrpSpPr>
        <p:grpSpPr>
          <a:xfrm>
            <a:off x="3714968" y="3251711"/>
            <a:ext cx="297821" cy="274205"/>
            <a:chOff x="6997700" y="2901951"/>
            <a:chExt cx="360363" cy="331788"/>
          </a:xfrm>
          <a:solidFill>
            <a:schemeClr val="bg1"/>
          </a:solidFill>
        </p:grpSpPr>
        <p:sp>
          <p:nvSpPr>
            <p:cNvPr id="232" name="Freeform 164">
              <a:extLst>
                <a:ext uri="{FF2B5EF4-FFF2-40B4-BE49-F238E27FC236}">
                  <a16:creationId xmlns:a16="http://schemas.microsoft.com/office/drawing/2014/main" id="{5BE88D0F-8759-495B-9F32-8F80296CF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700" y="3162301"/>
              <a:ext cx="360363" cy="71438"/>
            </a:xfrm>
            <a:custGeom>
              <a:avLst/>
              <a:gdLst>
                <a:gd name="T0" fmla="*/ 64 w 96"/>
                <a:gd name="T1" fmla="*/ 0 h 19"/>
                <a:gd name="T2" fmla="*/ 64 w 96"/>
                <a:gd name="T3" fmla="*/ 3 h 19"/>
                <a:gd name="T4" fmla="*/ 32 w 96"/>
                <a:gd name="T5" fmla="*/ 3 h 19"/>
                <a:gd name="T6" fmla="*/ 32 w 96"/>
                <a:gd name="T7" fmla="*/ 0 h 19"/>
                <a:gd name="T8" fmla="*/ 0 w 96"/>
                <a:gd name="T9" fmla="*/ 9 h 19"/>
                <a:gd name="T10" fmla="*/ 48 w 96"/>
                <a:gd name="T11" fmla="*/ 19 h 19"/>
                <a:gd name="T12" fmla="*/ 96 w 96"/>
                <a:gd name="T13" fmla="*/ 9 h 19"/>
                <a:gd name="T14" fmla="*/ 64 w 96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9">
                  <a:moveTo>
                    <a:pt x="64" y="0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8" y="0"/>
                    <a:pt x="0" y="3"/>
                    <a:pt x="0" y="9"/>
                  </a:cubicBezTo>
                  <a:cubicBezTo>
                    <a:pt x="0" y="19"/>
                    <a:pt x="43" y="19"/>
                    <a:pt x="48" y="19"/>
                  </a:cubicBezTo>
                  <a:cubicBezTo>
                    <a:pt x="53" y="19"/>
                    <a:pt x="96" y="19"/>
                    <a:pt x="96" y="9"/>
                  </a:cubicBezTo>
                  <a:cubicBezTo>
                    <a:pt x="96" y="3"/>
                    <a:pt x="78" y="0"/>
                    <a:pt x="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3" name="Oval 165">
              <a:extLst>
                <a:ext uri="{FF2B5EF4-FFF2-40B4-BE49-F238E27FC236}">
                  <a16:creationId xmlns:a16="http://schemas.microsoft.com/office/drawing/2014/main" id="{58F2770C-0BD1-4619-AA71-D35BC120A4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2638" y="2901951"/>
              <a:ext cx="90488" cy="90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4" name="Freeform 166">
              <a:extLst>
                <a:ext uri="{FF2B5EF4-FFF2-40B4-BE49-F238E27FC236}">
                  <a16:creationId xmlns:a16="http://schemas.microsoft.com/office/drawing/2014/main" id="{30AD1E36-FF85-4BE9-AB33-311D9B08C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2638" y="3008313"/>
              <a:ext cx="90488" cy="149225"/>
            </a:xfrm>
            <a:custGeom>
              <a:avLst/>
              <a:gdLst>
                <a:gd name="T0" fmla="*/ 12 w 24"/>
                <a:gd name="T1" fmla="*/ 0 h 40"/>
                <a:gd name="T2" fmla="*/ 0 w 24"/>
                <a:gd name="T3" fmla="*/ 12 h 40"/>
                <a:gd name="T4" fmla="*/ 0 w 24"/>
                <a:gd name="T5" fmla="*/ 40 h 40"/>
                <a:gd name="T6" fmla="*/ 24 w 24"/>
                <a:gd name="T7" fmla="*/ 40 h 40"/>
                <a:gd name="T8" fmla="*/ 24 w 24"/>
                <a:gd name="T9" fmla="*/ 12 h 40"/>
                <a:gd name="T10" fmla="*/ 12 w 24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5" name="Oval 167">
              <a:extLst>
                <a:ext uri="{FF2B5EF4-FFF2-40B4-BE49-F238E27FC236}">
                  <a16:creationId xmlns:a16="http://schemas.microsoft.com/office/drawing/2014/main" id="{67AF9CD7-BD8A-4E92-BCED-87B2CD7B62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3288" y="29321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6" name="Freeform 168">
              <a:extLst>
                <a:ext uri="{FF2B5EF4-FFF2-40B4-BE49-F238E27FC236}">
                  <a16:creationId xmlns:a16="http://schemas.microsoft.com/office/drawing/2014/main" id="{F920069B-A29D-46EE-8665-2CCBF7718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3008313"/>
              <a:ext cx="60325" cy="120650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7" name="Oval 169">
              <a:extLst>
                <a:ext uri="{FF2B5EF4-FFF2-40B4-BE49-F238E27FC236}">
                  <a16:creationId xmlns:a16="http://schemas.microsoft.com/office/drawing/2014/main" id="{EFF4DFF0-9C63-4662-A250-0C9EAEE30B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150" y="29321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8" name="Freeform 170">
              <a:extLst>
                <a:ext uri="{FF2B5EF4-FFF2-40B4-BE49-F238E27FC236}">
                  <a16:creationId xmlns:a16="http://schemas.microsoft.com/office/drawing/2014/main" id="{30B1F840-16CB-4DB9-9D16-DBE36A64F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3008313"/>
              <a:ext cx="60325" cy="120650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4320A21-6DBF-4127-A18C-2E48CADB8395}"/>
              </a:ext>
            </a:extLst>
          </p:cNvPr>
          <p:cNvGrpSpPr/>
          <p:nvPr/>
        </p:nvGrpSpPr>
        <p:grpSpPr>
          <a:xfrm>
            <a:off x="3728505" y="4662664"/>
            <a:ext cx="270746" cy="237350"/>
            <a:chOff x="2670175" y="1082675"/>
            <a:chExt cx="360363" cy="315913"/>
          </a:xfrm>
          <a:solidFill>
            <a:schemeClr val="bg1"/>
          </a:solidFill>
        </p:grpSpPr>
        <p:sp>
          <p:nvSpPr>
            <p:cNvPr id="63" name="Rectangle 207">
              <a:extLst>
                <a:ext uri="{FF2B5EF4-FFF2-40B4-BE49-F238E27FC236}">
                  <a16:creationId xmlns:a16="http://schemas.microsoft.com/office/drawing/2014/main" id="{169D8520-9065-4BB4-8520-4861CECB16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3538" y="118745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Rectangle 208">
              <a:extLst>
                <a:ext uri="{FF2B5EF4-FFF2-40B4-BE49-F238E27FC236}">
                  <a16:creationId xmlns:a16="http://schemas.microsoft.com/office/drawing/2014/main" id="{A6AEDAE8-08D0-4D9A-B855-E19EC7BC0C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3375" y="1157288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Rectangle 209">
              <a:extLst>
                <a:ext uri="{FF2B5EF4-FFF2-40B4-BE49-F238E27FC236}">
                  <a16:creationId xmlns:a16="http://schemas.microsoft.com/office/drawing/2014/main" id="{918F0E6D-E4AC-4EB1-8A98-F99776F5F4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7338" y="1233488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Rectangle 210">
              <a:extLst>
                <a:ext uri="{FF2B5EF4-FFF2-40B4-BE49-F238E27FC236}">
                  <a16:creationId xmlns:a16="http://schemas.microsoft.com/office/drawing/2014/main" id="{F6D7E6B4-FC2D-4823-B80D-1E6B16633C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213" y="1157288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Rectangle 211">
              <a:extLst>
                <a:ext uri="{FF2B5EF4-FFF2-40B4-BE49-F238E27FC236}">
                  <a16:creationId xmlns:a16="http://schemas.microsoft.com/office/drawing/2014/main" id="{5653F6B2-8F85-4D00-9B7B-ECDD2128F5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7500" y="1233488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Rectangle 212">
              <a:extLst>
                <a:ext uri="{FF2B5EF4-FFF2-40B4-BE49-F238E27FC236}">
                  <a16:creationId xmlns:a16="http://schemas.microsoft.com/office/drawing/2014/main" id="{C840D040-9B3E-4484-8535-73B0D8996D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663" y="1233488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Rectangle 213">
              <a:extLst>
                <a:ext uri="{FF2B5EF4-FFF2-40B4-BE49-F238E27FC236}">
                  <a16:creationId xmlns:a16="http://schemas.microsoft.com/office/drawing/2014/main" id="{2F0D2351-6047-46CD-AF45-B237B248D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2888" y="1127125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Rectangle 214">
              <a:extLst>
                <a:ext uri="{FF2B5EF4-FFF2-40B4-BE49-F238E27FC236}">
                  <a16:creationId xmlns:a16="http://schemas.microsoft.com/office/drawing/2014/main" id="{E231FBEB-AB3D-4190-8575-00092FECC9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3538" y="1127125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Rectangle 215">
              <a:extLst>
                <a:ext uri="{FF2B5EF4-FFF2-40B4-BE49-F238E27FC236}">
                  <a16:creationId xmlns:a16="http://schemas.microsoft.com/office/drawing/2014/main" id="{B6D4E97D-45D4-45CD-B574-2C0B701CEB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3538" y="1157288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Rectangle 216">
              <a:extLst>
                <a:ext uri="{FF2B5EF4-FFF2-40B4-BE49-F238E27FC236}">
                  <a16:creationId xmlns:a16="http://schemas.microsoft.com/office/drawing/2014/main" id="{EB0C8F10-495C-4FAB-8A1E-F1FFBF9E4B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3050" y="1127125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Rectangle 217">
              <a:extLst>
                <a:ext uri="{FF2B5EF4-FFF2-40B4-BE49-F238E27FC236}">
                  <a16:creationId xmlns:a16="http://schemas.microsoft.com/office/drawing/2014/main" id="{33FAAD8C-46DB-4891-9A34-DDC820450C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3375" y="118745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Rectangle 218">
              <a:extLst>
                <a:ext uri="{FF2B5EF4-FFF2-40B4-BE49-F238E27FC236}">
                  <a16:creationId xmlns:a16="http://schemas.microsoft.com/office/drawing/2014/main" id="{22274A29-3503-4103-9F41-9F2B0FBB99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213" y="1127125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Rectangle 219">
              <a:extLst>
                <a:ext uri="{FF2B5EF4-FFF2-40B4-BE49-F238E27FC236}">
                  <a16:creationId xmlns:a16="http://schemas.microsoft.com/office/drawing/2014/main" id="{6CD3CF3B-1FD3-46CE-8AD2-D3A1E46E9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8763" y="123348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Rectangle 220">
              <a:extLst>
                <a:ext uri="{FF2B5EF4-FFF2-40B4-BE49-F238E27FC236}">
                  <a16:creationId xmlns:a16="http://schemas.microsoft.com/office/drawing/2014/main" id="{B2B47CBB-EF0E-4AF8-B8D5-A9992DDD30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3375" y="1127125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Rectangle 221">
              <a:extLst>
                <a:ext uri="{FF2B5EF4-FFF2-40B4-BE49-F238E27FC236}">
                  <a16:creationId xmlns:a16="http://schemas.microsoft.com/office/drawing/2014/main" id="{0FE29BF1-011B-43F2-87EE-17747995C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3538" y="1217613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Rectangle 222">
              <a:extLst>
                <a:ext uri="{FF2B5EF4-FFF2-40B4-BE49-F238E27FC236}">
                  <a16:creationId xmlns:a16="http://schemas.microsoft.com/office/drawing/2014/main" id="{EC08A472-8EC1-445F-9C1C-120706485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663" y="1203325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Rectangle 223">
              <a:extLst>
                <a:ext uri="{FF2B5EF4-FFF2-40B4-BE49-F238E27FC236}">
                  <a16:creationId xmlns:a16="http://schemas.microsoft.com/office/drawing/2014/main" id="{D40DE5D4-5D8B-470C-BC94-D3CF3E12CD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8763" y="120332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Rectangle 224">
              <a:extLst>
                <a:ext uri="{FF2B5EF4-FFF2-40B4-BE49-F238E27FC236}">
                  <a16:creationId xmlns:a16="http://schemas.microsoft.com/office/drawing/2014/main" id="{9BE89BDB-D620-47B3-A720-496BECF6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663" y="1143000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Rectangle 225">
              <a:extLst>
                <a:ext uri="{FF2B5EF4-FFF2-40B4-BE49-F238E27FC236}">
                  <a16:creationId xmlns:a16="http://schemas.microsoft.com/office/drawing/2014/main" id="{D89859EA-DC31-4BC3-8837-2E0EBDC050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663" y="117316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Rectangle 226">
              <a:extLst>
                <a:ext uri="{FF2B5EF4-FFF2-40B4-BE49-F238E27FC236}">
                  <a16:creationId xmlns:a16="http://schemas.microsoft.com/office/drawing/2014/main" id="{C1296C2D-F93A-450C-9C6E-CB1D1237F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3375" y="1217613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Rectangle 227">
              <a:extLst>
                <a:ext uri="{FF2B5EF4-FFF2-40B4-BE49-F238E27FC236}">
                  <a16:creationId xmlns:a16="http://schemas.microsoft.com/office/drawing/2014/main" id="{A2CF2829-A370-463C-A171-19FFB0244F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3050" y="1217613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Rectangle 228">
              <a:extLst>
                <a:ext uri="{FF2B5EF4-FFF2-40B4-BE49-F238E27FC236}">
                  <a16:creationId xmlns:a16="http://schemas.microsoft.com/office/drawing/2014/main" id="{49F1EAAA-0877-4061-955C-A579C60195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213" y="1217613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Rectangle 229">
              <a:extLst>
                <a:ext uri="{FF2B5EF4-FFF2-40B4-BE49-F238E27FC236}">
                  <a16:creationId xmlns:a16="http://schemas.microsoft.com/office/drawing/2014/main" id="{CD38DF52-3B6E-4D76-95A2-D71E999E02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2888" y="1187450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Rectangle 230">
              <a:extLst>
                <a:ext uri="{FF2B5EF4-FFF2-40B4-BE49-F238E27FC236}">
                  <a16:creationId xmlns:a16="http://schemas.microsoft.com/office/drawing/2014/main" id="{924B991E-54E9-4022-A928-6AD8963738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2888" y="1157288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Rectangle 231">
              <a:extLst>
                <a:ext uri="{FF2B5EF4-FFF2-40B4-BE49-F238E27FC236}">
                  <a16:creationId xmlns:a16="http://schemas.microsoft.com/office/drawing/2014/main" id="{101E3A77-2636-40B3-847F-05097F6C86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3050" y="1157288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Rectangle 232">
              <a:extLst>
                <a:ext uri="{FF2B5EF4-FFF2-40B4-BE49-F238E27FC236}">
                  <a16:creationId xmlns:a16="http://schemas.microsoft.com/office/drawing/2014/main" id="{FD241E0A-5294-4BF7-B155-5CDDD87536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2888" y="1217613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Rectangle 233">
              <a:extLst>
                <a:ext uri="{FF2B5EF4-FFF2-40B4-BE49-F238E27FC236}">
                  <a16:creationId xmlns:a16="http://schemas.microsoft.com/office/drawing/2014/main" id="{EBB1D2AA-4A86-43BB-9DE6-B50A1666BB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8763" y="114300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Rectangle 234">
              <a:extLst>
                <a:ext uri="{FF2B5EF4-FFF2-40B4-BE49-F238E27FC236}">
                  <a16:creationId xmlns:a16="http://schemas.microsoft.com/office/drawing/2014/main" id="{C502D385-5C58-4ADA-B77D-43E00AFFDB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7338" y="1143000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Rectangle 235">
              <a:extLst>
                <a:ext uri="{FF2B5EF4-FFF2-40B4-BE49-F238E27FC236}">
                  <a16:creationId xmlns:a16="http://schemas.microsoft.com/office/drawing/2014/main" id="{FF98A520-76EF-4C4F-8DB4-1D421851D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7500" y="1143000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Rectangle 236">
              <a:extLst>
                <a:ext uri="{FF2B5EF4-FFF2-40B4-BE49-F238E27FC236}">
                  <a16:creationId xmlns:a16="http://schemas.microsoft.com/office/drawing/2014/main" id="{24F3C473-C6B5-4FBB-AAC6-1148F9CFC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8763" y="117316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0" name="Rectangle 237">
              <a:extLst>
                <a:ext uri="{FF2B5EF4-FFF2-40B4-BE49-F238E27FC236}">
                  <a16:creationId xmlns:a16="http://schemas.microsoft.com/office/drawing/2014/main" id="{4915546D-99EE-468B-AAA8-D0F1A0CB4C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3538" y="1247775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1" name="Rectangle 238">
              <a:extLst>
                <a:ext uri="{FF2B5EF4-FFF2-40B4-BE49-F238E27FC236}">
                  <a16:creationId xmlns:a16="http://schemas.microsoft.com/office/drawing/2014/main" id="{23DC5737-B03B-4250-8F9E-945F87312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3375" y="1247775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2" name="Rectangle 239">
              <a:extLst>
                <a:ext uri="{FF2B5EF4-FFF2-40B4-BE49-F238E27FC236}">
                  <a16:creationId xmlns:a16="http://schemas.microsoft.com/office/drawing/2014/main" id="{CA7797EA-97A4-43DE-B30A-873C4E0E56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7825" y="1233488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Rectangle 240">
              <a:extLst>
                <a:ext uri="{FF2B5EF4-FFF2-40B4-BE49-F238E27FC236}">
                  <a16:creationId xmlns:a16="http://schemas.microsoft.com/office/drawing/2014/main" id="{D1D1AD3F-7755-43EB-A483-7586F19B29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213" y="1247775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Rectangle 241">
              <a:extLst>
                <a:ext uri="{FF2B5EF4-FFF2-40B4-BE49-F238E27FC236}">
                  <a16:creationId xmlns:a16="http://schemas.microsoft.com/office/drawing/2014/main" id="{4FFA3E95-1370-462A-A826-2D6A6E9ECE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3050" y="1247775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Rectangle 242">
              <a:extLst>
                <a:ext uri="{FF2B5EF4-FFF2-40B4-BE49-F238E27FC236}">
                  <a16:creationId xmlns:a16="http://schemas.microsoft.com/office/drawing/2014/main" id="{063689C4-7A05-40B6-8465-342AE7BA1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213" y="118745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Rectangle 243">
              <a:extLst>
                <a:ext uri="{FF2B5EF4-FFF2-40B4-BE49-F238E27FC236}">
                  <a16:creationId xmlns:a16="http://schemas.microsoft.com/office/drawing/2014/main" id="{F416CD47-E0E0-4939-8B30-0028280CCB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7338" y="117316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Rectangle 244">
              <a:extLst>
                <a:ext uri="{FF2B5EF4-FFF2-40B4-BE49-F238E27FC236}">
                  <a16:creationId xmlns:a16="http://schemas.microsoft.com/office/drawing/2014/main" id="{95250FF5-4E70-42AA-90C5-86BFDCEC7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7825" y="1143000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Rectangle 245">
              <a:extLst>
                <a:ext uri="{FF2B5EF4-FFF2-40B4-BE49-F238E27FC236}">
                  <a16:creationId xmlns:a16="http://schemas.microsoft.com/office/drawing/2014/main" id="{516B05A5-2E42-4387-AF6D-BD4B844BF5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7825" y="1203325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Rectangle 246">
              <a:extLst>
                <a:ext uri="{FF2B5EF4-FFF2-40B4-BE49-F238E27FC236}">
                  <a16:creationId xmlns:a16="http://schemas.microsoft.com/office/drawing/2014/main" id="{875ACC28-80FD-4FFA-AB10-863670700F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7500" y="117316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0" name="Rectangle 247">
              <a:extLst>
                <a:ext uri="{FF2B5EF4-FFF2-40B4-BE49-F238E27FC236}">
                  <a16:creationId xmlns:a16="http://schemas.microsoft.com/office/drawing/2014/main" id="{9C985842-B1F2-4D2D-AF28-B8070FBD19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2888" y="1247775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Rectangle 248">
              <a:extLst>
                <a:ext uri="{FF2B5EF4-FFF2-40B4-BE49-F238E27FC236}">
                  <a16:creationId xmlns:a16="http://schemas.microsoft.com/office/drawing/2014/main" id="{9CA5E935-F153-4722-A7D3-9E519CC797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7825" y="117316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2" name="Rectangle 249">
              <a:extLst>
                <a:ext uri="{FF2B5EF4-FFF2-40B4-BE49-F238E27FC236}">
                  <a16:creationId xmlns:a16="http://schemas.microsoft.com/office/drawing/2014/main" id="{BF1CE4EF-61E6-41EC-A785-B475A31297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3050" y="118745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Rectangle 250">
              <a:extLst>
                <a:ext uri="{FF2B5EF4-FFF2-40B4-BE49-F238E27FC236}">
                  <a16:creationId xmlns:a16="http://schemas.microsoft.com/office/drawing/2014/main" id="{55174EC1-9756-4405-BFCE-B239F3310B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8600" y="120332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251">
              <a:extLst>
                <a:ext uri="{FF2B5EF4-FFF2-40B4-BE49-F238E27FC236}">
                  <a16:creationId xmlns:a16="http://schemas.microsoft.com/office/drawing/2014/main" id="{7C6E0698-78BC-4CFD-B143-9E2D60148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1308100"/>
              <a:ext cx="360363" cy="90488"/>
            </a:xfrm>
            <a:custGeom>
              <a:avLst/>
              <a:gdLst>
                <a:gd name="T0" fmla="*/ 0 w 96"/>
                <a:gd name="T1" fmla="*/ 8 h 24"/>
                <a:gd name="T2" fmla="*/ 8 w 96"/>
                <a:gd name="T3" fmla="*/ 16 h 24"/>
                <a:gd name="T4" fmla="*/ 46 w 96"/>
                <a:gd name="T5" fmla="*/ 16 h 24"/>
                <a:gd name="T6" fmla="*/ 46 w 96"/>
                <a:gd name="T7" fmla="*/ 20 h 24"/>
                <a:gd name="T8" fmla="*/ 20 w 96"/>
                <a:gd name="T9" fmla="*/ 20 h 24"/>
                <a:gd name="T10" fmla="*/ 18 w 96"/>
                <a:gd name="T11" fmla="*/ 22 h 24"/>
                <a:gd name="T12" fmla="*/ 20 w 96"/>
                <a:gd name="T13" fmla="*/ 24 h 24"/>
                <a:gd name="T14" fmla="*/ 76 w 96"/>
                <a:gd name="T15" fmla="*/ 24 h 24"/>
                <a:gd name="T16" fmla="*/ 78 w 96"/>
                <a:gd name="T17" fmla="*/ 22 h 24"/>
                <a:gd name="T18" fmla="*/ 76 w 96"/>
                <a:gd name="T19" fmla="*/ 20 h 24"/>
                <a:gd name="T20" fmla="*/ 50 w 96"/>
                <a:gd name="T21" fmla="*/ 20 h 24"/>
                <a:gd name="T22" fmla="*/ 50 w 96"/>
                <a:gd name="T23" fmla="*/ 16 h 24"/>
                <a:gd name="T24" fmla="*/ 88 w 96"/>
                <a:gd name="T25" fmla="*/ 16 h 24"/>
                <a:gd name="T26" fmla="*/ 96 w 96"/>
                <a:gd name="T27" fmla="*/ 8 h 24"/>
                <a:gd name="T28" fmla="*/ 96 w 96"/>
                <a:gd name="T29" fmla="*/ 0 h 24"/>
                <a:gd name="T30" fmla="*/ 0 w 96"/>
                <a:gd name="T31" fmla="*/ 0 h 24"/>
                <a:gd name="T32" fmla="*/ 0 w 96"/>
                <a:gd name="T33" fmla="*/ 8 h 24"/>
                <a:gd name="T34" fmla="*/ 48 w 96"/>
                <a:gd name="T35" fmla="*/ 4 h 24"/>
                <a:gd name="T36" fmla="*/ 52 w 96"/>
                <a:gd name="T37" fmla="*/ 8 h 24"/>
                <a:gd name="T38" fmla="*/ 48 w 96"/>
                <a:gd name="T39" fmla="*/ 12 h 24"/>
                <a:gd name="T40" fmla="*/ 44 w 96"/>
                <a:gd name="T41" fmla="*/ 8 h 24"/>
                <a:gd name="T42" fmla="*/ 48 w 96"/>
                <a:gd name="T43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4">
                  <a:moveTo>
                    <a:pt x="0" y="8"/>
                  </a:moveTo>
                  <a:cubicBezTo>
                    <a:pt x="0" y="12"/>
                    <a:pt x="4" y="16"/>
                    <a:pt x="8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0"/>
                    <a:pt x="18" y="21"/>
                    <a:pt x="18" y="22"/>
                  </a:cubicBezTo>
                  <a:cubicBezTo>
                    <a:pt x="18" y="23"/>
                    <a:pt x="19" y="24"/>
                    <a:pt x="20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7" y="24"/>
                    <a:pt x="78" y="23"/>
                    <a:pt x="78" y="22"/>
                  </a:cubicBezTo>
                  <a:cubicBezTo>
                    <a:pt x="78" y="21"/>
                    <a:pt x="77" y="20"/>
                    <a:pt x="76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2" y="16"/>
                    <a:pt x="96" y="12"/>
                    <a:pt x="96" y="8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8"/>
                  </a:lnTo>
                  <a:close/>
                  <a:moveTo>
                    <a:pt x="48" y="4"/>
                  </a:moveTo>
                  <a:cubicBezTo>
                    <a:pt x="50" y="4"/>
                    <a:pt x="52" y="6"/>
                    <a:pt x="52" y="8"/>
                  </a:cubicBezTo>
                  <a:cubicBezTo>
                    <a:pt x="52" y="10"/>
                    <a:pt x="50" y="12"/>
                    <a:pt x="48" y="12"/>
                  </a:cubicBezTo>
                  <a:cubicBezTo>
                    <a:pt x="46" y="12"/>
                    <a:pt x="44" y="10"/>
                    <a:pt x="44" y="8"/>
                  </a:cubicBezTo>
                  <a:cubicBezTo>
                    <a:pt x="44" y="6"/>
                    <a:pt x="46" y="4"/>
                    <a:pt x="4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Rectangle 252">
              <a:extLst>
                <a:ext uri="{FF2B5EF4-FFF2-40B4-BE49-F238E27FC236}">
                  <a16:creationId xmlns:a16="http://schemas.microsoft.com/office/drawing/2014/main" id="{34178834-BA69-4AD9-A325-3C0296E2B8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7338" y="1203325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Rectangle 253">
              <a:extLst>
                <a:ext uri="{FF2B5EF4-FFF2-40B4-BE49-F238E27FC236}">
                  <a16:creationId xmlns:a16="http://schemas.microsoft.com/office/drawing/2014/main" id="{8ECA9C08-0251-4383-A516-3EC864012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8600" y="117316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Rectangle 254">
              <a:extLst>
                <a:ext uri="{FF2B5EF4-FFF2-40B4-BE49-F238E27FC236}">
                  <a16:creationId xmlns:a16="http://schemas.microsoft.com/office/drawing/2014/main" id="{8F00C377-12D1-4077-82EB-DD5581FF97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7500" y="1203325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Rectangle 255">
              <a:extLst>
                <a:ext uri="{FF2B5EF4-FFF2-40B4-BE49-F238E27FC236}">
                  <a16:creationId xmlns:a16="http://schemas.microsoft.com/office/drawing/2014/main" id="{0A5FBC3A-05CD-423E-BE4B-66E4F5FBD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8600" y="114300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Freeform 256">
              <a:extLst>
                <a:ext uri="{FF2B5EF4-FFF2-40B4-BE49-F238E27FC236}">
                  <a16:creationId xmlns:a16="http://schemas.microsoft.com/office/drawing/2014/main" id="{20533C0F-FFC1-438E-8C67-16006D628F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1082675"/>
              <a:ext cx="360363" cy="211138"/>
            </a:xfrm>
            <a:custGeom>
              <a:avLst/>
              <a:gdLst>
                <a:gd name="T0" fmla="*/ 8 w 96"/>
                <a:gd name="T1" fmla="*/ 0 h 56"/>
                <a:gd name="T2" fmla="*/ 0 w 96"/>
                <a:gd name="T3" fmla="*/ 56 h 56"/>
                <a:gd name="T4" fmla="*/ 96 w 96"/>
                <a:gd name="T5" fmla="*/ 8 h 56"/>
                <a:gd name="T6" fmla="*/ 74 w 96"/>
                <a:gd name="T7" fmla="*/ 12 h 56"/>
                <a:gd name="T8" fmla="*/ 70 w 96"/>
                <a:gd name="T9" fmla="*/ 16 h 56"/>
                <a:gd name="T10" fmla="*/ 74 w 96"/>
                <a:gd name="T11" fmla="*/ 20 h 56"/>
                <a:gd name="T12" fmla="*/ 70 w 96"/>
                <a:gd name="T13" fmla="*/ 24 h 56"/>
                <a:gd name="T14" fmla="*/ 74 w 96"/>
                <a:gd name="T15" fmla="*/ 28 h 56"/>
                <a:gd name="T16" fmla="*/ 70 w 96"/>
                <a:gd name="T17" fmla="*/ 32 h 56"/>
                <a:gd name="T18" fmla="*/ 74 w 96"/>
                <a:gd name="T19" fmla="*/ 36 h 56"/>
                <a:gd name="T20" fmla="*/ 70 w 96"/>
                <a:gd name="T21" fmla="*/ 40 h 56"/>
                <a:gd name="T22" fmla="*/ 74 w 96"/>
                <a:gd name="T23" fmla="*/ 44 h 56"/>
                <a:gd name="T24" fmla="*/ 70 w 96"/>
                <a:gd name="T25" fmla="*/ 48 h 56"/>
                <a:gd name="T26" fmla="*/ 74 w 96"/>
                <a:gd name="T27" fmla="*/ 52 h 56"/>
                <a:gd name="T28" fmla="*/ 70 w 96"/>
                <a:gd name="T29" fmla="*/ 48 h 56"/>
                <a:gd name="T30" fmla="*/ 66 w 96"/>
                <a:gd name="T31" fmla="*/ 52 h 56"/>
                <a:gd name="T32" fmla="*/ 62 w 96"/>
                <a:gd name="T33" fmla="*/ 48 h 56"/>
                <a:gd name="T34" fmla="*/ 58 w 96"/>
                <a:gd name="T35" fmla="*/ 52 h 56"/>
                <a:gd name="T36" fmla="*/ 54 w 96"/>
                <a:gd name="T37" fmla="*/ 48 h 56"/>
                <a:gd name="T38" fmla="*/ 50 w 96"/>
                <a:gd name="T39" fmla="*/ 52 h 56"/>
                <a:gd name="T40" fmla="*/ 46 w 96"/>
                <a:gd name="T41" fmla="*/ 48 h 56"/>
                <a:gd name="T42" fmla="*/ 42 w 96"/>
                <a:gd name="T43" fmla="*/ 52 h 56"/>
                <a:gd name="T44" fmla="*/ 38 w 96"/>
                <a:gd name="T45" fmla="*/ 48 h 56"/>
                <a:gd name="T46" fmla="*/ 34 w 96"/>
                <a:gd name="T47" fmla="*/ 52 h 56"/>
                <a:gd name="T48" fmla="*/ 30 w 96"/>
                <a:gd name="T49" fmla="*/ 48 h 56"/>
                <a:gd name="T50" fmla="*/ 26 w 96"/>
                <a:gd name="T51" fmla="*/ 52 h 56"/>
                <a:gd name="T52" fmla="*/ 22 w 96"/>
                <a:gd name="T53" fmla="*/ 48 h 56"/>
                <a:gd name="T54" fmla="*/ 26 w 96"/>
                <a:gd name="T55" fmla="*/ 44 h 56"/>
                <a:gd name="T56" fmla="*/ 22 w 96"/>
                <a:gd name="T57" fmla="*/ 40 h 56"/>
                <a:gd name="T58" fmla="*/ 26 w 96"/>
                <a:gd name="T59" fmla="*/ 36 h 56"/>
                <a:gd name="T60" fmla="*/ 22 w 96"/>
                <a:gd name="T61" fmla="*/ 32 h 56"/>
                <a:gd name="T62" fmla="*/ 26 w 96"/>
                <a:gd name="T63" fmla="*/ 28 h 56"/>
                <a:gd name="T64" fmla="*/ 22 w 96"/>
                <a:gd name="T65" fmla="*/ 24 h 56"/>
                <a:gd name="T66" fmla="*/ 26 w 96"/>
                <a:gd name="T67" fmla="*/ 20 h 56"/>
                <a:gd name="T68" fmla="*/ 22 w 96"/>
                <a:gd name="T69" fmla="*/ 16 h 56"/>
                <a:gd name="T70" fmla="*/ 26 w 96"/>
                <a:gd name="T71" fmla="*/ 12 h 56"/>
                <a:gd name="T72" fmla="*/ 22 w 96"/>
                <a:gd name="T73" fmla="*/ 8 h 56"/>
                <a:gd name="T74" fmla="*/ 26 w 96"/>
                <a:gd name="T75" fmla="*/ 12 h 56"/>
                <a:gd name="T76" fmla="*/ 30 w 96"/>
                <a:gd name="T77" fmla="*/ 8 h 56"/>
                <a:gd name="T78" fmla="*/ 34 w 96"/>
                <a:gd name="T79" fmla="*/ 12 h 56"/>
                <a:gd name="T80" fmla="*/ 38 w 96"/>
                <a:gd name="T81" fmla="*/ 8 h 56"/>
                <a:gd name="T82" fmla="*/ 42 w 96"/>
                <a:gd name="T83" fmla="*/ 12 h 56"/>
                <a:gd name="T84" fmla="*/ 46 w 96"/>
                <a:gd name="T85" fmla="*/ 8 h 56"/>
                <a:gd name="T86" fmla="*/ 50 w 96"/>
                <a:gd name="T87" fmla="*/ 12 h 56"/>
                <a:gd name="T88" fmla="*/ 54 w 96"/>
                <a:gd name="T89" fmla="*/ 8 h 56"/>
                <a:gd name="T90" fmla="*/ 58 w 96"/>
                <a:gd name="T91" fmla="*/ 12 h 56"/>
                <a:gd name="T92" fmla="*/ 62 w 96"/>
                <a:gd name="T93" fmla="*/ 8 h 56"/>
                <a:gd name="T94" fmla="*/ 66 w 96"/>
                <a:gd name="T95" fmla="*/ 12 h 56"/>
                <a:gd name="T96" fmla="*/ 70 w 96"/>
                <a:gd name="T97" fmla="*/ 8 h 56"/>
                <a:gd name="T98" fmla="*/ 74 w 96"/>
                <a:gd name="T99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6" h="56">
                  <a:moveTo>
                    <a:pt x="8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4"/>
                    <a:pt x="92" y="0"/>
                    <a:pt x="88" y="0"/>
                  </a:cubicBezTo>
                  <a:close/>
                  <a:moveTo>
                    <a:pt x="74" y="12"/>
                  </a:moveTo>
                  <a:cubicBezTo>
                    <a:pt x="70" y="12"/>
                    <a:pt x="70" y="12"/>
                    <a:pt x="70" y="12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4" y="8"/>
                    <a:pt x="74" y="8"/>
                    <a:pt x="74" y="8"/>
                  </a:cubicBezTo>
                  <a:lnTo>
                    <a:pt x="7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Rectangle 257">
              <a:extLst>
                <a:ext uri="{FF2B5EF4-FFF2-40B4-BE49-F238E27FC236}">
                  <a16:creationId xmlns:a16="http://schemas.microsoft.com/office/drawing/2014/main" id="{AD002D24-A13B-47E7-8FC9-BA4404739D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8600" y="123348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072685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3505B5-5A4F-4F92-9E0A-079D6E7DB6D2}"/>
              </a:ext>
            </a:extLst>
          </p:cNvPr>
          <p:cNvSpPr/>
          <p:nvPr/>
        </p:nvSpPr>
        <p:spPr>
          <a:xfrm>
            <a:off x="0" y="2571688"/>
            <a:ext cx="6096000" cy="33696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Arc 59">
            <a:extLst>
              <a:ext uri="{FF2B5EF4-FFF2-40B4-BE49-F238E27FC236}">
                <a16:creationId xmlns:a16="http://schemas.microsoft.com/office/drawing/2014/main" id="{C5F3D928-472B-4354-AA59-C8FA8B51CD7E}"/>
              </a:ext>
            </a:extLst>
          </p:cNvPr>
          <p:cNvSpPr/>
          <p:nvPr/>
        </p:nvSpPr>
        <p:spPr>
          <a:xfrm rot="10800000">
            <a:off x="8203017" y="-2236162"/>
            <a:ext cx="3645144" cy="4075595"/>
          </a:xfrm>
          <a:prstGeom prst="arc">
            <a:avLst>
              <a:gd name="adj1" fmla="val 11100103"/>
              <a:gd name="adj2" fmla="val 21153800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3" name="Arc 42">
            <a:extLst>
              <a:ext uri="{FF2B5EF4-FFF2-40B4-BE49-F238E27FC236}">
                <a16:creationId xmlns:a16="http://schemas.microsoft.com/office/drawing/2014/main" id="{84932E9B-6BF6-4E1F-B70E-70AEC1822151}"/>
              </a:ext>
            </a:extLst>
          </p:cNvPr>
          <p:cNvSpPr/>
          <p:nvPr/>
        </p:nvSpPr>
        <p:spPr>
          <a:xfrm>
            <a:off x="7134447" y="-2412999"/>
            <a:ext cx="5231724" cy="5507074"/>
          </a:xfrm>
          <a:prstGeom prst="arc">
            <a:avLst>
              <a:gd name="adj1" fmla="val 1331130"/>
              <a:gd name="adj2" fmla="val 11251383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07E484-1734-4C6A-A21F-DBDC31539F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25</a:t>
            </a:fld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204047-EE9C-49DF-8ECA-BBEAE67DA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Budget</a:t>
            </a:r>
          </a:p>
        </p:txBody>
      </p:sp>
      <p:sp>
        <p:nvSpPr>
          <p:cNvPr id="66" name="Rectangle: Top Corners Rounded 65">
            <a:extLst>
              <a:ext uri="{FF2B5EF4-FFF2-40B4-BE49-F238E27FC236}">
                <a16:creationId xmlns:a16="http://schemas.microsoft.com/office/drawing/2014/main" id="{851BA9FD-DA5E-482C-B106-3ED797491085}"/>
              </a:ext>
            </a:extLst>
          </p:cNvPr>
          <p:cNvSpPr/>
          <p:nvPr/>
        </p:nvSpPr>
        <p:spPr>
          <a:xfrm rot="16200000">
            <a:off x="7158414" y="1095742"/>
            <a:ext cx="3971182" cy="6096001"/>
          </a:xfrm>
          <a:prstGeom prst="round2SameRect">
            <a:avLst>
              <a:gd name="adj1" fmla="val 5113"/>
              <a:gd name="adj2" fmla="val 0"/>
            </a:avLst>
          </a:prstGeom>
          <a:solidFill>
            <a:srgbClr val="D438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5A7595D-410B-4133-9755-3F15BEFF709A}"/>
              </a:ext>
            </a:extLst>
          </p:cNvPr>
          <p:cNvGraphicFramePr/>
          <p:nvPr/>
        </p:nvGraphicFramePr>
        <p:xfrm>
          <a:off x="3441063" y="2749044"/>
          <a:ext cx="2008994" cy="3014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2" name="Oval 81">
            <a:extLst>
              <a:ext uri="{FF2B5EF4-FFF2-40B4-BE49-F238E27FC236}">
                <a16:creationId xmlns:a16="http://schemas.microsoft.com/office/drawing/2014/main" id="{99DE9C89-3226-4BFF-B270-EC62A92E8759}"/>
              </a:ext>
            </a:extLst>
          </p:cNvPr>
          <p:cNvSpPr/>
          <p:nvPr/>
        </p:nvSpPr>
        <p:spPr>
          <a:xfrm>
            <a:off x="627201" y="2158153"/>
            <a:ext cx="827070" cy="827070"/>
          </a:xfrm>
          <a:prstGeom prst="ellipse">
            <a:avLst/>
          </a:prstGeom>
          <a:solidFill>
            <a:srgbClr val="D4383E"/>
          </a:solidFill>
          <a:ln>
            <a:noFill/>
          </a:ln>
          <a:effectLst>
            <a:outerShdw blurRad="381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6211F92-182C-44CE-9587-F5FACFFD945A}"/>
              </a:ext>
            </a:extLst>
          </p:cNvPr>
          <p:cNvSpPr/>
          <p:nvPr/>
        </p:nvSpPr>
        <p:spPr>
          <a:xfrm>
            <a:off x="627203" y="3811927"/>
            <a:ext cx="2167917" cy="1869176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labore et dolore magna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Ut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d minim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eniam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ostrud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Lorem ipsum dolor sit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do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iusmod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en-US" sz="1200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200" dirty="0" err="1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cididunt</a:t>
            </a:r>
            <a:endParaRPr lang="en-US" sz="1200" dirty="0">
              <a:solidFill>
                <a:srgbClr val="AB252B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8AC0EBE-ABC4-4F2E-A3D3-EE109D8A9958}"/>
              </a:ext>
            </a:extLst>
          </p:cNvPr>
          <p:cNvSpPr/>
          <p:nvPr/>
        </p:nvSpPr>
        <p:spPr>
          <a:xfrm>
            <a:off x="627201" y="3159304"/>
            <a:ext cx="2167919" cy="478541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en-US" b="1" dirty="0">
                <a:solidFill>
                  <a:srgbClr val="AB252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</a:t>
            </a:r>
          </a:p>
        </p:txBody>
      </p:sp>
      <p:sp>
        <p:nvSpPr>
          <p:cNvPr id="91" name="Freeform 126">
            <a:extLst>
              <a:ext uri="{FF2B5EF4-FFF2-40B4-BE49-F238E27FC236}">
                <a16:creationId xmlns:a16="http://schemas.microsoft.com/office/drawing/2014/main" id="{956EAE77-152D-4866-9607-C788B9BDB911}"/>
              </a:ext>
            </a:extLst>
          </p:cNvPr>
          <p:cNvSpPr>
            <a:spLocks noEditPoints="1"/>
          </p:cNvSpPr>
          <p:nvPr/>
        </p:nvSpPr>
        <p:spPr bwMode="auto">
          <a:xfrm>
            <a:off x="860555" y="2416113"/>
            <a:ext cx="360363" cy="311150"/>
          </a:xfrm>
          <a:custGeom>
            <a:avLst/>
            <a:gdLst>
              <a:gd name="T0" fmla="*/ 94 w 96"/>
              <a:gd name="T1" fmla="*/ 0 h 83"/>
              <a:gd name="T2" fmla="*/ 2 w 96"/>
              <a:gd name="T3" fmla="*/ 0 h 83"/>
              <a:gd name="T4" fmla="*/ 0 w 96"/>
              <a:gd name="T5" fmla="*/ 2 h 83"/>
              <a:gd name="T6" fmla="*/ 0 w 96"/>
              <a:gd name="T7" fmla="*/ 66 h 83"/>
              <a:gd name="T8" fmla="*/ 2 w 96"/>
              <a:gd name="T9" fmla="*/ 68 h 83"/>
              <a:gd name="T10" fmla="*/ 28 w 96"/>
              <a:gd name="T11" fmla="*/ 68 h 83"/>
              <a:gd name="T12" fmla="*/ 28 w 96"/>
              <a:gd name="T13" fmla="*/ 81 h 83"/>
              <a:gd name="T14" fmla="*/ 29 w 96"/>
              <a:gd name="T15" fmla="*/ 83 h 83"/>
              <a:gd name="T16" fmla="*/ 30 w 96"/>
              <a:gd name="T17" fmla="*/ 83 h 83"/>
              <a:gd name="T18" fmla="*/ 31 w 96"/>
              <a:gd name="T19" fmla="*/ 83 h 83"/>
              <a:gd name="T20" fmla="*/ 47 w 96"/>
              <a:gd name="T21" fmla="*/ 68 h 83"/>
              <a:gd name="T22" fmla="*/ 94 w 96"/>
              <a:gd name="T23" fmla="*/ 68 h 83"/>
              <a:gd name="T24" fmla="*/ 96 w 96"/>
              <a:gd name="T25" fmla="*/ 66 h 83"/>
              <a:gd name="T26" fmla="*/ 96 w 96"/>
              <a:gd name="T27" fmla="*/ 2 h 83"/>
              <a:gd name="T28" fmla="*/ 94 w 96"/>
              <a:gd name="T29" fmla="*/ 0 h 83"/>
              <a:gd name="T30" fmla="*/ 82 w 96"/>
              <a:gd name="T31" fmla="*/ 56 h 83"/>
              <a:gd name="T32" fmla="*/ 78 w 96"/>
              <a:gd name="T33" fmla="*/ 56 h 83"/>
              <a:gd name="T34" fmla="*/ 66 w 96"/>
              <a:gd name="T35" fmla="*/ 56 h 83"/>
              <a:gd name="T36" fmla="*/ 58 w 96"/>
              <a:gd name="T37" fmla="*/ 56 h 83"/>
              <a:gd name="T38" fmla="*/ 46 w 96"/>
              <a:gd name="T39" fmla="*/ 56 h 83"/>
              <a:gd name="T40" fmla="*/ 38 w 96"/>
              <a:gd name="T41" fmla="*/ 56 h 83"/>
              <a:gd name="T42" fmla="*/ 26 w 96"/>
              <a:gd name="T43" fmla="*/ 56 h 83"/>
              <a:gd name="T44" fmla="*/ 14 w 96"/>
              <a:gd name="T45" fmla="*/ 56 h 83"/>
              <a:gd name="T46" fmla="*/ 12 w 96"/>
              <a:gd name="T47" fmla="*/ 54 h 83"/>
              <a:gd name="T48" fmla="*/ 12 w 96"/>
              <a:gd name="T49" fmla="*/ 14 h 83"/>
              <a:gd name="T50" fmla="*/ 14 w 96"/>
              <a:gd name="T51" fmla="*/ 12 h 83"/>
              <a:gd name="T52" fmla="*/ 16 w 96"/>
              <a:gd name="T53" fmla="*/ 14 h 83"/>
              <a:gd name="T54" fmla="*/ 16 w 96"/>
              <a:gd name="T55" fmla="*/ 52 h 83"/>
              <a:gd name="T56" fmla="*/ 24 w 96"/>
              <a:gd name="T57" fmla="*/ 52 h 83"/>
              <a:gd name="T58" fmla="*/ 24 w 96"/>
              <a:gd name="T59" fmla="*/ 30 h 83"/>
              <a:gd name="T60" fmla="*/ 26 w 96"/>
              <a:gd name="T61" fmla="*/ 28 h 83"/>
              <a:gd name="T62" fmla="*/ 38 w 96"/>
              <a:gd name="T63" fmla="*/ 28 h 83"/>
              <a:gd name="T64" fmla="*/ 40 w 96"/>
              <a:gd name="T65" fmla="*/ 30 h 83"/>
              <a:gd name="T66" fmla="*/ 40 w 96"/>
              <a:gd name="T67" fmla="*/ 52 h 83"/>
              <a:gd name="T68" fmla="*/ 44 w 96"/>
              <a:gd name="T69" fmla="*/ 52 h 83"/>
              <a:gd name="T70" fmla="*/ 44 w 96"/>
              <a:gd name="T71" fmla="*/ 38 h 83"/>
              <a:gd name="T72" fmla="*/ 46 w 96"/>
              <a:gd name="T73" fmla="*/ 36 h 83"/>
              <a:gd name="T74" fmla="*/ 58 w 96"/>
              <a:gd name="T75" fmla="*/ 36 h 83"/>
              <a:gd name="T76" fmla="*/ 60 w 96"/>
              <a:gd name="T77" fmla="*/ 38 h 83"/>
              <a:gd name="T78" fmla="*/ 60 w 96"/>
              <a:gd name="T79" fmla="*/ 52 h 83"/>
              <a:gd name="T80" fmla="*/ 64 w 96"/>
              <a:gd name="T81" fmla="*/ 52 h 83"/>
              <a:gd name="T82" fmla="*/ 64 w 96"/>
              <a:gd name="T83" fmla="*/ 14 h 83"/>
              <a:gd name="T84" fmla="*/ 66 w 96"/>
              <a:gd name="T85" fmla="*/ 12 h 83"/>
              <a:gd name="T86" fmla="*/ 78 w 96"/>
              <a:gd name="T87" fmla="*/ 12 h 83"/>
              <a:gd name="T88" fmla="*/ 80 w 96"/>
              <a:gd name="T89" fmla="*/ 14 h 83"/>
              <a:gd name="T90" fmla="*/ 80 w 96"/>
              <a:gd name="T91" fmla="*/ 52 h 83"/>
              <a:gd name="T92" fmla="*/ 82 w 96"/>
              <a:gd name="T93" fmla="*/ 52 h 83"/>
              <a:gd name="T94" fmla="*/ 84 w 96"/>
              <a:gd name="T95" fmla="*/ 54 h 83"/>
              <a:gd name="T96" fmla="*/ 82 w 96"/>
              <a:gd name="T97" fmla="*/ 56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83">
                <a:moveTo>
                  <a:pt x="94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81"/>
                  <a:pt x="28" y="81"/>
                  <a:pt x="28" y="81"/>
                </a:cubicBezTo>
                <a:cubicBezTo>
                  <a:pt x="28" y="82"/>
                  <a:pt x="28" y="83"/>
                  <a:pt x="29" y="83"/>
                </a:cubicBezTo>
                <a:cubicBezTo>
                  <a:pt x="29" y="83"/>
                  <a:pt x="30" y="83"/>
                  <a:pt x="30" y="83"/>
                </a:cubicBezTo>
                <a:cubicBezTo>
                  <a:pt x="31" y="83"/>
                  <a:pt x="31" y="83"/>
                  <a:pt x="31" y="83"/>
                </a:cubicBezTo>
                <a:cubicBezTo>
                  <a:pt x="47" y="68"/>
                  <a:pt x="47" y="68"/>
                  <a:pt x="47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5" y="0"/>
                  <a:pt x="94" y="0"/>
                </a:cubicBezTo>
                <a:close/>
                <a:moveTo>
                  <a:pt x="82" y="56"/>
                </a:moveTo>
                <a:cubicBezTo>
                  <a:pt x="78" y="56"/>
                  <a:pt x="78" y="56"/>
                  <a:pt x="78" y="56"/>
                </a:cubicBezTo>
                <a:cubicBezTo>
                  <a:pt x="66" y="56"/>
                  <a:pt x="66" y="56"/>
                  <a:pt x="66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46" y="56"/>
                  <a:pt x="46" y="56"/>
                  <a:pt x="46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26" y="56"/>
                  <a:pt x="26" y="56"/>
                  <a:pt x="26" y="56"/>
                </a:cubicBezTo>
                <a:cubicBezTo>
                  <a:pt x="14" y="56"/>
                  <a:pt x="14" y="56"/>
                  <a:pt x="14" y="56"/>
                </a:cubicBezTo>
                <a:cubicBezTo>
                  <a:pt x="13" y="56"/>
                  <a:pt x="12" y="55"/>
                  <a:pt x="12" y="54"/>
                </a:cubicBezTo>
                <a:cubicBezTo>
                  <a:pt x="12" y="14"/>
                  <a:pt x="12" y="14"/>
                  <a:pt x="12" y="14"/>
                </a:cubicBezTo>
                <a:cubicBezTo>
                  <a:pt x="12" y="13"/>
                  <a:pt x="13" y="12"/>
                  <a:pt x="14" y="12"/>
                </a:cubicBezTo>
                <a:cubicBezTo>
                  <a:pt x="15" y="12"/>
                  <a:pt x="16" y="13"/>
                  <a:pt x="16" y="14"/>
                </a:cubicBezTo>
                <a:cubicBezTo>
                  <a:pt x="16" y="52"/>
                  <a:pt x="16" y="52"/>
                  <a:pt x="16" y="52"/>
                </a:cubicBezTo>
                <a:cubicBezTo>
                  <a:pt x="24" y="52"/>
                  <a:pt x="24" y="52"/>
                  <a:pt x="24" y="52"/>
                </a:cubicBezTo>
                <a:cubicBezTo>
                  <a:pt x="24" y="30"/>
                  <a:pt x="24" y="30"/>
                  <a:pt x="24" y="30"/>
                </a:cubicBezTo>
                <a:cubicBezTo>
                  <a:pt x="24" y="29"/>
                  <a:pt x="25" y="28"/>
                  <a:pt x="26" y="28"/>
                </a:cubicBezTo>
                <a:cubicBezTo>
                  <a:pt x="38" y="28"/>
                  <a:pt x="38" y="28"/>
                  <a:pt x="38" y="28"/>
                </a:cubicBezTo>
                <a:cubicBezTo>
                  <a:pt x="39" y="28"/>
                  <a:pt x="40" y="29"/>
                  <a:pt x="40" y="30"/>
                </a:cubicBezTo>
                <a:cubicBezTo>
                  <a:pt x="40" y="52"/>
                  <a:pt x="40" y="52"/>
                  <a:pt x="40" y="52"/>
                </a:cubicBezTo>
                <a:cubicBezTo>
                  <a:pt x="44" y="52"/>
                  <a:pt x="44" y="52"/>
                  <a:pt x="44" y="52"/>
                </a:cubicBezTo>
                <a:cubicBezTo>
                  <a:pt x="44" y="38"/>
                  <a:pt x="44" y="38"/>
                  <a:pt x="44" y="38"/>
                </a:cubicBezTo>
                <a:cubicBezTo>
                  <a:pt x="44" y="37"/>
                  <a:pt x="45" y="36"/>
                  <a:pt x="46" y="36"/>
                </a:cubicBezTo>
                <a:cubicBezTo>
                  <a:pt x="58" y="36"/>
                  <a:pt x="58" y="36"/>
                  <a:pt x="58" y="36"/>
                </a:cubicBezTo>
                <a:cubicBezTo>
                  <a:pt x="59" y="36"/>
                  <a:pt x="60" y="37"/>
                  <a:pt x="60" y="38"/>
                </a:cubicBezTo>
                <a:cubicBezTo>
                  <a:pt x="60" y="52"/>
                  <a:pt x="60" y="52"/>
                  <a:pt x="60" y="52"/>
                </a:cubicBezTo>
                <a:cubicBezTo>
                  <a:pt x="64" y="52"/>
                  <a:pt x="64" y="52"/>
                  <a:pt x="64" y="52"/>
                </a:cubicBezTo>
                <a:cubicBezTo>
                  <a:pt x="64" y="14"/>
                  <a:pt x="64" y="14"/>
                  <a:pt x="64" y="14"/>
                </a:cubicBezTo>
                <a:cubicBezTo>
                  <a:pt x="64" y="13"/>
                  <a:pt x="65" y="12"/>
                  <a:pt x="66" y="12"/>
                </a:cubicBezTo>
                <a:cubicBezTo>
                  <a:pt x="78" y="12"/>
                  <a:pt x="78" y="12"/>
                  <a:pt x="78" y="12"/>
                </a:cubicBezTo>
                <a:cubicBezTo>
                  <a:pt x="79" y="12"/>
                  <a:pt x="80" y="13"/>
                  <a:pt x="80" y="14"/>
                </a:cubicBezTo>
                <a:cubicBezTo>
                  <a:pt x="80" y="52"/>
                  <a:pt x="80" y="52"/>
                  <a:pt x="80" y="52"/>
                </a:cubicBezTo>
                <a:cubicBezTo>
                  <a:pt x="82" y="52"/>
                  <a:pt x="82" y="52"/>
                  <a:pt x="82" y="52"/>
                </a:cubicBezTo>
                <a:cubicBezTo>
                  <a:pt x="83" y="52"/>
                  <a:pt x="84" y="53"/>
                  <a:pt x="84" y="54"/>
                </a:cubicBezTo>
                <a:cubicBezTo>
                  <a:pt x="84" y="55"/>
                  <a:pt x="83" y="56"/>
                  <a:pt x="82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aphicFrame>
        <p:nvGraphicFramePr>
          <p:cNvPr id="9" name="Table 10">
            <a:extLst>
              <a:ext uri="{FF2B5EF4-FFF2-40B4-BE49-F238E27FC236}">
                <a16:creationId xmlns:a16="http://schemas.microsoft.com/office/drawing/2014/main" id="{11B77BCE-E97F-4FEC-813F-D6A7B58E46B5}"/>
              </a:ext>
            </a:extLst>
          </p:cNvPr>
          <p:cNvGraphicFramePr>
            <a:graphicFrameLocks noGrp="1"/>
          </p:cNvGraphicFramePr>
          <p:nvPr/>
        </p:nvGraphicFramePr>
        <p:xfrm>
          <a:off x="6341386" y="1592262"/>
          <a:ext cx="5143176" cy="43432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4392">
                  <a:extLst>
                    <a:ext uri="{9D8B030D-6E8A-4147-A177-3AD203B41FA5}">
                      <a16:colId xmlns:a16="http://schemas.microsoft.com/office/drawing/2014/main" val="2826231913"/>
                    </a:ext>
                  </a:extLst>
                </a:gridCol>
                <a:gridCol w="1714392">
                  <a:extLst>
                    <a:ext uri="{9D8B030D-6E8A-4147-A177-3AD203B41FA5}">
                      <a16:colId xmlns:a16="http://schemas.microsoft.com/office/drawing/2014/main" val="3343655288"/>
                    </a:ext>
                  </a:extLst>
                </a:gridCol>
                <a:gridCol w="1714392">
                  <a:extLst>
                    <a:ext uri="{9D8B030D-6E8A-4147-A177-3AD203B41FA5}">
                      <a16:colId xmlns:a16="http://schemas.microsoft.com/office/drawing/2014/main" val="150600263"/>
                    </a:ext>
                  </a:extLst>
                </a:gridCol>
              </a:tblGrid>
              <a:tr h="1232027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orem Ipsum</a:t>
                      </a:r>
                    </a:p>
                  </a:txBody>
                  <a:tcPr marT="648000" marB="0">
                    <a:lnR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orem Ipsum</a:t>
                      </a:r>
                    </a:p>
                  </a:txBody>
                  <a:tcPr marT="648000" marB="0">
                    <a:lnL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orem Ipsum</a:t>
                      </a:r>
                    </a:p>
                  </a:txBody>
                  <a:tcPr marT="648000" marB="0">
                    <a:lnL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5625946"/>
                  </a:ext>
                </a:extLst>
              </a:tr>
              <a:tr h="77780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orem ipsum dolor sit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met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consectetur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dipiscing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en-US" sz="1050" dirty="0" err="1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elit</a:t>
                      </a:r>
                      <a:r>
                        <a:rPr lang="en-US" sz="1050" dirty="0">
                          <a:solidFill>
                            <a:schemeClr val="bg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</a:t>
                      </a:r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amet, consectetur adipiscing elit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amet, consectetur adipiscing elit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980208"/>
                  </a:ext>
                </a:extLst>
              </a:tr>
              <a:tr h="777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me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consectetur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dipiscing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eli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me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consectetur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dipiscing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eli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amet, consectetur adipiscing elit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5001775"/>
                  </a:ext>
                </a:extLst>
              </a:tr>
              <a:tr h="777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amet, consectetur adipiscing elit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me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consectetur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dipiscing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eli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me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consectetur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dipiscing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eli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3579874"/>
                  </a:ext>
                </a:extLst>
              </a:tr>
              <a:tr h="7778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me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consectetur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dipiscing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eli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me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consectetur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dipiscing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eli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orem ipsum dolor sit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me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consectetur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dipiscing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elit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,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1C1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083572"/>
                  </a:ext>
                </a:extLst>
              </a:tr>
            </a:tbl>
          </a:graphicData>
        </a:graphic>
      </p:graphicFrame>
      <p:sp>
        <p:nvSpPr>
          <p:cNvPr id="92" name="Freeform 48">
            <a:extLst>
              <a:ext uri="{FF2B5EF4-FFF2-40B4-BE49-F238E27FC236}">
                <a16:creationId xmlns:a16="http://schemas.microsoft.com/office/drawing/2014/main" id="{CFB6748D-8CEB-4693-8281-28CB7D3C1487}"/>
              </a:ext>
            </a:extLst>
          </p:cNvPr>
          <p:cNvSpPr>
            <a:spLocks noEditPoints="1"/>
          </p:cNvSpPr>
          <p:nvPr/>
        </p:nvSpPr>
        <p:spPr bwMode="auto">
          <a:xfrm>
            <a:off x="10520144" y="1799695"/>
            <a:ext cx="203207" cy="287771"/>
          </a:xfrm>
          <a:custGeom>
            <a:avLst/>
            <a:gdLst>
              <a:gd name="T0" fmla="*/ 65 w 68"/>
              <a:gd name="T1" fmla="*/ 1 h 96"/>
              <a:gd name="T2" fmla="*/ 51 w 68"/>
              <a:gd name="T3" fmla="*/ 1 h 96"/>
              <a:gd name="T4" fmla="*/ 42 w 68"/>
              <a:gd name="T5" fmla="*/ 7 h 96"/>
              <a:gd name="T6" fmla="*/ 33 w 68"/>
              <a:gd name="T7" fmla="*/ 1 h 96"/>
              <a:gd name="T8" fmla="*/ 19 w 68"/>
              <a:gd name="T9" fmla="*/ 1 h 96"/>
              <a:gd name="T10" fmla="*/ 10 w 68"/>
              <a:gd name="T11" fmla="*/ 7 h 96"/>
              <a:gd name="T12" fmla="*/ 1 w 68"/>
              <a:gd name="T13" fmla="*/ 0 h 96"/>
              <a:gd name="T14" fmla="*/ 0 w 68"/>
              <a:gd name="T15" fmla="*/ 94 h 96"/>
              <a:gd name="T16" fmla="*/ 3 w 68"/>
              <a:gd name="T17" fmla="*/ 95 h 96"/>
              <a:gd name="T18" fmla="*/ 17 w 68"/>
              <a:gd name="T19" fmla="*/ 95 h 96"/>
              <a:gd name="T20" fmla="*/ 26 w 68"/>
              <a:gd name="T21" fmla="*/ 89 h 96"/>
              <a:gd name="T22" fmla="*/ 35 w 68"/>
              <a:gd name="T23" fmla="*/ 95 h 96"/>
              <a:gd name="T24" fmla="*/ 49 w 68"/>
              <a:gd name="T25" fmla="*/ 95 h 96"/>
              <a:gd name="T26" fmla="*/ 58 w 68"/>
              <a:gd name="T27" fmla="*/ 89 h 96"/>
              <a:gd name="T28" fmla="*/ 66 w 68"/>
              <a:gd name="T29" fmla="*/ 96 h 96"/>
              <a:gd name="T30" fmla="*/ 68 w 68"/>
              <a:gd name="T31" fmla="*/ 94 h 96"/>
              <a:gd name="T32" fmla="*/ 67 w 68"/>
              <a:gd name="T33" fmla="*/ 0 h 96"/>
              <a:gd name="T34" fmla="*/ 14 w 68"/>
              <a:gd name="T35" fmla="*/ 64 h 96"/>
              <a:gd name="T36" fmla="*/ 14 w 68"/>
              <a:gd name="T37" fmla="*/ 60 h 96"/>
              <a:gd name="T38" fmla="*/ 28 w 68"/>
              <a:gd name="T39" fmla="*/ 62 h 96"/>
              <a:gd name="T40" fmla="*/ 30 w 68"/>
              <a:gd name="T41" fmla="*/ 52 h 96"/>
              <a:gd name="T42" fmla="*/ 12 w 68"/>
              <a:gd name="T43" fmla="*/ 50 h 96"/>
              <a:gd name="T44" fmla="*/ 30 w 68"/>
              <a:gd name="T45" fmla="*/ 48 h 96"/>
              <a:gd name="T46" fmla="*/ 30 w 68"/>
              <a:gd name="T47" fmla="*/ 52 h 96"/>
              <a:gd name="T48" fmla="*/ 14 w 68"/>
              <a:gd name="T49" fmla="*/ 40 h 96"/>
              <a:gd name="T50" fmla="*/ 14 w 68"/>
              <a:gd name="T51" fmla="*/ 36 h 96"/>
              <a:gd name="T52" fmla="*/ 32 w 68"/>
              <a:gd name="T53" fmla="*/ 38 h 96"/>
              <a:gd name="T54" fmla="*/ 14 w 68"/>
              <a:gd name="T55" fmla="*/ 28 h 96"/>
              <a:gd name="T56" fmla="*/ 14 w 68"/>
              <a:gd name="T57" fmla="*/ 24 h 96"/>
              <a:gd name="T58" fmla="*/ 48 w 68"/>
              <a:gd name="T59" fmla="*/ 26 h 96"/>
              <a:gd name="T60" fmla="*/ 14 w 68"/>
              <a:gd name="T61" fmla="*/ 28 h 96"/>
              <a:gd name="T62" fmla="*/ 56 w 68"/>
              <a:gd name="T63" fmla="*/ 64 h 96"/>
              <a:gd name="T64" fmla="*/ 50 w 68"/>
              <a:gd name="T65" fmla="*/ 74 h 96"/>
              <a:gd name="T66" fmla="*/ 46 w 68"/>
              <a:gd name="T67" fmla="*/ 74 h 96"/>
              <a:gd name="T68" fmla="*/ 40 w 68"/>
              <a:gd name="T69" fmla="*/ 64 h 96"/>
              <a:gd name="T70" fmla="*/ 44 w 68"/>
              <a:gd name="T71" fmla="*/ 64 h 96"/>
              <a:gd name="T72" fmla="*/ 52 w 68"/>
              <a:gd name="T73" fmla="*/ 64 h 96"/>
              <a:gd name="T74" fmla="*/ 40 w 68"/>
              <a:gd name="T75" fmla="*/ 52 h 96"/>
              <a:gd name="T76" fmla="*/ 46 w 68"/>
              <a:gd name="T77" fmla="*/ 42 h 96"/>
              <a:gd name="T78" fmla="*/ 50 w 68"/>
              <a:gd name="T79" fmla="*/ 42 h 96"/>
              <a:gd name="T80" fmla="*/ 56 w 68"/>
              <a:gd name="T81" fmla="*/ 52 h 96"/>
              <a:gd name="T82" fmla="*/ 52 w 68"/>
              <a:gd name="T83" fmla="*/ 52 h 96"/>
              <a:gd name="T84" fmla="*/ 44 w 68"/>
              <a:gd name="T8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8" h="96">
                <a:moveTo>
                  <a:pt x="67" y="0"/>
                </a:moveTo>
                <a:cubicBezTo>
                  <a:pt x="66" y="0"/>
                  <a:pt x="65" y="0"/>
                  <a:pt x="65" y="1"/>
                </a:cubicBezTo>
                <a:cubicBezTo>
                  <a:pt x="58" y="7"/>
                  <a:pt x="58" y="7"/>
                  <a:pt x="58" y="7"/>
                </a:cubicBezTo>
                <a:cubicBezTo>
                  <a:pt x="51" y="1"/>
                  <a:pt x="51" y="1"/>
                  <a:pt x="51" y="1"/>
                </a:cubicBezTo>
                <a:cubicBezTo>
                  <a:pt x="51" y="0"/>
                  <a:pt x="49" y="0"/>
                  <a:pt x="49" y="1"/>
                </a:cubicBezTo>
                <a:cubicBezTo>
                  <a:pt x="42" y="7"/>
                  <a:pt x="42" y="7"/>
                  <a:pt x="42" y="7"/>
                </a:cubicBezTo>
                <a:cubicBezTo>
                  <a:pt x="35" y="1"/>
                  <a:pt x="35" y="1"/>
                  <a:pt x="35" y="1"/>
                </a:cubicBezTo>
                <a:cubicBezTo>
                  <a:pt x="35" y="0"/>
                  <a:pt x="33" y="0"/>
                  <a:pt x="33" y="1"/>
                </a:cubicBezTo>
                <a:cubicBezTo>
                  <a:pt x="26" y="7"/>
                  <a:pt x="26" y="7"/>
                  <a:pt x="26" y="7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0"/>
                  <a:pt x="17" y="0"/>
                  <a:pt x="17" y="1"/>
                </a:cubicBezTo>
                <a:cubicBezTo>
                  <a:pt x="10" y="7"/>
                  <a:pt x="10" y="7"/>
                  <a:pt x="10" y="7"/>
                </a:cubicBezTo>
                <a:cubicBezTo>
                  <a:pt x="3" y="1"/>
                  <a:pt x="3" y="1"/>
                  <a:pt x="3" y="1"/>
                </a:cubicBezTo>
                <a:cubicBezTo>
                  <a:pt x="3" y="0"/>
                  <a:pt x="2" y="0"/>
                  <a:pt x="1" y="0"/>
                </a:cubicBezTo>
                <a:cubicBezTo>
                  <a:pt x="0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0" y="96"/>
                  <a:pt x="1" y="96"/>
                </a:cubicBezTo>
                <a:cubicBezTo>
                  <a:pt x="2" y="96"/>
                  <a:pt x="3" y="96"/>
                  <a:pt x="3" y="95"/>
                </a:cubicBezTo>
                <a:cubicBezTo>
                  <a:pt x="10" y="89"/>
                  <a:pt x="10" y="89"/>
                  <a:pt x="10" y="89"/>
                </a:cubicBezTo>
                <a:cubicBezTo>
                  <a:pt x="17" y="95"/>
                  <a:pt x="17" y="95"/>
                  <a:pt x="17" y="95"/>
                </a:cubicBezTo>
                <a:cubicBezTo>
                  <a:pt x="17" y="96"/>
                  <a:pt x="19" y="96"/>
                  <a:pt x="19" y="95"/>
                </a:cubicBezTo>
                <a:cubicBezTo>
                  <a:pt x="26" y="89"/>
                  <a:pt x="26" y="89"/>
                  <a:pt x="26" y="89"/>
                </a:cubicBezTo>
                <a:cubicBezTo>
                  <a:pt x="33" y="95"/>
                  <a:pt x="33" y="95"/>
                  <a:pt x="33" y="95"/>
                </a:cubicBezTo>
                <a:cubicBezTo>
                  <a:pt x="33" y="96"/>
                  <a:pt x="35" y="96"/>
                  <a:pt x="35" y="95"/>
                </a:cubicBezTo>
                <a:cubicBezTo>
                  <a:pt x="42" y="89"/>
                  <a:pt x="42" y="89"/>
                  <a:pt x="42" y="89"/>
                </a:cubicBezTo>
                <a:cubicBezTo>
                  <a:pt x="49" y="95"/>
                  <a:pt x="49" y="95"/>
                  <a:pt x="49" y="95"/>
                </a:cubicBezTo>
                <a:cubicBezTo>
                  <a:pt x="49" y="96"/>
                  <a:pt x="51" y="96"/>
                  <a:pt x="51" y="95"/>
                </a:cubicBezTo>
                <a:cubicBezTo>
                  <a:pt x="58" y="89"/>
                  <a:pt x="58" y="89"/>
                  <a:pt x="58" y="89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6"/>
                  <a:pt x="65" y="96"/>
                  <a:pt x="66" y="96"/>
                </a:cubicBezTo>
                <a:cubicBezTo>
                  <a:pt x="66" y="96"/>
                  <a:pt x="67" y="96"/>
                  <a:pt x="67" y="96"/>
                </a:cubicBezTo>
                <a:cubicBezTo>
                  <a:pt x="68" y="96"/>
                  <a:pt x="68" y="95"/>
                  <a:pt x="68" y="94"/>
                </a:cubicBezTo>
                <a:cubicBezTo>
                  <a:pt x="68" y="2"/>
                  <a:pt x="68" y="2"/>
                  <a:pt x="68" y="2"/>
                </a:cubicBezTo>
                <a:cubicBezTo>
                  <a:pt x="68" y="1"/>
                  <a:pt x="68" y="0"/>
                  <a:pt x="67" y="0"/>
                </a:cubicBezTo>
                <a:close/>
                <a:moveTo>
                  <a:pt x="26" y="64"/>
                </a:moveTo>
                <a:cubicBezTo>
                  <a:pt x="14" y="64"/>
                  <a:pt x="14" y="64"/>
                  <a:pt x="14" y="64"/>
                </a:cubicBezTo>
                <a:cubicBezTo>
                  <a:pt x="13" y="64"/>
                  <a:pt x="12" y="63"/>
                  <a:pt x="12" y="62"/>
                </a:cubicBezTo>
                <a:cubicBezTo>
                  <a:pt x="12" y="61"/>
                  <a:pt x="13" y="60"/>
                  <a:pt x="14" y="60"/>
                </a:cubicBezTo>
                <a:cubicBezTo>
                  <a:pt x="26" y="60"/>
                  <a:pt x="26" y="60"/>
                  <a:pt x="26" y="60"/>
                </a:cubicBezTo>
                <a:cubicBezTo>
                  <a:pt x="27" y="60"/>
                  <a:pt x="28" y="61"/>
                  <a:pt x="28" y="62"/>
                </a:cubicBezTo>
                <a:cubicBezTo>
                  <a:pt x="28" y="63"/>
                  <a:pt x="27" y="64"/>
                  <a:pt x="26" y="64"/>
                </a:cubicBezTo>
                <a:close/>
                <a:moveTo>
                  <a:pt x="30" y="52"/>
                </a:moveTo>
                <a:cubicBezTo>
                  <a:pt x="14" y="52"/>
                  <a:pt x="14" y="52"/>
                  <a:pt x="14" y="52"/>
                </a:cubicBezTo>
                <a:cubicBezTo>
                  <a:pt x="13" y="52"/>
                  <a:pt x="12" y="51"/>
                  <a:pt x="12" y="50"/>
                </a:cubicBezTo>
                <a:cubicBezTo>
                  <a:pt x="12" y="49"/>
                  <a:pt x="13" y="48"/>
                  <a:pt x="14" y="48"/>
                </a:cubicBezTo>
                <a:cubicBezTo>
                  <a:pt x="30" y="48"/>
                  <a:pt x="30" y="48"/>
                  <a:pt x="30" y="48"/>
                </a:cubicBezTo>
                <a:cubicBezTo>
                  <a:pt x="31" y="48"/>
                  <a:pt x="32" y="49"/>
                  <a:pt x="32" y="50"/>
                </a:cubicBezTo>
                <a:cubicBezTo>
                  <a:pt x="32" y="51"/>
                  <a:pt x="31" y="52"/>
                  <a:pt x="30" y="52"/>
                </a:cubicBezTo>
                <a:close/>
                <a:moveTo>
                  <a:pt x="30" y="40"/>
                </a:moveTo>
                <a:cubicBezTo>
                  <a:pt x="14" y="40"/>
                  <a:pt x="14" y="40"/>
                  <a:pt x="14" y="40"/>
                </a:cubicBezTo>
                <a:cubicBezTo>
                  <a:pt x="13" y="40"/>
                  <a:pt x="12" y="39"/>
                  <a:pt x="12" y="38"/>
                </a:cubicBezTo>
                <a:cubicBezTo>
                  <a:pt x="12" y="37"/>
                  <a:pt x="13" y="36"/>
                  <a:pt x="14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1" y="36"/>
                  <a:pt x="32" y="37"/>
                  <a:pt x="32" y="38"/>
                </a:cubicBezTo>
                <a:cubicBezTo>
                  <a:pt x="32" y="39"/>
                  <a:pt x="31" y="40"/>
                  <a:pt x="30" y="40"/>
                </a:cubicBezTo>
                <a:close/>
                <a:moveTo>
                  <a:pt x="14" y="28"/>
                </a:moveTo>
                <a:cubicBezTo>
                  <a:pt x="13" y="28"/>
                  <a:pt x="12" y="27"/>
                  <a:pt x="12" y="26"/>
                </a:cubicBezTo>
                <a:cubicBezTo>
                  <a:pt x="12" y="25"/>
                  <a:pt x="13" y="24"/>
                  <a:pt x="14" y="24"/>
                </a:cubicBezTo>
                <a:cubicBezTo>
                  <a:pt x="46" y="24"/>
                  <a:pt x="46" y="24"/>
                  <a:pt x="46" y="24"/>
                </a:cubicBezTo>
                <a:cubicBezTo>
                  <a:pt x="47" y="24"/>
                  <a:pt x="48" y="25"/>
                  <a:pt x="48" y="26"/>
                </a:cubicBezTo>
                <a:cubicBezTo>
                  <a:pt x="48" y="27"/>
                  <a:pt x="47" y="28"/>
                  <a:pt x="46" y="28"/>
                </a:cubicBezTo>
                <a:lnTo>
                  <a:pt x="14" y="28"/>
                </a:lnTo>
                <a:close/>
                <a:moveTo>
                  <a:pt x="48" y="56"/>
                </a:moveTo>
                <a:cubicBezTo>
                  <a:pt x="52" y="56"/>
                  <a:pt x="56" y="60"/>
                  <a:pt x="56" y="64"/>
                </a:cubicBezTo>
                <a:cubicBezTo>
                  <a:pt x="56" y="68"/>
                  <a:pt x="53" y="71"/>
                  <a:pt x="50" y="72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5"/>
                  <a:pt x="49" y="76"/>
                  <a:pt x="48" y="76"/>
                </a:cubicBezTo>
                <a:cubicBezTo>
                  <a:pt x="47" y="76"/>
                  <a:pt x="46" y="75"/>
                  <a:pt x="46" y="74"/>
                </a:cubicBezTo>
                <a:cubicBezTo>
                  <a:pt x="46" y="72"/>
                  <a:pt x="46" y="72"/>
                  <a:pt x="46" y="72"/>
                </a:cubicBezTo>
                <a:cubicBezTo>
                  <a:pt x="43" y="71"/>
                  <a:pt x="40" y="68"/>
                  <a:pt x="40" y="64"/>
                </a:cubicBezTo>
                <a:cubicBezTo>
                  <a:pt x="40" y="63"/>
                  <a:pt x="41" y="62"/>
                  <a:pt x="42" y="62"/>
                </a:cubicBezTo>
                <a:cubicBezTo>
                  <a:pt x="43" y="62"/>
                  <a:pt x="44" y="63"/>
                  <a:pt x="44" y="64"/>
                </a:cubicBezTo>
                <a:cubicBezTo>
                  <a:pt x="44" y="66"/>
                  <a:pt x="46" y="68"/>
                  <a:pt x="48" y="68"/>
                </a:cubicBezTo>
                <a:cubicBezTo>
                  <a:pt x="50" y="68"/>
                  <a:pt x="52" y="66"/>
                  <a:pt x="52" y="64"/>
                </a:cubicBezTo>
                <a:cubicBezTo>
                  <a:pt x="52" y="62"/>
                  <a:pt x="50" y="60"/>
                  <a:pt x="48" y="60"/>
                </a:cubicBezTo>
                <a:cubicBezTo>
                  <a:pt x="44" y="60"/>
                  <a:pt x="40" y="56"/>
                  <a:pt x="40" y="52"/>
                </a:cubicBezTo>
                <a:cubicBezTo>
                  <a:pt x="40" y="48"/>
                  <a:pt x="43" y="45"/>
                  <a:pt x="46" y="44"/>
                </a:cubicBezTo>
                <a:cubicBezTo>
                  <a:pt x="46" y="42"/>
                  <a:pt x="46" y="42"/>
                  <a:pt x="46" y="42"/>
                </a:cubicBezTo>
                <a:cubicBezTo>
                  <a:pt x="46" y="41"/>
                  <a:pt x="47" y="40"/>
                  <a:pt x="48" y="40"/>
                </a:cubicBezTo>
                <a:cubicBezTo>
                  <a:pt x="49" y="40"/>
                  <a:pt x="50" y="41"/>
                  <a:pt x="50" y="42"/>
                </a:cubicBezTo>
                <a:cubicBezTo>
                  <a:pt x="50" y="44"/>
                  <a:pt x="50" y="44"/>
                  <a:pt x="50" y="44"/>
                </a:cubicBezTo>
                <a:cubicBezTo>
                  <a:pt x="53" y="45"/>
                  <a:pt x="56" y="48"/>
                  <a:pt x="56" y="52"/>
                </a:cubicBezTo>
                <a:cubicBezTo>
                  <a:pt x="56" y="53"/>
                  <a:pt x="55" y="54"/>
                  <a:pt x="54" y="54"/>
                </a:cubicBezTo>
                <a:cubicBezTo>
                  <a:pt x="53" y="54"/>
                  <a:pt x="52" y="53"/>
                  <a:pt x="52" y="52"/>
                </a:cubicBezTo>
                <a:cubicBezTo>
                  <a:pt x="52" y="50"/>
                  <a:pt x="50" y="48"/>
                  <a:pt x="48" y="48"/>
                </a:cubicBezTo>
                <a:cubicBezTo>
                  <a:pt x="46" y="48"/>
                  <a:pt x="44" y="50"/>
                  <a:pt x="44" y="52"/>
                </a:cubicBezTo>
                <a:cubicBezTo>
                  <a:pt x="44" y="54"/>
                  <a:pt x="46" y="56"/>
                  <a:pt x="48" y="56"/>
                </a:cubicBezTo>
                <a:close/>
              </a:path>
            </a:pathLst>
          </a:custGeom>
          <a:solidFill>
            <a:srgbClr val="D4383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8F612E4C-EED4-47E5-802E-2826668F123B}"/>
              </a:ext>
            </a:extLst>
          </p:cNvPr>
          <p:cNvGrpSpPr/>
          <p:nvPr/>
        </p:nvGrpSpPr>
        <p:grpSpPr>
          <a:xfrm>
            <a:off x="8765644" y="1800326"/>
            <a:ext cx="286509" cy="286508"/>
            <a:chOff x="4833938" y="5414963"/>
            <a:chExt cx="360363" cy="360362"/>
          </a:xfrm>
          <a:solidFill>
            <a:srgbClr val="D4383E"/>
          </a:solidFill>
        </p:grpSpPr>
        <p:sp>
          <p:nvSpPr>
            <p:cNvPr id="95" name="Freeform 137">
              <a:extLst>
                <a:ext uri="{FF2B5EF4-FFF2-40B4-BE49-F238E27FC236}">
                  <a16:creationId xmlns:a16="http://schemas.microsoft.com/office/drawing/2014/main" id="{A9EF90FB-6DC2-4268-BDE6-B5F8C1730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5414963"/>
              <a:ext cx="360363" cy="315913"/>
            </a:xfrm>
            <a:custGeom>
              <a:avLst/>
              <a:gdLst>
                <a:gd name="T0" fmla="*/ 52 w 96"/>
                <a:gd name="T1" fmla="*/ 72 h 84"/>
                <a:gd name="T2" fmla="*/ 52 w 96"/>
                <a:gd name="T3" fmla="*/ 69 h 84"/>
                <a:gd name="T4" fmla="*/ 52 w 96"/>
                <a:gd name="T5" fmla="*/ 68 h 84"/>
                <a:gd name="T6" fmla="*/ 34 w 96"/>
                <a:gd name="T7" fmla="*/ 68 h 84"/>
                <a:gd name="T8" fmla="*/ 33 w 96"/>
                <a:gd name="T9" fmla="*/ 64 h 84"/>
                <a:gd name="T10" fmla="*/ 53 w 96"/>
                <a:gd name="T11" fmla="*/ 64 h 84"/>
                <a:gd name="T12" fmla="*/ 66 w 96"/>
                <a:gd name="T13" fmla="*/ 53 h 84"/>
                <a:gd name="T14" fmla="*/ 76 w 96"/>
                <a:gd name="T15" fmla="*/ 57 h 84"/>
                <a:gd name="T16" fmla="*/ 87 w 96"/>
                <a:gd name="T17" fmla="*/ 53 h 84"/>
                <a:gd name="T18" fmla="*/ 87 w 96"/>
                <a:gd name="T19" fmla="*/ 53 h 84"/>
                <a:gd name="T20" fmla="*/ 96 w 96"/>
                <a:gd name="T21" fmla="*/ 27 h 84"/>
                <a:gd name="T22" fmla="*/ 96 w 96"/>
                <a:gd name="T23" fmla="*/ 25 h 84"/>
                <a:gd name="T24" fmla="*/ 94 w 96"/>
                <a:gd name="T25" fmla="*/ 24 h 84"/>
                <a:gd name="T26" fmla="*/ 23 w 96"/>
                <a:gd name="T27" fmla="*/ 24 h 84"/>
                <a:gd name="T28" fmla="*/ 18 w 96"/>
                <a:gd name="T29" fmla="*/ 2 h 84"/>
                <a:gd name="T30" fmla="*/ 16 w 96"/>
                <a:gd name="T31" fmla="*/ 0 h 84"/>
                <a:gd name="T32" fmla="*/ 2 w 96"/>
                <a:gd name="T33" fmla="*/ 0 h 84"/>
                <a:gd name="T34" fmla="*/ 0 w 96"/>
                <a:gd name="T35" fmla="*/ 2 h 84"/>
                <a:gd name="T36" fmla="*/ 2 w 96"/>
                <a:gd name="T37" fmla="*/ 4 h 84"/>
                <a:gd name="T38" fmla="*/ 14 w 96"/>
                <a:gd name="T39" fmla="*/ 4 h 84"/>
                <a:gd name="T40" fmla="*/ 30 w 96"/>
                <a:gd name="T41" fmla="*/ 68 h 84"/>
                <a:gd name="T42" fmla="*/ 24 w 96"/>
                <a:gd name="T43" fmla="*/ 76 h 84"/>
                <a:gd name="T44" fmla="*/ 32 w 96"/>
                <a:gd name="T45" fmla="*/ 84 h 84"/>
                <a:gd name="T46" fmla="*/ 40 w 96"/>
                <a:gd name="T47" fmla="*/ 76 h 84"/>
                <a:gd name="T48" fmla="*/ 39 w 96"/>
                <a:gd name="T49" fmla="*/ 72 h 84"/>
                <a:gd name="T50" fmla="*/ 52 w 96"/>
                <a:gd name="T51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6" h="84">
                  <a:moveTo>
                    <a:pt x="52" y="72"/>
                  </a:moveTo>
                  <a:cubicBezTo>
                    <a:pt x="52" y="71"/>
                    <a:pt x="52" y="70"/>
                    <a:pt x="52" y="69"/>
                  </a:cubicBezTo>
                  <a:cubicBezTo>
                    <a:pt x="52" y="69"/>
                    <a:pt x="52" y="68"/>
                    <a:pt x="52" y="68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5" y="57"/>
                    <a:pt x="60" y="53"/>
                    <a:pt x="66" y="53"/>
                  </a:cubicBezTo>
                  <a:cubicBezTo>
                    <a:pt x="70" y="53"/>
                    <a:pt x="73" y="55"/>
                    <a:pt x="76" y="57"/>
                  </a:cubicBezTo>
                  <a:cubicBezTo>
                    <a:pt x="79" y="55"/>
                    <a:pt x="83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96" y="27"/>
                    <a:pt x="96" y="27"/>
                    <a:pt x="96" y="27"/>
                  </a:cubicBezTo>
                  <a:cubicBezTo>
                    <a:pt x="96" y="26"/>
                    <a:pt x="96" y="25"/>
                    <a:pt x="96" y="25"/>
                  </a:cubicBezTo>
                  <a:cubicBezTo>
                    <a:pt x="95" y="24"/>
                    <a:pt x="95" y="24"/>
                    <a:pt x="94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6" y="69"/>
                    <a:pt x="24" y="72"/>
                    <a:pt x="24" y="76"/>
                  </a:cubicBezTo>
                  <a:cubicBezTo>
                    <a:pt x="24" y="80"/>
                    <a:pt x="28" y="84"/>
                    <a:pt x="32" y="84"/>
                  </a:cubicBezTo>
                  <a:cubicBezTo>
                    <a:pt x="36" y="84"/>
                    <a:pt x="40" y="80"/>
                    <a:pt x="40" y="76"/>
                  </a:cubicBezTo>
                  <a:cubicBezTo>
                    <a:pt x="40" y="75"/>
                    <a:pt x="40" y="73"/>
                    <a:pt x="39" y="72"/>
                  </a:cubicBezTo>
                  <a:lnTo>
                    <a:pt x="5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138">
              <a:extLst>
                <a:ext uri="{FF2B5EF4-FFF2-40B4-BE49-F238E27FC236}">
                  <a16:creationId xmlns:a16="http://schemas.microsoft.com/office/drawing/2014/main" id="{209BE6D8-CE11-4179-965E-C3EBE70D9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5075" y="5629275"/>
              <a:ext cx="149225" cy="146050"/>
            </a:xfrm>
            <a:custGeom>
              <a:avLst/>
              <a:gdLst>
                <a:gd name="T0" fmla="*/ 30 w 40"/>
                <a:gd name="T1" fmla="*/ 0 h 39"/>
                <a:gd name="T2" fmla="*/ 20 w 40"/>
                <a:gd name="T3" fmla="*/ 6 h 39"/>
                <a:gd name="T4" fmla="*/ 10 w 40"/>
                <a:gd name="T5" fmla="*/ 0 h 39"/>
                <a:gd name="T6" fmla="*/ 0 w 40"/>
                <a:gd name="T7" fmla="*/ 12 h 39"/>
                <a:gd name="T8" fmla="*/ 19 w 40"/>
                <a:gd name="T9" fmla="*/ 39 h 39"/>
                <a:gd name="T10" fmla="*/ 20 w 40"/>
                <a:gd name="T11" fmla="*/ 39 h 39"/>
                <a:gd name="T12" fmla="*/ 21 w 40"/>
                <a:gd name="T13" fmla="*/ 39 h 39"/>
                <a:gd name="T14" fmla="*/ 40 w 40"/>
                <a:gd name="T15" fmla="*/ 11 h 39"/>
                <a:gd name="T16" fmla="*/ 30 w 40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39">
                  <a:moveTo>
                    <a:pt x="30" y="0"/>
                  </a:moveTo>
                  <a:cubicBezTo>
                    <a:pt x="27" y="0"/>
                    <a:pt x="23" y="2"/>
                    <a:pt x="20" y="6"/>
                  </a:cubicBezTo>
                  <a:cubicBezTo>
                    <a:pt x="18" y="2"/>
                    <a:pt x="14" y="0"/>
                    <a:pt x="10" y="0"/>
                  </a:cubicBezTo>
                  <a:cubicBezTo>
                    <a:pt x="5" y="0"/>
                    <a:pt x="0" y="4"/>
                    <a:pt x="0" y="12"/>
                  </a:cubicBezTo>
                  <a:cubicBezTo>
                    <a:pt x="0" y="28"/>
                    <a:pt x="18" y="38"/>
                    <a:pt x="19" y="39"/>
                  </a:cubicBezTo>
                  <a:cubicBezTo>
                    <a:pt x="19" y="39"/>
                    <a:pt x="20" y="39"/>
                    <a:pt x="20" y="39"/>
                  </a:cubicBezTo>
                  <a:cubicBezTo>
                    <a:pt x="20" y="39"/>
                    <a:pt x="21" y="39"/>
                    <a:pt x="21" y="39"/>
                  </a:cubicBezTo>
                  <a:cubicBezTo>
                    <a:pt x="22" y="38"/>
                    <a:pt x="40" y="28"/>
                    <a:pt x="40" y="11"/>
                  </a:cubicBezTo>
                  <a:cubicBezTo>
                    <a:pt x="40" y="3"/>
                    <a:pt x="35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101C285-707A-4F61-9148-C12AC6CF44AA}"/>
              </a:ext>
            </a:extLst>
          </p:cNvPr>
          <p:cNvGrpSpPr/>
          <p:nvPr/>
        </p:nvGrpSpPr>
        <p:grpSpPr>
          <a:xfrm>
            <a:off x="7052795" y="1806006"/>
            <a:ext cx="286509" cy="275149"/>
            <a:chOff x="2670175" y="1819275"/>
            <a:chExt cx="360363" cy="346075"/>
          </a:xfrm>
          <a:solidFill>
            <a:srgbClr val="D4383E"/>
          </a:solidFill>
        </p:grpSpPr>
        <p:sp>
          <p:nvSpPr>
            <p:cNvPr id="99" name="Freeform 175">
              <a:extLst>
                <a:ext uri="{FF2B5EF4-FFF2-40B4-BE49-F238E27FC236}">
                  <a16:creationId xmlns:a16="http://schemas.microsoft.com/office/drawing/2014/main" id="{0814E89F-4FA7-4381-A16A-E9CBDEE97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350" y="1895475"/>
              <a:ext cx="87313" cy="30163"/>
            </a:xfrm>
            <a:custGeom>
              <a:avLst/>
              <a:gdLst>
                <a:gd name="T0" fmla="*/ 23 w 23"/>
                <a:gd name="T1" fmla="*/ 8 h 8"/>
                <a:gd name="T2" fmla="*/ 23 w 23"/>
                <a:gd name="T3" fmla="*/ 0 h 8"/>
                <a:gd name="T4" fmla="*/ 10 w 23"/>
                <a:gd name="T5" fmla="*/ 0 h 8"/>
                <a:gd name="T6" fmla="*/ 9 w 23"/>
                <a:gd name="T7" fmla="*/ 1 h 8"/>
                <a:gd name="T8" fmla="*/ 0 w 23"/>
                <a:gd name="T9" fmla="*/ 8 h 8"/>
                <a:gd name="T10" fmla="*/ 23 w 2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8">
                  <a:moveTo>
                    <a:pt x="23" y="8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9" y="0"/>
                    <a:pt x="9" y="1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23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Rectangle 176">
              <a:extLst>
                <a:ext uri="{FF2B5EF4-FFF2-40B4-BE49-F238E27FC236}">
                  <a16:creationId xmlns:a16="http://schemas.microsoft.com/office/drawing/2014/main" id="{4B4C3B6A-5CAE-494F-99D0-D010C8887C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5113" y="1895475"/>
              <a:ext cx="9048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177">
              <a:extLst>
                <a:ext uri="{FF2B5EF4-FFF2-40B4-BE49-F238E27FC236}">
                  <a16:creationId xmlns:a16="http://schemas.microsoft.com/office/drawing/2014/main" id="{37141B2F-2412-4F95-B175-813FE05C4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1819275"/>
              <a:ext cx="150813" cy="106363"/>
            </a:xfrm>
            <a:custGeom>
              <a:avLst/>
              <a:gdLst>
                <a:gd name="T0" fmla="*/ 4 w 40"/>
                <a:gd name="T1" fmla="*/ 28 h 28"/>
                <a:gd name="T2" fmla="*/ 4 w 40"/>
                <a:gd name="T3" fmla="*/ 20 h 28"/>
                <a:gd name="T4" fmla="*/ 20 w 40"/>
                <a:gd name="T5" fmla="*/ 4 h 28"/>
                <a:gd name="T6" fmla="*/ 36 w 40"/>
                <a:gd name="T7" fmla="*/ 20 h 28"/>
                <a:gd name="T8" fmla="*/ 36 w 40"/>
                <a:gd name="T9" fmla="*/ 28 h 28"/>
                <a:gd name="T10" fmla="*/ 40 w 40"/>
                <a:gd name="T11" fmla="*/ 28 h 28"/>
                <a:gd name="T12" fmla="*/ 40 w 40"/>
                <a:gd name="T13" fmla="*/ 20 h 28"/>
                <a:gd name="T14" fmla="*/ 20 w 40"/>
                <a:gd name="T15" fmla="*/ 0 h 28"/>
                <a:gd name="T16" fmla="*/ 0 w 40"/>
                <a:gd name="T17" fmla="*/ 20 h 28"/>
                <a:gd name="T18" fmla="*/ 0 w 40"/>
                <a:gd name="T19" fmla="*/ 28 h 28"/>
                <a:gd name="T20" fmla="*/ 4 w 40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8">
                  <a:moveTo>
                    <a:pt x="4" y="28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4" y="11"/>
                    <a:pt x="11" y="4"/>
                    <a:pt x="20" y="4"/>
                  </a:cubicBezTo>
                  <a:cubicBezTo>
                    <a:pt x="29" y="4"/>
                    <a:pt x="36" y="11"/>
                    <a:pt x="36" y="20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9"/>
                    <a:pt x="31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28"/>
                    <a:pt x="0" y="28"/>
                    <a:pt x="0" y="28"/>
                  </a:cubicBezTo>
                  <a:lnTo>
                    <a:pt x="4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178">
              <a:extLst>
                <a:ext uri="{FF2B5EF4-FFF2-40B4-BE49-F238E27FC236}">
                  <a16:creationId xmlns:a16="http://schemas.microsoft.com/office/drawing/2014/main" id="{64B85C26-6F56-4ABD-824C-5DA32478A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0050" y="1895475"/>
              <a:ext cx="87313" cy="30163"/>
            </a:xfrm>
            <a:custGeom>
              <a:avLst/>
              <a:gdLst>
                <a:gd name="T0" fmla="*/ 23 w 23"/>
                <a:gd name="T1" fmla="*/ 8 h 8"/>
                <a:gd name="T2" fmla="*/ 15 w 23"/>
                <a:gd name="T3" fmla="*/ 1 h 8"/>
                <a:gd name="T4" fmla="*/ 13 w 23"/>
                <a:gd name="T5" fmla="*/ 0 h 8"/>
                <a:gd name="T6" fmla="*/ 0 w 23"/>
                <a:gd name="T7" fmla="*/ 0 h 8"/>
                <a:gd name="T8" fmla="*/ 0 w 23"/>
                <a:gd name="T9" fmla="*/ 8 h 8"/>
                <a:gd name="T10" fmla="*/ 23 w 2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8">
                  <a:moveTo>
                    <a:pt x="23" y="8"/>
                  </a:moveTo>
                  <a:cubicBezTo>
                    <a:pt x="15" y="1"/>
                    <a:pt x="15" y="1"/>
                    <a:pt x="15" y="1"/>
                  </a:cubicBezTo>
                  <a:cubicBezTo>
                    <a:pt x="14" y="0"/>
                    <a:pt x="14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23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179">
              <a:extLst>
                <a:ext uri="{FF2B5EF4-FFF2-40B4-BE49-F238E27FC236}">
                  <a16:creationId xmlns:a16="http://schemas.microsoft.com/office/drawing/2014/main" id="{B7D18DB0-F679-4446-96F4-0A0B44EA7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1939925"/>
              <a:ext cx="360363" cy="225425"/>
            </a:xfrm>
            <a:custGeom>
              <a:avLst/>
              <a:gdLst>
                <a:gd name="T0" fmla="*/ 0 w 96"/>
                <a:gd name="T1" fmla="*/ 0 h 60"/>
                <a:gd name="T2" fmla="*/ 0 w 96"/>
                <a:gd name="T3" fmla="*/ 58 h 60"/>
                <a:gd name="T4" fmla="*/ 2 w 96"/>
                <a:gd name="T5" fmla="*/ 60 h 60"/>
                <a:gd name="T6" fmla="*/ 94 w 96"/>
                <a:gd name="T7" fmla="*/ 60 h 60"/>
                <a:gd name="T8" fmla="*/ 96 w 96"/>
                <a:gd name="T9" fmla="*/ 58 h 60"/>
                <a:gd name="T10" fmla="*/ 96 w 96"/>
                <a:gd name="T11" fmla="*/ 0 h 60"/>
                <a:gd name="T12" fmla="*/ 0 w 96"/>
                <a:gd name="T13" fmla="*/ 0 h 60"/>
                <a:gd name="T14" fmla="*/ 66 w 96"/>
                <a:gd name="T15" fmla="*/ 19 h 60"/>
                <a:gd name="T16" fmla="*/ 46 w 96"/>
                <a:gd name="T17" fmla="*/ 42 h 60"/>
                <a:gd name="T18" fmla="*/ 43 w 96"/>
                <a:gd name="T19" fmla="*/ 43 h 60"/>
                <a:gd name="T20" fmla="*/ 43 w 96"/>
                <a:gd name="T21" fmla="*/ 43 h 60"/>
                <a:gd name="T22" fmla="*/ 40 w 96"/>
                <a:gd name="T23" fmla="*/ 42 h 60"/>
                <a:gd name="T24" fmla="*/ 30 w 96"/>
                <a:gd name="T25" fmla="*/ 32 h 60"/>
                <a:gd name="T26" fmla="*/ 30 w 96"/>
                <a:gd name="T27" fmla="*/ 26 h 60"/>
                <a:gd name="T28" fmla="*/ 36 w 96"/>
                <a:gd name="T29" fmla="*/ 26 h 60"/>
                <a:gd name="T30" fmla="*/ 43 w 96"/>
                <a:gd name="T31" fmla="*/ 33 h 60"/>
                <a:gd name="T32" fmla="*/ 60 w 96"/>
                <a:gd name="T33" fmla="*/ 13 h 60"/>
                <a:gd name="T34" fmla="*/ 66 w 96"/>
                <a:gd name="T35" fmla="*/ 13 h 60"/>
                <a:gd name="T36" fmla="*/ 66 w 96"/>
                <a:gd name="T37" fmla="*/ 1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60">
                  <a:moveTo>
                    <a:pt x="0" y="0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0" y="59"/>
                    <a:pt x="1" y="60"/>
                    <a:pt x="2" y="60"/>
                  </a:cubicBezTo>
                  <a:cubicBezTo>
                    <a:pt x="94" y="60"/>
                    <a:pt x="94" y="60"/>
                    <a:pt x="94" y="60"/>
                  </a:cubicBezTo>
                  <a:cubicBezTo>
                    <a:pt x="95" y="60"/>
                    <a:pt x="96" y="59"/>
                    <a:pt x="96" y="58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0" y="0"/>
                  </a:lnTo>
                  <a:close/>
                  <a:moveTo>
                    <a:pt x="66" y="19"/>
                  </a:moveTo>
                  <a:cubicBezTo>
                    <a:pt x="46" y="42"/>
                    <a:pt x="46" y="42"/>
                    <a:pt x="46" y="42"/>
                  </a:cubicBezTo>
                  <a:cubicBezTo>
                    <a:pt x="45" y="43"/>
                    <a:pt x="44" y="43"/>
                    <a:pt x="43" y="43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2" y="43"/>
                    <a:pt x="41" y="43"/>
                    <a:pt x="40" y="4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9" y="30"/>
                    <a:pt x="29" y="28"/>
                    <a:pt x="30" y="26"/>
                  </a:cubicBezTo>
                  <a:cubicBezTo>
                    <a:pt x="32" y="25"/>
                    <a:pt x="34" y="25"/>
                    <a:pt x="36" y="26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2" y="12"/>
                    <a:pt x="64" y="12"/>
                    <a:pt x="66" y="13"/>
                  </a:cubicBezTo>
                  <a:cubicBezTo>
                    <a:pt x="67" y="15"/>
                    <a:pt x="68" y="17"/>
                    <a:pt x="6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40768714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Arc 380">
            <a:extLst>
              <a:ext uri="{FF2B5EF4-FFF2-40B4-BE49-F238E27FC236}">
                <a16:creationId xmlns:a16="http://schemas.microsoft.com/office/drawing/2014/main" id="{26E10FA4-6503-4E9E-AE1B-B1A086A52019}"/>
              </a:ext>
            </a:extLst>
          </p:cNvPr>
          <p:cNvSpPr/>
          <p:nvPr/>
        </p:nvSpPr>
        <p:spPr>
          <a:xfrm>
            <a:off x="7848683" y="-2832983"/>
            <a:ext cx="4366000" cy="4366000"/>
          </a:xfrm>
          <a:prstGeom prst="arc">
            <a:avLst>
              <a:gd name="adj1" fmla="val 1040772"/>
              <a:gd name="adj2" fmla="val 9787001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2" name="Oval 381">
            <a:extLst>
              <a:ext uri="{FF2B5EF4-FFF2-40B4-BE49-F238E27FC236}">
                <a16:creationId xmlns:a16="http://schemas.microsoft.com/office/drawing/2014/main" id="{6E07BBC9-48DF-4E35-AAA8-7F926690CAEE}"/>
              </a:ext>
            </a:extLst>
          </p:cNvPr>
          <p:cNvSpPr/>
          <p:nvPr/>
        </p:nvSpPr>
        <p:spPr>
          <a:xfrm>
            <a:off x="8092258" y="427053"/>
            <a:ext cx="213542" cy="213542"/>
          </a:xfrm>
          <a:prstGeom prst="ellipse">
            <a:avLst/>
          </a:prstGeom>
          <a:solidFill>
            <a:srgbClr val="4D555C"/>
          </a:solidFill>
          <a:ln w="63500">
            <a:solidFill>
              <a:srgbClr val="181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7" name="Oval 376">
            <a:extLst>
              <a:ext uri="{FF2B5EF4-FFF2-40B4-BE49-F238E27FC236}">
                <a16:creationId xmlns:a16="http://schemas.microsoft.com/office/drawing/2014/main" id="{E88B2393-B5FB-494A-9935-A8EDA2A1E010}"/>
              </a:ext>
            </a:extLst>
          </p:cNvPr>
          <p:cNvSpPr/>
          <p:nvPr/>
        </p:nvSpPr>
        <p:spPr>
          <a:xfrm>
            <a:off x="2441026" y="1280772"/>
            <a:ext cx="622982" cy="622982"/>
          </a:xfrm>
          <a:prstGeom prst="ellipse">
            <a:avLst/>
          </a:prstGeom>
          <a:solidFill>
            <a:srgbClr val="4D555C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8" name="Oval 377">
            <a:extLst>
              <a:ext uri="{FF2B5EF4-FFF2-40B4-BE49-F238E27FC236}">
                <a16:creationId xmlns:a16="http://schemas.microsoft.com/office/drawing/2014/main" id="{5084A80C-BB2D-4182-8DF0-229B39EA14FD}"/>
              </a:ext>
            </a:extLst>
          </p:cNvPr>
          <p:cNvSpPr/>
          <p:nvPr/>
        </p:nvSpPr>
        <p:spPr>
          <a:xfrm>
            <a:off x="4682185" y="1280772"/>
            <a:ext cx="622982" cy="622982"/>
          </a:xfrm>
          <a:prstGeom prst="ellipse">
            <a:avLst/>
          </a:prstGeom>
          <a:solidFill>
            <a:srgbClr val="4D555C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9" name="Oval 378">
            <a:extLst>
              <a:ext uri="{FF2B5EF4-FFF2-40B4-BE49-F238E27FC236}">
                <a16:creationId xmlns:a16="http://schemas.microsoft.com/office/drawing/2014/main" id="{5C5371EF-3C06-4DDC-8A90-A6297AD8B817}"/>
              </a:ext>
            </a:extLst>
          </p:cNvPr>
          <p:cNvSpPr/>
          <p:nvPr/>
        </p:nvSpPr>
        <p:spPr>
          <a:xfrm>
            <a:off x="6923344" y="1280772"/>
            <a:ext cx="622982" cy="622982"/>
          </a:xfrm>
          <a:prstGeom prst="ellipse">
            <a:avLst/>
          </a:prstGeom>
          <a:solidFill>
            <a:srgbClr val="4D555C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0" name="Oval 379">
            <a:extLst>
              <a:ext uri="{FF2B5EF4-FFF2-40B4-BE49-F238E27FC236}">
                <a16:creationId xmlns:a16="http://schemas.microsoft.com/office/drawing/2014/main" id="{34D3AB67-F193-44B4-A252-D734030FC919}"/>
              </a:ext>
            </a:extLst>
          </p:cNvPr>
          <p:cNvSpPr/>
          <p:nvPr/>
        </p:nvSpPr>
        <p:spPr>
          <a:xfrm>
            <a:off x="9164504" y="1280772"/>
            <a:ext cx="622982" cy="622982"/>
          </a:xfrm>
          <a:prstGeom prst="ellipse">
            <a:avLst/>
          </a:prstGeom>
          <a:solidFill>
            <a:srgbClr val="4D555C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09" name="Picture 308" descr="A group of people having a discussion&#10;&#10;Description automatically generated with medium confidence">
            <a:extLst>
              <a:ext uri="{FF2B5EF4-FFF2-40B4-BE49-F238E27FC236}">
                <a16:creationId xmlns:a16="http://schemas.microsoft.com/office/drawing/2014/main" id="{E68F98A4-01F8-4A35-8F67-EE9B808FA59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56" t="20" r="37183"/>
          <a:stretch/>
        </p:blipFill>
        <p:spPr>
          <a:xfrm>
            <a:off x="9480575" y="1592264"/>
            <a:ext cx="2232000" cy="4537075"/>
          </a:xfrm>
          <a:custGeom>
            <a:avLst/>
            <a:gdLst>
              <a:gd name="connsiteX0" fmla="*/ 0 w 2232000"/>
              <a:gd name="connsiteY0" fmla="*/ 0 h 4537075"/>
              <a:gd name="connsiteX1" fmla="*/ 2232000 w 2232000"/>
              <a:gd name="connsiteY1" fmla="*/ 0 h 4537075"/>
              <a:gd name="connsiteX2" fmla="*/ 2232000 w 2232000"/>
              <a:gd name="connsiteY2" fmla="*/ 4537075 h 4537075"/>
              <a:gd name="connsiteX3" fmla="*/ 0 w 2232000"/>
              <a:gd name="connsiteY3" fmla="*/ 4537075 h 4537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000" h="4537075">
                <a:moveTo>
                  <a:pt x="0" y="0"/>
                </a:moveTo>
                <a:lnTo>
                  <a:pt x="2232000" y="0"/>
                </a:lnTo>
                <a:lnTo>
                  <a:pt x="2232000" y="4537075"/>
                </a:lnTo>
                <a:lnTo>
                  <a:pt x="0" y="4537075"/>
                </a:lnTo>
                <a:close/>
              </a:path>
            </a:pathLst>
          </a:custGeom>
          <a:effectLst>
            <a:outerShdw blurRad="127000" dist="63500" algn="l" rotWithShape="0">
              <a:prstClr val="black">
                <a:alpha val="35000"/>
              </a:prstClr>
            </a:outerShdw>
          </a:effectLst>
        </p:spPr>
      </p:pic>
      <p:pic>
        <p:nvPicPr>
          <p:cNvPr id="304" name="Picture 303" descr="A picture containing text, person, indoor, table&#10;&#10;Description automatically generated">
            <a:extLst>
              <a:ext uri="{FF2B5EF4-FFF2-40B4-BE49-F238E27FC236}">
                <a16:creationId xmlns:a16="http://schemas.microsoft.com/office/drawing/2014/main" id="{40EB000E-80AD-44AD-85AA-3AFFE6C1F3D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67" r="13820"/>
          <a:stretch/>
        </p:blipFill>
        <p:spPr>
          <a:xfrm>
            <a:off x="7239415" y="1592265"/>
            <a:ext cx="2232000" cy="4537073"/>
          </a:xfrm>
          <a:custGeom>
            <a:avLst/>
            <a:gdLst>
              <a:gd name="connsiteX0" fmla="*/ 0 w 2232000"/>
              <a:gd name="connsiteY0" fmla="*/ 0 h 4537073"/>
              <a:gd name="connsiteX1" fmla="*/ 2232000 w 2232000"/>
              <a:gd name="connsiteY1" fmla="*/ 0 h 4537073"/>
              <a:gd name="connsiteX2" fmla="*/ 2232000 w 2232000"/>
              <a:gd name="connsiteY2" fmla="*/ 4537073 h 4537073"/>
              <a:gd name="connsiteX3" fmla="*/ 0 w 2232000"/>
              <a:gd name="connsiteY3" fmla="*/ 4537073 h 4537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000" h="4537073">
                <a:moveTo>
                  <a:pt x="0" y="0"/>
                </a:moveTo>
                <a:lnTo>
                  <a:pt x="2232000" y="0"/>
                </a:lnTo>
                <a:lnTo>
                  <a:pt x="2232000" y="4537073"/>
                </a:lnTo>
                <a:lnTo>
                  <a:pt x="0" y="4537073"/>
                </a:lnTo>
                <a:close/>
              </a:path>
            </a:pathLst>
          </a:custGeom>
          <a:effectLst>
            <a:outerShdw blurRad="127000" dist="63500" algn="l" rotWithShape="0">
              <a:prstClr val="black">
                <a:alpha val="35000"/>
              </a:prstClr>
            </a:outerShdw>
          </a:effectLst>
        </p:spPr>
      </p:pic>
      <p:pic>
        <p:nvPicPr>
          <p:cNvPr id="293" name="Picture 292" descr="Close-up of people shaking hands&#10;&#10;Description automatically generated">
            <a:extLst>
              <a:ext uri="{FF2B5EF4-FFF2-40B4-BE49-F238E27FC236}">
                <a16:creationId xmlns:a16="http://schemas.microsoft.com/office/drawing/2014/main" id="{B38A11AF-55E8-4580-A94F-B4BDE5B6FD9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76" t="1852" r="37176" b="2611"/>
          <a:stretch/>
        </p:blipFill>
        <p:spPr>
          <a:xfrm>
            <a:off x="4998256" y="1592264"/>
            <a:ext cx="2232000" cy="4537075"/>
          </a:xfrm>
          <a:custGeom>
            <a:avLst/>
            <a:gdLst>
              <a:gd name="connsiteX0" fmla="*/ 0 w 2232000"/>
              <a:gd name="connsiteY0" fmla="*/ 0 h 4537075"/>
              <a:gd name="connsiteX1" fmla="*/ 2232000 w 2232000"/>
              <a:gd name="connsiteY1" fmla="*/ 0 h 4537075"/>
              <a:gd name="connsiteX2" fmla="*/ 2232000 w 2232000"/>
              <a:gd name="connsiteY2" fmla="*/ 4537075 h 4537075"/>
              <a:gd name="connsiteX3" fmla="*/ 0 w 2232000"/>
              <a:gd name="connsiteY3" fmla="*/ 4537075 h 4537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000" h="4537075">
                <a:moveTo>
                  <a:pt x="0" y="0"/>
                </a:moveTo>
                <a:lnTo>
                  <a:pt x="2232000" y="0"/>
                </a:lnTo>
                <a:lnTo>
                  <a:pt x="2232000" y="4537075"/>
                </a:lnTo>
                <a:lnTo>
                  <a:pt x="0" y="4537075"/>
                </a:lnTo>
                <a:close/>
              </a:path>
            </a:pathLst>
          </a:custGeom>
          <a:effectLst>
            <a:outerShdw blurRad="127000" dist="63500" algn="l" rotWithShape="0">
              <a:prstClr val="black">
                <a:alpha val="35000"/>
              </a:prstClr>
            </a:outerShdw>
          </a:effectLst>
        </p:spPr>
      </p:pic>
      <p:pic>
        <p:nvPicPr>
          <p:cNvPr id="282" name="Picture 281" descr="A picture containing person, wall, indoor&#10;&#10;Description automatically generated">
            <a:extLst>
              <a:ext uri="{FF2B5EF4-FFF2-40B4-BE49-F238E27FC236}">
                <a16:creationId xmlns:a16="http://schemas.microsoft.com/office/drawing/2014/main" id="{929DE434-CE86-4B18-8EF6-84CC3D4433B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76" t="7868" r="29472" b="2722"/>
          <a:stretch/>
        </p:blipFill>
        <p:spPr>
          <a:xfrm>
            <a:off x="2757097" y="1592264"/>
            <a:ext cx="2232000" cy="4537075"/>
          </a:xfrm>
          <a:custGeom>
            <a:avLst/>
            <a:gdLst>
              <a:gd name="connsiteX0" fmla="*/ 0 w 2232000"/>
              <a:gd name="connsiteY0" fmla="*/ 0 h 4537075"/>
              <a:gd name="connsiteX1" fmla="*/ 2232000 w 2232000"/>
              <a:gd name="connsiteY1" fmla="*/ 0 h 4537075"/>
              <a:gd name="connsiteX2" fmla="*/ 2232000 w 2232000"/>
              <a:gd name="connsiteY2" fmla="*/ 4537075 h 4537075"/>
              <a:gd name="connsiteX3" fmla="*/ 0 w 2232000"/>
              <a:gd name="connsiteY3" fmla="*/ 4537075 h 4537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000" h="4537075">
                <a:moveTo>
                  <a:pt x="0" y="0"/>
                </a:moveTo>
                <a:lnTo>
                  <a:pt x="2232000" y="0"/>
                </a:lnTo>
                <a:lnTo>
                  <a:pt x="2232000" y="4537075"/>
                </a:lnTo>
                <a:lnTo>
                  <a:pt x="0" y="4537075"/>
                </a:lnTo>
                <a:close/>
              </a:path>
            </a:pathLst>
          </a:custGeom>
          <a:effectLst>
            <a:outerShdw blurRad="127000" dist="63500" algn="l" rotWithShape="0">
              <a:prstClr val="black">
                <a:alpha val="35000"/>
              </a:prstClr>
            </a:outerShdw>
          </a:effectLst>
        </p:spPr>
      </p:pic>
      <p:pic>
        <p:nvPicPr>
          <p:cNvPr id="278" name="Picture 277" descr="A person running on a track&#10;&#10;Description automatically generated with medium confidence">
            <a:extLst>
              <a:ext uri="{FF2B5EF4-FFF2-40B4-BE49-F238E27FC236}">
                <a16:creationId xmlns:a16="http://schemas.microsoft.com/office/drawing/2014/main" id="{4BCCF91E-BEF5-4A7A-8FF5-A6C2BB1869C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64" t="20286" r="62060" b="6315"/>
          <a:stretch>
            <a:fillRect/>
          </a:stretch>
        </p:blipFill>
        <p:spPr>
          <a:xfrm>
            <a:off x="515938" y="1592264"/>
            <a:ext cx="2232000" cy="4537075"/>
          </a:xfrm>
          <a:custGeom>
            <a:avLst/>
            <a:gdLst>
              <a:gd name="connsiteX0" fmla="*/ 0 w 2232000"/>
              <a:gd name="connsiteY0" fmla="*/ 0 h 4537075"/>
              <a:gd name="connsiteX1" fmla="*/ 2232000 w 2232000"/>
              <a:gd name="connsiteY1" fmla="*/ 0 h 4537075"/>
              <a:gd name="connsiteX2" fmla="*/ 2232000 w 2232000"/>
              <a:gd name="connsiteY2" fmla="*/ 4537075 h 4537075"/>
              <a:gd name="connsiteX3" fmla="*/ 0 w 2232000"/>
              <a:gd name="connsiteY3" fmla="*/ 4537075 h 4537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000" h="4537075">
                <a:moveTo>
                  <a:pt x="0" y="0"/>
                </a:moveTo>
                <a:lnTo>
                  <a:pt x="2232000" y="0"/>
                </a:lnTo>
                <a:lnTo>
                  <a:pt x="2232000" y="4537075"/>
                </a:lnTo>
                <a:lnTo>
                  <a:pt x="0" y="4537075"/>
                </a:lnTo>
                <a:close/>
              </a:path>
            </a:pathLst>
          </a:custGeom>
          <a:effectLst>
            <a:outerShdw blurRad="127000" dist="63500" algn="l" rotWithShape="0">
              <a:prstClr val="black">
                <a:alpha val="35000"/>
              </a:prstClr>
            </a:outerShdw>
          </a:effectLst>
        </p:spPr>
      </p:pic>
      <p:sp>
        <p:nvSpPr>
          <p:cNvPr id="287" name="Rectangle 286">
            <a:extLst>
              <a:ext uri="{FF2B5EF4-FFF2-40B4-BE49-F238E27FC236}">
                <a16:creationId xmlns:a16="http://schemas.microsoft.com/office/drawing/2014/main" id="{C18C40F0-D7CB-46CE-8B92-54E38393CD38}"/>
              </a:ext>
            </a:extLst>
          </p:cNvPr>
          <p:cNvSpPr/>
          <p:nvPr/>
        </p:nvSpPr>
        <p:spPr>
          <a:xfrm>
            <a:off x="4998256" y="1592263"/>
            <a:ext cx="2232000" cy="4537075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BC8F0770-93C8-4A4C-97C2-7A7E01D2B973}"/>
              </a:ext>
            </a:extLst>
          </p:cNvPr>
          <p:cNvSpPr/>
          <p:nvPr/>
        </p:nvSpPr>
        <p:spPr>
          <a:xfrm>
            <a:off x="2757097" y="1592263"/>
            <a:ext cx="2232000" cy="4537075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A57AE6F1-8A4D-48C4-8FD7-D2EEDD8D1AD7}"/>
              </a:ext>
            </a:extLst>
          </p:cNvPr>
          <p:cNvSpPr/>
          <p:nvPr/>
        </p:nvSpPr>
        <p:spPr>
          <a:xfrm>
            <a:off x="515938" y="1592263"/>
            <a:ext cx="2232000" cy="4537075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F552AA63-CABF-4945-B09B-2CA8C8C9274F}"/>
              </a:ext>
            </a:extLst>
          </p:cNvPr>
          <p:cNvSpPr/>
          <p:nvPr/>
        </p:nvSpPr>
        <p:spPr>
          <a:xfrm>
            <a:off x="7239415" y="1592263"/>
            <a:ext cx="2232000" cy="4537075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7F820A7E-DA67-43E5-9F02-CCD4D6AA4D4B}"/>
              </a:ext>
            </a:extLst>
          </p:cNvPr>
          <p:cNvSpPr/>
          <p:nvPr/>
        </p:nvSpPr>
        <p:spPr>
          <a:xfrm>
            <a:off x="9480575" y="1592263"/>
            <a:ext cx="2232000" cy="4537075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72" name="Straight Connector 371">
            <a:extLst>
              <a:ext uri="{FF2B5EF4-FFF2-40B4-BE49-F238E27FC236}">
                <a16:creationId xmlns:a16="http://schemas.microsoft.com/office/drawing/2014/main" id="{79919C2A-543A-4C23-9297-D311F349800D}"/>
              </a:ext>
            </a:extLst>
          </p:cNvPr>
          <p:cNvCxnSpPr>
            <a:cxnSpLocks/>
          </p:cNvCxnSpPr>
          <p:nvPr/>
        </p:nvCxnSpPr>
        <p:spPr>
          <a:xfrm>
            <a:off x="0" y="1592263"/>
            <a:ext cx="12192000" cy="0"/>
          </a:xfrm>
          <a:prstGeom prst="line">
            <a:avLst/>
          </a:prstGeom>
          <a:ln w="12700">
            <a:solidFill>
              <a:srgbClr val="D4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Freeform 6">
            <a:extLst>
              <a:ext uri="{FF2B5EF4-FFF2-40B4-BE49-F238E27FC236}">
                <a16:creationId xmlns:a16="http://schemas.microsoft.com/office/drawing/2014/main" id="{D8DEBA93-B03A-47C0-AC6B-FBE487914EEF}"/>
              </a:ext>
            </a:extLst>
          </p:cNvPr>
          <p:cNvSpPr>
            <a:spLocks noEditPoints="1"/>
          </p:cNvSpPr>
          <p:nvPr/>
        </p:nvSpPr>
        <p:spPr bwMode="auto">
          <a:xfrm>
            <a:off x="628577" y="2477665"/>
            <a:ext cx="405710" cy="405710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04D895-A207-40EE-A335-D277EE537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/>
              <a:t>Marketing Plan Roadma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3ACB18-A961-4563-ADF5-8A3BCB7DB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511EBD-3C4F-48E4-8064-28E9EE3E88CE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5BACD580-1D24-4BEC-80AD-31F3C85796D8}"/>
              </a:ext>
            </a:extLst>
          </p:cNvPr>
          <p:cNvCxnSpPr>
            <a:cxnSpLocks/>
            <a:stCxn id="314" idx="1"/>
            <a:endCxn id="278" idx="2"/>
          </p:cNvCxnSpPr>
          <p:nvPr/>
        </p:nvCxnSpPr>
        <p:spPr>
          <a:xfrm flipH="1">
            <a:off x="2747938" y="1790463"/>
            <a:ext cx="4580" cy="4338876"/>
          </a:xfrm>
          <a:prstGeom prst="line">
            <a:avLst/>
          </a:prstGeom>
          <a:ln w="12700">
            <a:gradFill>
              <a:gsLst>
                <a:gs pos="58000">
                  <a:srgbClr val="68564B"/>
                </a:gs>
                <a:gs pos="100000">
                  <a:srgbClr val="18191E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0B067F73-27FD-4B54-8B69-F7DC6334326C}"/>
              </a:ext>
            </a:extLst>
          </p:cNvPr>
          <p:cNvCxnSpPr>
            <a:cxnSpLocks/>
          </p:cNvCxnSpPr>
          <p:nvPr/>
        </p:nvCxnSpPr>
        <p:spPr>
          <a:xfrm flipH="1">
            <a:off x="4986480" y="1790463"/>
            <a:ext cx="4580" cy="4338876"/>
          </a:xfrm>
          <a:prstGeom prst="line">
            <a:avLst/>
          </a:prstGeom>
          <a:ln w="12700">
            <a:gradFill>
              <a:gsLst>
                <a:gs pos="58000">
                  <a:srgbClr val="68564B"/>
                </a:gs>
                <a:gs pos="100000">
                  <a:srgbClr val="18191E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5D0F12CC-9057-4312-9825-FA435B4D4BB8}"/>
              </a:ext>
            </a:extLst>
          </p:cNvPr>
          <p:cNvCxnSpPr>
            <a:cxnSpLocks/>
          </p:cNvCxnSpPr>
          <p:nvPr/>
        </p:nvCxnSpPr>
        <p:spPr>
          <a:xfrm flipH="1">
            <a:off x="7229602" y="1790463"/>
            <a:ext cx="4580" cy="4338876"/>
          </a:xfrm>
          <a:prstGeom prst="line">
            <a:avLst/>
          </a:prstGeom>
          <a:ln w="12700">
            <a:gradFill>
              <a:gsLst>
                <a:gs pos="58000">
                  <a:srgbClr val="68564B"/>
                </a:gs>
                <a:gs pos="100000">
                  <a:srgbClr val="18191E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85AD2E4F-0276-49EC-AC2C-BFD12E9D4249}"/>
              </a:ext>
            </a:extLst>
          </p:cNvPr>
          <p:cNvCxnSpPr>
            <a:cxnSpLocks/>
          </p:cNvCxnSpPr>
          <p:nvPr/>
        </p:nvCxnSpPr>
        <p:spPr>
          <a:xfrm flipH="1">
            <a:off x="9472724" y="1790463"/>
            <a:ext cx="4580" cy="4338876"/>
          </a:xfrm>
          <a:prstGeom prst="line">
            <a:avLst/>
          </a:prstGeom>
          <a:ln w="12700">
            <a:gradFill>
              <a:gsLst>
                <a:gs pos="58000">
                  <a:srgbClr val="68564B"/>
                </a:gs>
                <a:gs pos="100000">
                  <a:srgbClr val="18191E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5" name="Group 314">
            <a:extLst>
              <a:ext uri="{FF2B5EF4-FFF2-40B4-BE49-F238E27FC236}">
                <a16:creationId xmlns:a16="http://schemas.microsoft.com/office/drawing/2014/main" id="{63327AD6-6EED-441E-9E5D-82DFD8C7CEB5}"/>
              </a:ext>
            </a:extLst>
          </p:cNvPr>
          <p:cNvGrpSpPr/>
          <p:nvPr/>
        </p:nvGrpSpPr>
        <p:grpSpPr>
          <a:xfrm>
            <a:off x="2553445" y="1394064"/>
            <a:ext cx="398145" cy="396399"/>
            <a:chOff x="2558024" y="1394064"/>
            <a:chExt cx="398145" cy="396399"/>
          </a:xfrm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314" name="Freeform 39">
              <a:extLst>
                <a:ext uri="{FF2B5EF4-FFF2-40B4-BE49-F238E27FC236}">
                  <a16:creationId xmlns:a16="http://schemas.microsoft.com/office/drawing/2014/main" id="{BF03D79F-9E97-4AAE-B846-68AC1544F69C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58897" y="1393191"/>
              <a:ext cx="396399" cy="398145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18191E"/>
            </a:solidFill>
            <a:ln w="22225">
              <a:solidFill>
                <a:srgbClr val="18191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5486C691-5A96-48C0-992A-DD972633D1AF}"/>
                </a:ext>
              </a:extLst>
            </p:cNvPr>
            <p:cNvSpPr/>
            <p:nvPr/>
          </p:nvSpPr>
          <p:spPr>
            <a:xfrm>
              <a:off x="2608166" y="1443333"/>
              <a:ext cx="297860" cy="2978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1" name="Freeform 39">
              <a:extLst>
                <a:ext uri="{FF2B5EF4-FFF2-40B4-BE49-F238E27FC236}">
                  <a16:creationId xmlns:a16="http://schemas.microsoft.com/office/drawing/2014/main" id="{B1B3A97F-623C-4757-91B1-1ABC8E9ACE0A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76915" y="1411288"/>
              <a:ext cx="360363" cy="361950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D4383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C6883556-AD4B-4225-ABAC-A7EBEA4281C9}"/>
              </a:ext>
            </a:extLst>
          </p:cNvPr>
          <p:cNvGrpSpPr/>
          <p:nvPr/>
        </p:nvGrpSpPr>
        <p:grpSpPr>
          <a:xfrm>
            <a:off x="4794604" y="1394064"/>
            <a:ext cx="398145" cy="396399"/>
            <a:chOff x="2558024" y="1394064"/>
            <a:chExt cx="398145" cy="396399"/>
          </a:xfrm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317" name="Freeform 39">
              <a:extLst>
                <a:ext uri="{FF2B5EF4-FFF2-40B4-BE49-F238E27FC236}">
                  <a16:creationId xmlns:a16="http://schemas.microsoft.com/office/drawing/2014/main" id="{B68A9BCD-8D5D-418C-B666-CC0D1C629C9A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58897" y="1393191"/>
              <a:ext cx="396399" cy="398145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18191E"/>
            </a:solidFill>
            <a:ln w="22225">
              <a:solidFill>
                <a:srgbClr val="18191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FBA11AA5-AA55-4844-A0C1-DB94478FECAC}"/>
                </a:ext>
              </a:extLst>
            </p:cNvPr>
            <p:cNvSpPr/>
            <p:nvPr/>
          </p:nvSpPr>
          <p:spPr>
            <a:xfrm>
              <a:off x="2608166" y="1443333"/>
              <a:ext cx="297860" cy="2978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Freeform 39">
              <a:extLst>
                <a:ext uri="{FF2B5EF4-FFF2-40B4-BE49-F238E27FC236}">
                  <a16:creationId xmlns:a16="http://schemas.microsoft.com/office/drawing/2014/main" id="{7CA10D26-DEFE-4BEB-851F-E08FE5B05C2E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76915" y="1411288"/>
              <a:ext cx="360363" cy="361950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D4383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0" name="Group 319">
            <a:extLst>
              <a:ext uri="{FF2B5EF4-FFF2-40B4-BE49-F238E27FC236}">
                <a16:creationId xmlns:a16="http://schemas.microsoft.com/office/drawing/2014/main" id="{A58BE254-60EB-49C2-A0C5-E2D0897A4A7B}"/>
              </a:ext>
            </a:extLst>
          </p:cNvPr>
          <p:cNvGrpSpPr/>
          <p:nvPr/>
        </p:nvGrpSpPr>
        <p:grpSpPr>
          <a:xfrm>
            <a:off x="7035763" y="1394064"/>
            <a:ext cx="398145" cy="396399"/>
            <a:chOff x="2558024" y="1394064"/>
            <a:chExt cx="398145" cy="396399"/>
          </a:xfrm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321" name="Freeform 39">
              <a:extLst>
                <a:ext uri="{FF2B5EF4-FFF2-40B4-BE49-F238E27FC236}">
                  <a16:creationId xmlns:a16="http://schemas.microsoft.com/office/drawing/2014/main" id="{E71E0662-437E-46B1-9DBF-8FBA228C5F6D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58897" y="1393191"/>
              <a:ext cx="396399" cy="398145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18191E"/>
            </a:solidFill>
            <a:ln w="22225">
              <a:solidFill>
                <a:srgbClr val="18191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2" name="Oval 321">
              <a:extLst>
                <a:ext uri="{FF2B5EF4-FFF2-40B4-BE49-F238E27FC236}">
                  <a16:creationId xmlns:a16="http://schemas.microsoft.com/office/drawing/2014/main" id="{E2D1E975-7865-4CC6-BFA6-1ADFA5C5AF9B}"/>
                </a:ext>
              </a:extLst>
            </p:cNvPr>
            <p:cNvSpPr/>
            <p:nvPr/>
          </p:nvSpPr>
          <p:spPr>
            <a:xfrm>
              <a:off x="2608166" y="1443333"/>
              <a:ext cx="297860" cy="2978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3" name="Freeform 39">
              <a:extLst>
                <a:ext uri="{FF2B5EF4-FFF2-40B4-BE49-F238E27FC236}">
                  <a16:creationId xmlns:a16="http://schemas.microsoft.com/office/drawing/2014/main" id="{CC509EA8-1D4F-470E-8958-3966766DA47C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76915" y="1411288"/>
              <a:ext cx="360363" cy="361950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D4383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51CE7577-BF9C-4762-9490-CFF677C463D6}"/>
              </a:ext>
            </a:extLst>
          </p:cNvPr>
          <p:cNvGrpSpPr/>
          <p:nvPr/>
        </p:nvGrpSpPr>
        <p:grpSpPr>
          <a:xfrm>
            <a:off x="9276922" y="1394064"/>
            <a:ext cx="398145" cy="396399"/>
            <a:chOff x="2558024" y="1394064"/>
            <a:chExt cx="398145" cy="396399"/>
          </a:xfrm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325" name="Freeform 39">
              <a:extLst>
                <a:ext uri="{FF2B5EF4-FFF2-40B4-BE49-F238E27FC236}">
                  <a16:creationId xmlns:a16="http://schemas.microsoft.com/office/drawing/2014/main" id="{6D23F0EB-DFC8-462B-ACBE-150368E2EDEA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58897" y="1393191"/>
              <a:ext cx="396399" cy="398145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18191E"/>
            </a:solidFill>
            <a:ln w="22225">
              <a:solidFill>
                <a:srgbClr val="18191E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Oval 325">
              <a:extLst>
                <a:ext uri="{FF2B5EF4-FFF2-40B4-BE49-F238E27FC236}">
                  <a16:creationId xmlns:a16="http://schemas.microsoft.com/office/drawing/2014/main" id="{AEC7BCEF-670E-4667-B019-AFA5FD8F6636}"/>
                </a:ext>
              </a:extLst>
            </p:cNvPr>
            <p:cNvSpPr/>
            <p:nvPr/>
          </p:nvSpPr>
          <p:spPr>
            <a:xfrm>
              <a:off x="2608166" y="1443333"/>
              <a:ext cx="297860" cy="2978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Freeform 39">
              <a:extLst>
                <a:ext uri="{FF2B5EF4-FFF2-40B4-BE49-F238E27FC236}">
                  <a16:creationId xmlns:a16="http://schemas.microsoft.com/office/drawing/2014/main" id="{C9BEE359-46D7-424A-B271-AC38743CCCA3}"/>
                </a:ext>
              </a:extLst>
            </p:cNvPr>
            <p:cNvSpPr>
              <a:spLocks noEditPoints="1"/>
            </p:cNvSpPr>
            <p:nvPr/>
          </p:nvSpPr>
          <p:spPr bwMode="auto">
            <a:xfrm rot="16200000">
              <a:off x="2576915" y="1411288"/>
              <a:ext cx="360363" cy="361950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9 w 96"/>
                <a:gd name="T11" fmla="*/ 49 h 96"/>
                <a:gd name="T12" fmla="*/ 49 w 96"/>
                <a:gd name="T13" fmla="*/ 79 h 96"/>
                <a:gd name="T14" fmla="*/ 48 w 96"/>
                <a:gd name="T15" fmla="*/ 80 h 96"/>
                <a:gd name="T16" fmla="*/ 47 w 96"/>
                <a:gd name="T17" fmla="*/ 79 h 96"/>
                <a:gd name="T18" fmla="*/ 17 w 96"/>
                <a:gd name="T19" fmla="*/ 49 h 96"/>
                <a:gd name="T20" fmla="*/ 16 w 96"/>
                <a:gd name="T21" fmla="*/ 48 h 96"/>
                <a:gd name="T22" fmla="*/ 17 w 96"/>
                <a:gd name="T23" fmla="*/ 47 h 96"/>
                <a:gd name="T24" fmla="*/ 25 w 96"/>
                <a:gd name="T25" fmla="*/ 39 h 96"/>
                <a:gd name="T26" fmla="*/ 27 w 96"/>
                <a:gd name="T27" fmla="*/ 39 h 96"/>
                <a:gd name="T28" fmla="*/ 40 w 96"/>
                <a:gd name="T29" fmla="*/ 51 h 96"/>
                <a:gd name="T30" fmla="*/ 40 w 96"/>
                <a:gd name="T31" fmla="*/ 18 h 96"/>
                <a:gd name="T32" fmla="*/ 42 w 96"/>
                <a:gd name="T33" fmla="*/ 16 h 96"/>
                <a:gd name="T34" fmla="*/ 54 w 96"/>
                <a:gd name="T35" fmla="*/ 16 h 96"/>
                <a:gd name="T36" fmla="*/ 56 w 96"/>
                <a:gd name="T37" fmla="*/ 18 h 96"/>
                <a:gd name="T38" fmla="*/ 56 w 96"/>
                <a:gd name="T39" fmla="*/ 51 h 96"/>
                <a:gd name="T40" fmla="*/ 69 w 96"/>
                <a:gd name="T41" fmla="*/ 39 h 96"/>
                <a:gd name="T42" fmla="*/ 71 w 96"/>
                <a:gd name="T43" fmla="*/ 39 h 96"/>
                <a:gd name="T44" fmla="*/ 79 w 96"/>
                <a:gd name="T45" fmla="*/ 47 h 96"/>
                <a:gd name="T46" fmla="*/ 80 w 96"/>
                <a:gd name="T47" fmla="*/ 48 h 96"/>
                <a:gd name="T48" fmla="*/ 79 w 96"/>
                <a:gd name="T49" fmla="*/ 4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9" y="49"/>
                  </a:moveTo>
                  <a:cubicBezTo>
                    <a:pt x="49" y="79"/>
                    <a:pt x="49" y="79"/>
                    <a:pt x="49" y="79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7" y="80"/>
                    <a:pt x="47" y="7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9"/>
                    <a:pt x="16" y="49"/>
                    <a:pt x="16" y="48"/>
                  </a:cubicBezTo>
                  <a:cubicBezTo>
                    <a:pt x="16" y="47"/>
                    <a:pt x="16" y="47"/>
                    <a:pt x="17" y="47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7" y="38"/>
                    <a:pt x="27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7"/>
                    <a:pt x="41" y="16"/>
                    <a:pt x="42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6"/>
                    <a:pt x="56" y="17"/>
                    <a:pt x="56" y="1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71" y="38"/>
                    <a:pt x="71" y="39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7"/>
                    <a:pt x="80" y="48"/>
                  </a:cubicBezTo>
                  <a:cubicBezTo>
                    <a:pt x="80" y="49"/>
                    <a:pt x="80" y="49"/>
                    <a:pt x="79" y="49"/>
                  </a:cubicBezTo>
                  <a:close/>
                </a:path>
              </a:pathLst>
            </a:custGeom>
            <a:solidFill>
              <a:srgbClr val="D4383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34" name="Rectangle 333">
            <a:extLst>
              <a:ext uri="{FF2B5EF4-FFF2-40B4-BE49-F238E27FC236}">
                <a16:creationId xmlns:a16="http://schemas.microsoft.com/office/drawing/2014/main" id="{3264A266-2C6C-484D-8D79-A4922A8E2249}"/>
              </a:ext>
            </a:extLst>
          </p:cNvPr>
          <p:cNvSpPr/>
          <p:nvPr/>
        </p:nvSpPr>
        <p:spPr>
          <a:xfrm>
            <a:off x="628577" y="3288609"/>
            <a:ext cx="1980000" cy="28078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438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tep 1</a:t>
            </a: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1D79E01A-A7D3-47B0-877F-AF15DD54C6FC}"/>
              </a:ext>
            </a:extLst>
          </p:cNvPr>
          <p:cNvSpPr/>
          <p:nvPr/>
        </p:nvSpPr>
        <p:spPr>
          <a:xfrm>
            <a:off x="628577" y="3820491"/>
            <a:ext cx="1980000" cy="18773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sed d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iusmo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tempo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incididu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u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liqu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 U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ni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ad mini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veni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qu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nostru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465515FD-0BCA-4989-B3E6-98263ADCBB6E}"/>
              </a:ext>
            </a:extLst>
          </p:cNvPr>
          <p:cNvSpPr/>
          <p:nvPr/>
        </p:nvSpPr>
        <p:spPr>
          <a:xfrm>
            <a:off x="2883097" y="3288609"/>
            <a:ext cx="1980000" cy="28078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438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tep 2</a:t>
            </a: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163AF51A-4190-4C66-B9F4-27359815E741}"/>
              </a:ext>
            </a:extLst>
          </p:cNvPr>
          <p:cNvSpPr/>
          <p:nvPr/>
        </p:nvSpPr>
        <p:spPr>
          <a:xfrm>
            <a:off x="2883097" y="3820491"/>
            <a:ext cx="1980000" cy="18773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sed d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iusmo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tempo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incididu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u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liqu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 U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ni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ad mini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veni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qu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nostru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340" name="Rectangle 339">
            <a:extLst>
              <a:ext uri="{FF2B5EF4-FFF2-40B4-BE49-F238E27FC236}">
                <a16:creationId xmlns:a16="http://schemas.microsoft.com/office/drawing/2014/main" id="{EDE05997-EF18-4AB6-911B-9A79C39FF90F}"/>
              </a:ext>
            </a:extLst>
          </p:cNvPr>
          <p:cNvSpPr/>
          <p:nvPr/>
        </p:nvSpPr>
        <p:spPr>
          <a:xfrm>
            <a:off x="5124256" y="3288609"/>
            <a:ext cx="1980000" cy="28078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438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tep 3</a:t>
            </a: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9D7BE786-656C-4065-BB23-0EA43FBFA651}"/>
              </a:ext>
            </a:extLst>
          </p:cNvPr>
          <p:cNvSpPr/>
          <p:nvPr/>
        </p:nvSpPr>
        <p:spPr>
          <a:xfrm>
            <a:off x="5124256" y="3820491"/>
            <a:ext cx="1980000" cy="18773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sed d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iusmo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tempo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incididu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u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liqu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 U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ni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ad mini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veni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qu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nostru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388F7103-FBB8-45C2-BC44-C4EDFFCD3ECA}"/>
              </a:ext>
            </a:extLst>
          </p:cNvPr>
          <p:cNvSpPr/>
          <p:nvPr/>
        </p:nvSpPr>
        <p:spPr>
          <a:xfrm>
            <a:off x="7363453" y="3288609"/>
            <a:ext cx="1980000" cy="28078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438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tep 4</a:t>
            </a: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8B6284CC-820D-4345-93A8-F67B27F40AD4}"/>
              </a:ext>
            </a:extLst>
          </p:cNvPr>
          <p:cNvSpPr/>
          <p:nvPr/>
        </p:nvSpPr>
        <p:spPr>
          <a:xfrm>
            <a:off x="7363453" y="3820491"/>
            <a:ext cx="1980000" cy="18773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sed d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iusmo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tempo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incididu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u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liqu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 U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ni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ad mini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veni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qu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nostru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869ADA92-AC28-4E5A-B0EE-E6AF5B76BDEB}"/>
              </a:ext>
            </a:extLst>
          </p:cNvPr>
          <p:cNvSpPr/>
          <p:nvPr/>
        </p:nvSpPr>
        <p:spPr>
          <a:xfrm>
            <a:off x="9606575" y="3288609"/>
            <a:ext cx="1980000" cy="28078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438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tep 5</a:t>
            </a: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2137A196-15A2-43A1-9CFF-29484EA21974}"/>
              </a:ext>
            </a:extLst>
          </p:cNvPr>
          <p:cNvSpPr/>
          <p:nvPr/>
        </p:nvSpPr>
        <p:spPr>
          <a:xfrm>
            <a:off x="9606575" y="3820491"/>
            <a:ext cx="1980000" cy="18773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sed d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iusmo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tempo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incididu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u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liqu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 U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ni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ad mini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veni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qu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nostru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353" name="Freeform 271">
            <a:extLst>
              <a:ext uri="{FF2B5EF4-FFF2-40B4-BE49-F238E27FC236}">
                <a16:creationId xmlns:a16="http://schemas.microsoft.com/office/drawing/2014/main" id="{2CF5F6CC-E7BA-4D28-A49F-B8C7852A4A1C}"/>
              </a:ext>
            </a:extLst>
          </p:cNvPr>
          <p:cNvSpPr>
            <a:spLocks noEditPoints="1"/>
          </p:cNvSpPr>
          <p:nvPr/>
        </p:nvSpPr>
        <p:spPr bwMode="auto">
          <a:xfrm>
            <a:off x="2883097" y="2477665"/>
            <a:ext cx="405710" cy="405710"/>
          </a:xfrm>
          <a:custGeom>
            <a:avLst/>
            <a:gdLst>
              <a:gd name="T0" fmla="*/ 2 w 96"/>
              <a:gd name="T1" fmla="*/ 0 h 96"/>
              <a:gd name="T2" fmla="*/ 0 w 96"/>
              <a:gd name="T3" fmla="*/ 94 h 96"/>
              <a:gd name="T4" fmla="*/ 94 w 96"/>
              <a:gd name="T5" fmla="*/ 96 h 96"/>
              <a:gd name="T6" fmla="*/ 96 w 96"/>
              <a:gd name="T7" fmla="*/ 2 h 96"/>
              <a:gd name="T8" fmla="*/ 36 w 96"/>
              <a:gd name="T9" fmla="*/ 90 h 96"/>
              <a:gd name="T10" fmla="*/ 6 w 96"/>
              <a:gd name="T11" fmla="*/ 92 h 96"/>
              <a:gd name="T12" fmla="*/ 4 w 96"/>
              <a:gd name="T13" fmla="*/ 6 h 96"/>
              <a:gd name="T14" fmla="*/ 36 w 96"/>
              <a:gd name="T15" fmla="*/ 4 h 96"/>
              <a:gd name="T16" fmla="*/ 20 w 96"/>
              <a:gd name="T17" fmla="*/ 8 h 96"/>
              <a:gd name="T18" fmla="*/ 16 w 96"/>
              <a:gd name="T19" fmla="*/ 28 h 96"/>
              <a:gd name="T20" fmla="*/ 8 w 96"/>
              <a:gd name="T21" fmla="*/ 8 h 96"/>
              <a:gd name="T22" fmla="*/ 28 w 96"/>
              <a:gd name="T23" fmla="*/ 36 h 96"/>
              <a:gd name="T24" fmla="*/ 32 w 96"/>
              <a:gd name="T25" fmla="*/ 20 h 96"/>
              <a:gd name="T26" fmla="*/ 30 w 96"/>
              <a:gd name="T27" fmla="*/ 40 h 96"/>
              <a:gd name="T28" fmla="*/ 8 w 96"/>
              <a:gd name="T29" fmla="*/ 88 h 96"/>
              <a:gd name="T30" fmla="*/ 32 w 96"/>
              <a:gd name="T31" fmla="*/ 84 h 96"/>
              <a:gd name="T32" fmla="*/ 16 w 96"/>
              <a:gd name="T33" fmla="*/ 82 h 96"/>
              <a:gd name="T34" fmla="*/ 20 w 96"/>
              <a:gd name="T35" fmla="*/ 48 h 96"/>
              <a:gd name="T36" fmla="*/ 34 w 96"/>
              <a:gd name="T37" fmla="*/ 80 h 96"/>
              <a:gd name="T38" fmla="*/ 36 w 96"/>
              <a:gd name="T39" fmla="*/ 90 h 96"/>
              <a:gd name="T40" fmla="*/ 44 w 96"/>
              <a:gd name="T41" fmla="*/ 92 h 96"/>
              <a:gd name="T42" fmla="*/ 30 w 96"/>
              <a:gd name="T43" fmla="*/ 76 h 96"/>
              <a:gd name="T44" fmla="*/ 28 w 96"/>
              <a:gd name="T45" fmla="*/ 50 h 96"/>
              <a:gd name="T46" fmla="*/ 40 w 96"/>
              <a:gd name="T47" fmla="*/ 48 h 96"/>
              <a:gd name="T48" fmla="*/ 42 w 96"/>
              <a:gd name="T49" fmla="*/ 28 h 96"/>
              <a:gd name="T50" fmla="*/ 52 w 96"/>
              <a:gd name="T51" fmla="*/ 11 h 96"/>
              <a:gd name="T52" fmla="*/ 45 w 96"/>
              <a:gd name="T53" fmla="*/ 15 h 96"/>
              <a:gd name="T54" fmla="*/ 53 w 96"/>
              <a:gd name="T55" fmla="*/ 5 h 96"/>
              <a:gd name="T56" fmla="*/ 63 w 96"/>
              <a:gd name="T57" fmla="*/ 13 h 96"/>
              <a:gd name="T58" fmla="*/ 62 w 96"/>
              <a:gd name="T59" fmla="*/ 16 h 96"/>
              <a:gd name="T60" fmla="*/ 56 w 96"/>
              <a:gd name="T61" fmla="*/ 11 h 96"/>
              <a:gd name="T62" fmla="*/ 54 w 96"/>
              <a:gd name="T63" fmla="*/ 32 h 96"/>
              <a:gd name="T64" fmla="*/ 44 w 96"/>
              <a:gd name="T65" fmla="*/ 50 h 96"/>
              <a:gd name="T66" fmla="*/ 32 w 96"/>
              <a:gd name="T67" fmla="*/ 52 h 96"/>
              <a:gd name="T68" fmla="*/ 46 w 96"/>
              <a:gd name="T69" fmla="*/ 72 h 96"/>
              <a:gd name="T70" fmla="*/ 48 w 96"/>
              <a:gd name="T71" fmla="*/ 92 h 96"/>
              <a:gd name="T72" fmla="*/ 36 w 96"/>
              <a:gd name="T73" fmla="*/ 60 h 96"/>
              <a:gd name="T74" fmla="*/ 60 w 96"/>
              <a:gd name="T75" fmla="*/ 62 h 96"/>
              <a:gd name="T76" fmla="*/ 56 w 96"/>
              <a:gd name="T77" fmla="*/ 80 h 96"/>
              <a:gd name="T78" fmla="*/ 36 w 96"/>
              <a:gd name="T79" fmla="*/ 64 h 96"/>
              <a:gd name="T80" fmla="*/ 90 w 96"/>
              <a:gd name="T81" fmla="*/ 92 h 96"/>
              <a:gd name="T82" fmla="*/ 56 w 96"/>
              <a:gd name="T83" fmla="*/ 88 h 96"/>
              <a:gd name="T84" fmla="*/ 68 w 96"/>
              <a:gd name="T85" fmla="*/ 54 h 96"/>
              <a:gd name="T86" fmla="*/ 80 w 96"/>
              <a:gd name="T87" fmla="*/ 52 h 96"/>
              <a:gd name="T88" fmla="*/ 72 w 96"/>
              <a:gd name="T89" fmla="*/ 56 h 96"/>
              <a:gd name="T90" fmla="*/ 88 w 96"/>
              <a:gd name="T91" fmla="*/ 88 h 96"/>
              <a:gd name="T92" fmla="*/ 80 w 96"/>
              <a:gd name="T93" fmla="*/ 80 h 96"/>
              <a:gd name="T94" fmla="*/ 88 w 96"/>
              <a:gd name="T95" fmla="*/ 76 h 96"/>
              <a:gd name="T96" fmla="*/ 80 w 96"/>
              <a:gd name="T97" fmla="*/ 68 h 96"/>
              <a:gd name="T98" fmla="*/ 88 w 96"/>
              <a:gd name="T99" fmla="*/ 64 h 96"/>
              <a:gd name="T100" fmla="*/ 56 w 96"/>
              <a:gd name="T101" fmla="*/ 44 h 96"/>
              <a:gd name="T102" fmla="*/ 52 w 96"/>
              <a:gd name="T103" fmla="*/ 52 h 96"/>
              <a:gd name="T104" fmla="*/ 64 w 96"/>
              <a:gd name="T105" fmla="*/ 40 h 96"/>
              <a:gd name="T106" fmla="*/ 80 w 96"/>
              <a:gd name="T107" fmla="*/ 20 h 96"/>
              <a:gd name="T108" fmla="*/ 76 w 96"/>
              <a:gd name="T109" fmla="*/ 32 h 96"/>
              <a:gd name="T110" fmla="*/ 68 w 96"/>
              <a:gd name="T111" fmla="*/ 24 h 96"/>
              <a:gd name="T112" fmla="*/ 88 w 96"/>
              <a:gd name="T113" fmla="*/ 40 h 96"/>
              <a:gd name="T114" fmla="*/ 72 w 96"/>
              <a:gd name="T115" fmla="*/ 8 h 96"/>
              <a:gd name="T116" fmla="*/ 90 w 96"/>
              <a:gd name="T117" fmla="*/ 4 h 96"/>
              <a:gd name="T118" fmla="*/ 92 w 96"/>
              <a:gd name="T119" fmla="*/ 9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6" h="96">
                <a:moveTo>
                  <a:pt x="94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5" y="0"/>
                  <a:pt x="94" y="0"/>
                </a:cubicBezTo>
                <a:close/>
                <a:moveTo>
                  <a:pt x="36" y="90"/>
                </a:moveTo>
                <a:cubicBezTo>
                  <a:pt x="36" y="91"/>
                  <a:pt x="35" y="92"/>
                  <a:pt x="34" y="92"/>
                </a:cubicBezTo>
                <a:cubicBezTo>
                  <a:pt x="6" y="92"/>
                  <a:pt x="6" y="92"/>
                  <a:pt x="6" y="92"/>
                </a:cubicBezTo>
                <a:cubicBezTo>
                  <a:pt x="5" y="92"/>
                  <a:pt x="4" y="91"/>
                  <a:pt x="4" y="90"/>
                </a:cubicBezTo>
                <a:cubicBezTo>
                  <a:pt x="4" y="6"/>
                  <a:pt x="4" y="6"/>
                  <a:pt x="4" y="6"/>
                </a:cubicBezTo>
                <a:cubicBezTo>
                  <a:pt x="4" y="5"/>
                  <a:pt x="5" y="4"/>
                  <a:pt x="6" y="4"/>
                </a:cubicBezTo>
                <a:cubicBezTo>
                  <a:pt x="36" y="4"/>
                  <a:pt x="36" y="4"/>
                  <a:pt x="36" y="4"/>
                </a:cubicBezTo>
                <a:cubicBezTo>
                  <a:pt x="36" y="8"/>
                  <a:pt x="36" y="8"/>
                  <a:pt x="36" y="8"/>
                </a:cubicBezTo>
                <a:cubicBezTo>
                  <a:pt x="20" y="8"/>
                  <a:pt x="20" y="8"/>
                  <a:pt x="20" y="8"/>
                </a:cubicBezTo>
                <a:cubicBezTo>
                  <a:pt x="20" y="28"/>
                  <a:pt x="20" y="28"/>
                  <a:pt x="20" y="28"/>
                </a:cubicBezTo>
                <a:cubicBezTo>
                  <a:pt x="16" y="28"/>
                  <a:pt x="16" y="28"/>
                  <a:pt x="16" y="28"/>
                </a:cubicBezTo>
                <a:cubicBezTo>
                  <a:pt x="16" y="8"/>
                  <a:pt x="16" y="8"/>
                  <a:pt x="16" y="8"/>
                </a:cubicBezTo>
                <a:cubicBezTo>
                  <a:pt x="8" y="8"/>
                  <a:pt x="8" y="8"/>
                  <a:pt x="8" y="8"/>
                </a:cubicBezTo>
                <a:cubicBezTo>
                  <a:pt x="8" y="36"/>
                  <a:pt x="8" y="36"/>
                  <a:pt x="8" y="36"/>
                </a:cubicBezTo>
                <a:cubicBezTo>
                  <a:pt x="28" y="36"/>
                  <a:pt x="28" y="36"/>
                  <a:pt x="28" y="36"/>
                </a:cubicBezTo>
                <a:cubicBezTo>
                  <a:pt x="28" y="20"/>
                  <a:pt x="28" y="20"/>
                  <a:pt x="28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32" y="38"/>
                  <a:pt x="32" y="38"/>
                  <a:pt x="32" y="38"/>
                </a:cubicBezTo>
                <a:cubicBezTo>
                  <a:pt x="32" y="39"/>
                  <a:pt x="31" y="40"/>
                  <a:pt x="30" y="40"/>
                </a:cubicBezTo>
                <a:cubicBezTo>
                  <a:pt x="8" y="40"/>
                  <a:pt x="8" y="40"/>
                  <a:pt x="8" y="40"/>
                </a:cubicBezTo>
                <a:cubicBezTo>
                  <a:pt x="8" y="88"/>
                  <a:pt x="8" y="88"/>
                  <a:pt x="8" y="88"/>
                </a:cubicBezTo>
                <a:cubicBezTo>
                  <a:pt x="32" y="88"/>
                  <a:pt x="32" y="88"/>
                  <a:pt x="32" y="88"/>
                </a:cubicBezTo>
                <a:cubicBezTo>
                  <a:pt x="32" y="84"/>
                  <a:pt x="32" y="84"/>
                  <a:pt x="32" y="84"/>
                </a:cubicBezTo>
                <a:cubicBezTo>
                  <a:pt x="18" y="84"/>
                  <a:pt x="18" y="84"/>
                  <a:pt x="18" y="84"/>
                </a:cubicBezTo>
                <a:cubicBezTo>
                  <a:pt x="17" y="84"/>
                  <a:pt x="16" y="83"/>
                  <a:pt x="16" y="82"/>
                </a:cubicBezTo>
                <a:cubicBezTo>
                  <a:pt x="16" y="48"/>
                  <a:pt x="16" y="48"/>
                  <a:pt x="16" y="48"/>
                </a:cubicBezTo>
                <a:cubicBezTo>
                  <a:pt x="20" y="48"/>
                  <a:pt x="20" y="48"/>
                  <a:pt x="20" y="48"/>
                </a:cubicBezTo>
                <a:cubicBezTo>
                  <a:pt x="20" y="80"/>
                  <a:pt x="20" y="80"/>
                  <a:pt x="20" y="80"/>
                </a:cubicBezTo>
                <a:cubicBezTo>
                  <a:pt x="34" y="80"/>
                  <a:pt x="34" y="80"/>
                  <a:pt x="34" y="80"/>
                </a:cubicBezTo>
                <a:cubicBezTo>
                  <a:pt x="35" y="80"/>
                  <a:pt x="36" y="81"/>
                  <a:pt x="36" y="82"/>
                </a:cubicBezTo>
                <a:lnTo>
                  <a:pt x="36" y="90"/>
                </a:lnTo>
                <a:close/>
                <a:moveTo>
                  <a:pt x="48" y="92"/>
                </a:moveTo>
                <a:cubicBezTo>
                  <a:pt x="44" y="92"/>
                  <a:pt x="44" y="92"/>
                  <a:pt x="44" y="92"/>
                </a:cubicBezTo>
                <a:cubicBezTo>
                  <a:pt x="44" y="76"/>
                  <a:pt x="44" y="76"/>
                  <a:pt x="44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29" y="76"/>
                  <a:pt x="28" y="75"/>
                  <a:pt x="28" y="74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49"/>
                  <a:pt x="29" y="48"/>
                  <a:pt x="30" y="48"/>
                </a:cubicBezTo>
                <a:cubicBezTo>
                  <a:pt x="40" y="48"/>
                  <a:pt x="40" y="48"/>
                  <a:pt x="40" y="48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29"/>
                  <a:pt x="41" y="28"/>
                  <a:pt x="42" y="28"/>
                </a:cubicBezTo>
                <a:cubicBezTo>
                  <a:pt x="52" y="28"/>
                  <a:pt x="52" y="28"/>
                  <a:pt x="52" y="28"/>
                </a:cubicBezTo>
                <a:cubicBezTo>
                  <a:pt x="52" y="11"/>
                  <a:pt x="52" y="11"/>
                  <a:pt x="52" y="11"/>
                </a:cubicBezTo>
                <a:cubicBezTo>
                  <a:pt x="47" y="15"/>
                  <a:pt x="47" y="15"/>
                  <a:pt x="47" y="15"/>
                </a:cubicBezTo>
                <a:cubicBezTo>
                  <a:pt x="47" y="16"/>
                  <a:pt x="45" y="16"/>
                  <a:pt x="45" y="15"/>
                </a:cubicBezTo>
                <a:cubicBezTo>
                  <a:pt x="44" y="15"/>
                  <a:pt x="44" y="13"/>
                  <a:pt x="45" y="13"/>
                </a:cubicBezTo>
                <a:cubicBezTo>
                  <a:pt x="53" y="5"/>
                  <a:pt x="53" y="5"/>
                  <a:pt x="53" y="5"/>
                </a:cubicBezTo>
                <a:cubicBezTo>
                  <a:pt x="53" y="4"/>
                  <a:pt x="55" y="4"/>
                  <a:pt x="55" y="5"/>
                </a:cubicBezTo>
                <a:cubicBezTo>
                  <a:pt x="63" y="13"/>
                  <a:pt x="63" y="13"/>
                  <a:pt x="63" y="13"/>
                </a:cubicBezTo>
                <a:cubicBezTo>
                  <a:pt x="64" y="13"/>
                  <a:pt x="64" y="15"/>
                  <a:pt x="63" y="15"/>
                </a:cubicBezTo>
                <a:cubicBezTo>
                  <a:pt x="63" y="16"/>
                  <a:pt x="63" y="16"/>
                  <a:pt x="62" y="16"/>
                </a:cubicBezTo>
                <a:cubicBezTo>
                  <a:pt x="61" y="16"/>
                  <a:pt x="61" y="16"/>
                  <a:pt x="61" y="15"/>
                </a:cubicBezTo>
                <a:cubicBezTo>
                  <a:pt x="56" y="11"/>
                  <a:pt x="56" y="11"/>
                  <a:pt x="56" y="11"/>
                </a:cubicBezTo>
                <a:cubicBezTo>
                  <a:pt x="56" y="30"/>
                  <a:pt x="56" y="30"/>
                  <a:pt x="56" y="30"/>
                </a:cubicBezTo>
                <a:cubicBezTo>
                  <a:pt x="56" y="31"/>
                  <a:pt x="55" y="32"/>
                  <a:pt x="54" y="32"/>
                </a:cubicBezTo>
                <a:cubicBezTo>
                  <a:pt x="44" y="32"/>
                  <a:pt x="44" y="32"/>
                  <a:pt x="44" y="32"/>
                </a:cubicBezTo>
                <a:cubicBezTo>
                  <a:pt x="44" y="50"/>
                  <a:pt x="44" y="50"/>
                  <a:pt x="44" y="50"/>
                </a:cubicBezTo>
                <a:cubicBezTo>
                  <a:pt x="44" y="51"/>
                  <a:pt x="43" y="52"/>
                  <a:pt x="42" y="52"/>
                </a:cubicBezTo>
                <a:cubicBezTo>
                  <a:pt x="32" y="52"/>
                  <a:pt x="32" y="52"/>
                  <a:pt x="32" y="52"/>
                </a:cubicBezTo>
                <a:cubicBezTo>
                  <a:pt x="32" y="72"/>
                  <a:pt x="32" y="72"/>
                  <a:pt x="32" y="72"/>
                </a:cubicBezTo>
                <a:cubicBezTo>
                  <a:pt x="46" y="72"/>
                  <a:pt x="46" y="72"/>
                  <a:pt x="46" y="72"/>
                </a:cubicBezTo>
                <a:cubicBezTo>
                  <a:pt x="47" y="72"/>
                  <a:pt x="48" y="73"/>
                  <a:pt x="48" y="74"/>
                </a:cubicBezTo>
                <a:lnTo>
                  <a:pt x="48" y="92"/>
                </a:lnTo>
                <a:close/>
                <a:moveTo>
                  <a:pt x="36" y="64"/>
                </a:moveTo>
                <a:cubicBezTo>
                  <a:pt x="36" y="60"/>
                  <a:pt x="36" y="60"/>
                  <a:pt x="36" y="60"/>
                </a:cubicBezTo>
                <a:cubicBezTo>
                  <a:pt x="58" y="60"/>
                  <a:pt x="58" y="60"/>
                  <a:pt x="58" y="60"/>
                </a:cubicBezTo>
                <a:cubicBezTo>
                  <a:pt x="59" y="60"/>
                  <a:pt x="60" y="61"/>
                  <a:pt x="60" y="62"/>
                </a:cubicBezTo>
                <a:cubicBezTo>
                  <a:pt x="60" y="80"/>
                  <a:pt x="60" y="80"/>
                  <a:pt x="60" y="80"/>
                </a:cubicBezTo>
                <a:cubicBezTo>
                  <a:pt x="56" y="80"/>
                  <a:pt x="56" y="80"/>
                  <a:pt x="56" y="80"/>
                </a:cubicBezTo>
                <a:cubicBezTo>
                  <a:pt x="56" y="64"/>
                  <a:pt x="56" y="64"/>
                  <a:pt x="56" y="64"/>
                </a:cubicBezTo>
                <a:lnTo>
                  <a:pt x="36" y="64"/>
                </a:lnTo>
                <a:close/>
                <a:moveTo>
                  <a:pt x="92" y="90"/>
                </a:moveTo>
                <a:cubicBezTo>
                  <a:pt x="92" y="91"/>
                  <a:pt x="91" y="92"/>
                  <a:pt x="90" y="92"/>
                </a:cubicBezTo>
                <a:cubicBezTo>
                  <a:pt x="56" y="92"/>
                  <a:pt x="56" y="92"/>
                  <a:pt x="56" y="92"/>
                </a:cubicBezTo>
                <a:cubicBezTo>
                  <a:pt x="56" y="88"/>
                  <a:pt x="56" y="88"/>
                  <a:pt x="56" y="88"/>
                </a:cubicBezTo>
                <a:cubicBezTo>
                  <a:pt x="68" y="88"/>
                  <a:pt x="68" y="88"/>
                  <a:pt x="68" y="88"/>
                </a:cubicBezTo>
                <a:cubicBezTo>
                  <a:pt x="68" y="54"/>
                  <a:pt x="68" y="54"/>
                  <a:pt x="68" y="54"/>
                </a:cubicBezTo>
                <a:cubicBezTo>
                  <a:pt x="68" y="53"/>
                  <a:pt x="69" y="52"/>
                  <a:pt x="70" y="52"/>
                </a:cubicBezTo>
                <a:cubicBezTo>
                  <a:pt x="80" y="52"/>
                  <a:pt x="80" y="52"/>
                  <a:pt x="80" y="52"/>
                </a:cubicBezTo>
                <a:cubicBezTo>
                  <a:pt x="80" y="56"/>
                  <a:pt x="80" y="56"/>
                  <a:pt x="80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72" y="88"/>
                  <a:pt x="72" y="88"/>
                  <a:pt x="72" y="88"/>
                </a:cubicBezTo>
                <a:cubicBezTo>
                  <a:pt x="88" y="88"/>
                  <a:pt x="88" y="88"/>
                  <a:pt x="88" y="88"/>
                </a:cubicBezTo>
                <a:cubicBezTo>
                  <a:pt x="88" y="80"/>
                  <a:pt x="88" y="80"/>
                  <a:pt x="88" y="80"/>
                </a:cubicBezTo>
                <a:cubicBezTo>
                  <a:pt x="80" y="80"/>
                  <a:pt x="80" y="80"/>
                  <a:pt x="80" y="80"/>
                </a:cubicBezTo>
                <a:cubicBezTo>
                  <a:pt x="80" y="76"/>
                  <a:pt x="80" y="76"/>
                  <a:pt x="80" y="76"/>
                </a:cubicBezTo>
                <a:cubicBezTo>
                  <a:pt x="88" y="76"/>
                  <a:pt x="88" y="76"/>
                  <a:pt x="88" y="76"/>
                </a:cubicBezTo>
                <a:cubicBezTo>
                  <a:pt x="88" y="68"/>
                  <a:pt x="88" y="68"/>
                  <a:pt x="88" y="68"/>
                </a:cubicBezTo>
                <a:cubicBezTo>
                  <a:pt x="80" y="68"/>
                  <a:pt x="80" y="68"/>
                  <a:pt x="80" y="68"/>
                </a:cubicBezTo>
                <a:cubicBezTo>
                  <a:pt x="80" y="64"/>
                  <a:pt x="80" y="64"/>
                  <a:pt x="80" y="64"/>
                </a:cubicBezTo>
                <a:cubicBezTo>
                  <a:pt x="88" y="64"/>
                  <a:pt x="88" y="64"/>
                  <a:pt x="88" y="64"/>
                </a:cubicBezTo>
                <a:cubicBezTo>
                  <a:pt x="88" y="44"/>
                  <a:pt x="88" y="44"/>
                  <a:pt x="88" y="44"/>
                </a:cubicBezTo>
                <a:cubicBezTo>
                  <a:pt x="56" y="44"/>
                  <a:pt x="56" y="44"/>
                  <a:pt x="56" y="44"/>
                </a:cubicBezTo>
                <a:cubicBezTo>
                  <a:pt x="56" y="52"/>
                  <a:pt x="56" y="52"/>
                  <a:pt x="56" y="52"/>
                </a:cubicBezTo>
                <a:cubicBezTo>
                  <a:pt x="52" y="52"/>
                  <a:pt x="52" y="52"/>
                  <a:pt x="52" y="52"/>
                </a:cubicBezTo>
                <a:cubicBezTo>
                  <a:pt x="52" y="40"/>
                  <a:pt x="52" y="40"/>
                  <a:pt x="52" y="40"/>
                </a:cubicBezTo>
                <a:cubicBezTo>
                  <a:pt x="64" y="40"/>
                  <a:pt x="64" y="40"/>
                  <a:pt x="64" y="40"/>
                </a:cubicBezTo>
                <a:cubicBezTo>
                  <a:pt x="64" y="20"/>
                  <a:pt x="64" y="20"/>
                  <a:pt x="64" y="20"/>
                </a:cubicBezTo>
                <a:cubicBezTo>
                  <a:pt x="80" y="20"/>
                  <a:pt x="80" y="20"/>
                  <a:pt x="80" y="20"/>
                </a:cubicBezTo>
                <a:cubicBezTo>
                  <a:pt x="80" y="32"/>
                  <a:pt x="80" y="32"/>
                  <a:pt x="80" y="32"/>
                </a:cubicBezTo>
                <a:cubicBezTo>
                  <a:pt x="76" y="32"/>
                  <a:pt x="76" y="32"/>
                  <a:pt x="76" y="32"/>
                </a:cubicBezTo>
                <a:cubicBezTo>
                  <a:pt x="76" y="24"/>
                  <a:pt x="76" y="24"/>
                  <a:pt x="76" y="24"/>
                </a:cubicBezTo>
                <a:cubicBezTo>
                  <a:pt x="68" y="24"/>
                  <a:pt x="68" y="24"/>
                  <a:pt x="68" y="24"/>
                </a:cubicBezTo>
                <a:cubicBezTo>
                  <a:pt x="68" y="40"/>
                  <a:pt x="68" y="40"/>
                  <a:pt x="68" y="40"/>
                </a:cubicBezTo>
                <a:cubicBezTo>
                  <a:pt x="88" y="40"/>
                  <a:pt x="88" y="40"/>
                  <a:pt x="88" y="40"/>
                </a:cubicBezTo>
                <a:cubicBezTo>
                  <a:pt x="88" y="8"/>
                  <a:pt x="88" y="8"/>
                  <a:pt x="88" y="8"/>
                </a:cubicBezTo>
                <a:cubicBezTo>
                  <a:pt x="72" y="8"/>
                  <a:pt x="72" y="8"/>
                  <a:pt x="72" y="8"/>
                </a:cubicBezTo>
                <a:cubicBezTo>
                  <a:pt x="72" y="4"/>
                  <a:pt x="72" y="4"/>
                  <a:pt x="72" y="4"/>
                </a:cubicBezTo>
                <a:cubicBezTo>
                  <a:pt x="90" y="4"/>
                  <a:pt x="90" y="4"/>
                  <a:pt x="90" y="4"/>
                </a:cubicBezTo>
                <a:cubicBezTo>
                  <a:pt x="91" y="4"/>
                  <a:pt x="92" y="5"/>
                  <a:pt x="92" y="6"/>
                </a:cubicBezTo>
                <a:lnTo>
                  <a:pt x="92" y="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54" name="Group 353">
            <a:extLst>
              <a:ext uri="{FF2B5EF4-FFF2-40B4-BE49-F238E27FC236}">
                <a16:creationId xmlns:a16="http://schemas.microsoft.com/office/drawing/2014/main" id="{B1D1E74B-1F38-4D41-BF04-753546AB41F9}"/>
              </a:ext>
            </a:extLst>
          </p:cNvPr>
          <p:cNvGrpSpPr/>
          <p:nvPr/>
        </p:nvGrpSpPr>
        <p:grpSpPr>
          <a:xfrm>
            <a:off x="5124256" y="2477665"/>
            <a:ext cx="405710" cy="405710"/>
            <a:chOff x="5554663" y="3971925"/>
            <a:chExt cx="360362" cy="361951"/>
          </a:xfrm>
          <a:solidFill>
            <a:schemeClr val="bg1"/>
          </a:solidFill>
        </p:grpSpPr>
        <p:sp>
          <p:nvSpPr>
            <p:cNvPr id="355" name="Freeform 27">
              <a:extLst>
                <a:ext uri="{FF2B5EF4-FFF2-40B4-BE49-F238E27FC236}">
                  <a16:creationId xmlns:a16="http://schemas.microsoft.com/office/drawing/2014/main" id="{89698EA9-9B2D-4978-9CC9-3555436B87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4078288"/>
              <a:ext cx="255588" cy="255588"/>
            </a:xfrm>
            <a:custGeom>
              <a:avLst/>
              <a:gdLst>
                <a:gd name="T0" fmla="*/ 67 w 68"/>
                <a:gd name="T1" fmla="*/ 41 h 68"/>
                <a:gd name="T2" fmla="*/ 62 w 68"/>
                <a:gd name="T3" fmla="*/ 38 h 68"/>
                <a:gd name="T4" fmla="*/ 62 w 68"/>
                <a:gd name="T5" fmla="*/ 34 h 68"/>
                <a:gd name="T6" fmla="*/ 62 w 68"/>
                <a:gd name="T7" fmla="*/ 30 h 68"/>
                <a:gd name="T8" fmla="*/ 67 w 68"/>
                <a:gd name="T9" fmla="*/ 27 h 68"/>
                <a:gd name="T10" fmla="*/ 67 w 68"/>
                <a:gd name="T11" fmla="*/ 24 h 68"/>
                <a:gd name="T12" fmla="*/ 59 w 68"/>
                <a:gd name="T13" fmla="*/ 10 h 68"/>
                <a:gd name="T14" fmla="*/ 58 w 68"/>
                <a:gd name="T15" fmla="*/ 9 h 68"/>
                <a:gd name="T16" fmla="*/ 57 w 68"/>
                <a:gd name="T17" fmla="*/ 9 h 68"/>
                <a:gd name="T18" fmla="*/ 52 w 68"/>
                <a:gd name="T19" fmla="*/ 12 h 68"/>
                <a:gd name="T20" fmla="*/ 44 w 68"/>
                <a:gd name="T21" fmla="*/ 8 h 68"/>
                <a:gd name="T22" fmla="*/ 44 w 68"/>
                <a:gd name="T23" fmla="*/ 2 h 68"/>
                <a:gd name="T24" fmla="*/ 42 w 68"/>
                <a:gd name="T25" fmla="*/ 0 h 68"/>
                <a:gd name="T26" fmla="*/ 26 w 68"/>
                <a:gd name="T27" fmla="*/ 0 h 68"/>
                <a:gd name="T28" fmla="*/ 24 w 68"/>
                <a:gd name="T29" fmla="*/ 2 h 68"/>
                <a:gd name="T30" fmla="*/ 24 w 68"/>
                <a:gd name="T31" fmla="*/ 8 h 68"/>
                <a:gd name="T32" fmla="*/ 17 w 68"/>
                <a:gd name="T33" fmla="*/ 12 h 68"/>
                <a:gd name="T34" fmla="*/ 11 w 68"/>
                <a:gd name="T35" fmla="*/ 9 h 68"/>
                <a:gd name="T36" fmla="*/ 9 w 68"/>
                <a:gd name="T37" fmla="*/ 10 h 68"/>
                <a:gd name="T38" fmla="*/ 1 w 68"/>
                <a:gd name="T39" fmla="*/ 24 h 68"/>
                <a:gd name="T40" fmla="*/ 0 w 68"/>
                <a:gd name="T41" fmla="*/ 25 h 68"/>
                <a:gd name="T42" fmla="*/ 1 w 68"/>
                <a:gd name="T43" fmla="*/ 27 h 68"/>
                <a:gd name="T44" fmla="*/ 6 w 68"/>
                <a:gd name="T45" fmla="*/ 30 h 68"/>
                <a:gd name="T46" fmla="*/ 6 w 68"/>
                <a:gd name="T47" fmla="*/ 34 h 68"/>
                <a:gd name="T48" fmla="*/ 6 w 68"/>
                <a:gd name="T49" fmla="*/ 38 h 68"/>
                <a:gd name="T50" fmla="*/ 1 w 68"/>
                <a:gd name="T51" fmla="*/ 41 h 68"/>
                <a:gd name="T52" fmla="*/ 1 w 68"/>
                <a:gd name="T53" fmla="*/ 44 h 68"/>
                <a:gd name="T54" fmla="*/ 9 w 68"/>
                <a:gd name="T55" fmla="*/ 58 h 68"/>
                <a:gd name="T56" fmla="*/ 11 w 68"/>
                <a:gd name="T57" fmla="*/ 59 h 68"/>
                <a:gd name="T58" fmla="*/ 17 w 68"/>
                <a:gd name="T59" fmla="*/ 56 h 68"/>
                <a:gd name="T60" fmla="*/ 24 w 68"/>
                <a:gd name="T61" fmla="*/ 60 h 68"/>
                <a:gd name="T62" fmla="*/ 24 w 68"/>
                <a:gd name="T63" fmla="*/ 66 h 68"/>
                <a:gd name="T64" fmla="*/ 26 w 68"/>
                <a:gd name="T65" fmla="*/ 68 h 68"/>
                <a:gd name="T66" fmla="*/ 42 w 68"/>
                <a:gd name="T67" fmla="*/ 68 h 68"/>
                <a:gd name="T68" fmla="*/ 44 w 68"/>
                <a:gd name="T69" fmla="*/ 66 h 68"/>
                <a:gd name="T70" fmla="*/ 44 w 68"/>
                <a:gd name="T71" fmla="*/ 60 h 68"/>
                <a:gd name="T72" fmla="*/ 52 w 68"/>
                <a:gd name="T73" fmla="*/ 56 h 68"/>
                <a:gd name="T74" fmla="*/ 57 w 68"/>
                <a:gd name="T75" fmla="*/ 59 h 68"/>
                <a:gd name="T76" fmla="*/ 58 w 68"/>
                <a:gd name="T77" fmla="*/ 59 h 68"/>
                <a:gd name="T78" fmla="*/ 60 w 68"/>
                <a:gd name="T79" fmla="*/ 58 h 68"/>
                <a:gd name="T80" fmla="*/ 68 w 68"/>
                <a:gd name="T81" fmla="*/ 44 h 68"/>
                <a:gd name="T82" fmla="*/ 67 w 68"/>
                <a:gd name="T83" fmla="*/ 41 h 68"/>
                <a:gd name="T84" fmla="*/ 34 w 68"/>
                <a:gd name="T85" fmla="*/ 48 h 68"/>
                <a:gd name="T86" fmla="*/ 20 w 68"/>
                <a:gd name="T87" fmla="*/ 34 h 68"/>
                <a:gd name="T88" fmla="*/ 34 w 68"/>
                <a:gd name="T89" fmla="*/ 20 h 68"/>
                <a:gd name="T90" fmla="*/ 48 w 68"/>
                <a:gd name="T91" fmla="*/ 34 h 68"/>
                <a:gd name="T92" fmla="*/ 34 w 68"/>
                <a:gd name="T93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68">
                  <a:moveTo>
                    <a:pt x="67" y="41"/>
                  </a:moveTo>
                  <a:cubicBezTo>
                    <a:pt x="62" y="38"/>
                    <a:pt x="62" y="38"/>
                    <a:pt x="62" y="38"/>
                  </a:cubicBezTo>
                  <a:cubicBezTo>
                    <a:pt x="62" y="37"/>
                    <a:pt x="62" y="35"/>
                    <a:pt x="62" y="34"/>
                  </a:cubicBezTo>
                  <a:cubicBezTo>
                    <a:pt x="62" y="33"/>
                    <a:pt x="62" y="31"/>
                    <a:pt x="62" y="3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6"/>
                    <a:pt x="68" y="25"/>
                    <a:pt x="67" y="2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0" y="10"/>
                    <a:pt x="47" y="9"/>
                    <a:pt x="44" y="8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2" y="9"/>
                    <a:pt x="19" y="10"/>
                    <a:pt x="17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9"/>
                    <a:pt x="9" y="1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3"/>
                    <a:pt x="6" y="34"/>
                  </a:cubicBezTo>
                  <a:cubicBezTo>
                    <a:pt x="6" y="35"/>
                    <a:pt x="6" y="37"/>
                    <a:pt x="6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9"/>
                    <a:pt x="10" y="59"/>
                    <a:pt x="11" y="59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9" y="58"/>
                    <a:pt x="22" y="59"/>
                    <a:pt x="24" y="6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7"/>
                    <a:pt x="25" y="68"/>
                    <a:pt x="26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3" y="68"/>
                    <a:pt x="44" y="67"/>
                    <a:pt x="44" y="6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7" y="59"/>
                    <a:pt x="50" y="58"/>
                    <a:pt x="52" y="56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8" y="59"/>
                    <a:pt x="58" y="59"/>
                  </a:cubicBezTo>
                  <a:cubicBezTo>
                    <a:pt x="59" y="59"/>
                    <a:pt x="59" y="58"/>
                    <a:pt x="60" y="5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2"/>
                    <a:pt x="67" y="41"/>
                  </a:cubicBezTo>
                  <a:close/>
                  <a:moveTo>
                    <a:pt x="34" y="48"/>
                  </a:moveTo>
                  <a:cubicBezTo>
                    <a:pt x="26" y="48"/>
                    <a:pt x="20" y="42"/>
                    <a:pt x="20" y="34"/>
                  </a:cubicBezTo>
                  <a:cubicBezTo>
                    <a:pt x="20" y="26"/>
                    <a:pt x="26" y="20"/>
                    <a:pt x="34" y="20"/>
                  </a:cubicBezTo>
                  <a:cubicBezTo>
                    <a:pt x="42" y="20"/>
                    <a:pt x="48" y="26"/>
                    <a:pt x="48" y="34"/>
                  </a:cubicBezTo>
                  <a:cubicBezTo>
                    <a:pt x="48" y="42"/>
                    <a:pt x="42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6" name="Freeform 28">
              <a:extLst>
                <a:ext uri="{FF2B5EF4-FFF2-40B4-BE49-F238E27FC236}">
                  <a16:creationId xmlns:a16="http://schemas.microsoft.com/office/drawing/2014/main" id="{00C7DC52-7823-432B-B762-7549DF50AC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5800" y="3971925"/>
              <a:ext cx="149225" cy="150813"/>
            </a:xfrm>
            <a:custGeom>
              <a:avLst/>
              <a:gdLst>
                <a:gd name="T0" fmla="*/ 39 w 40"/>
                <a:gd name="T1" fmla="*/ 24 h 40"/>
                <a:gd name="T2" fmla="*/ 36 w 40"/>
                <a:gd name="T3" fmla="*/ 22 h 40"/>
                <a:gd name="T4" fmla="*/ 36 w 40"/>
                <a:gd name="T5" fmla="*/ 20 h 40"/>
                <a:gd name="T6" fmla="*/ 36 w 40"/>
                <a:gd name="T7" fmla="*/ 18 h 40"/>
                <a:gd name="T8" fmla="*/ 39 w 40"/>
                <a:gd name="T9" fmla="*/ 16 h 40"/>
                <a:gd name="T10" fmla="*/ 39 w 40"/>
                <a:gd name="T11" fmla="*/ 13 h 40"/>
                <a:gd name="T12" fmla="*/ 35 w 40"/>
                <a:gd name="T13" fmla="*/ 7 h 40"/>
                <a:gd name="T14" fmla="*/ 34 w 40"/>
                <a:gd name="T15" fmla="*/ 6 h 40"/>
                <a:gd name="T16" fmla="*/ 33 w 40"/>
                <a:gd name="T17" fmla="*/ 6 h 40"/>
                <a:gd name="T18" fmla="*/ 30 w 40"/>
                <a:gd name="T19" fmla="*/ 7 h 40"/>
                <a:gd name="T20" fmla="*/ 26 w 40"/>
                <a:gd name="T21" fmla="*/ 5 h 40"/>
                <a:gd name="T22" fmla="*/ 26 w 40"/>
                <a:gd name="T23" fmla="*/ 2 h 40"/>
                <a:gd name="T24" fmla="*/ 24 w 40"/>
                <a:gd name="T25" fmla="*/ 0 h 40"/>
                <a:gd name="T26" fmla="*/ 16 w 40"/>
                <a:gd name="T27" fmla="*/ 0 h 40"/>
                <a:gd name="T28" fmla="*/ 14 w 40"/>
                <a:gd name="T29" fmla="*/ 2 h 40"/>
                <a:gd name="T30" fmla="*/ 14 w 40"/>
                <a:gd name="T31" fmla="*/ 5 h 40"/>
                <a:gd name="T32" fmla="*/ 10 w 40"/>
                <a:gd name="T33" fmla="*/ 7 h 40"/>
                <a:gd name="T34" fmla="*/ 8 w 40"/>
                <a:gd name="T35" fmla="*/ 6 h 40"/>
                <a:gd name="T36" fmla="*/ 5 w 40"/>
                <a:gd name="T37" fmla="*/ 7 h 40"/>
                <a:gd name="T38" fmla="*/ 1 w 40"/>
                <a:gd name="T39" fmla="*/ 13 h 40"/>
                <a:gd name="T40" fmla="*/ 1 w 40"/>
                <a:gd name="T41" fmla="*/ 15 h 40"/>
                <a:gd name="T42" fmla="*/ 1 w 40"/>
                <a:gd name="T43" fmla="*/ 16 h 40"/>
                <a:gd name="T44" fmla="*/ 4 w 40"/>
                <a:gd name="T45" fmla="*/ 18 h 40"/>
                <a:gd name="T46" fmla="*/ 4 w 40"/>
                <a:gd name="T47" fmla="*/ 20 h 40"/>
                <a:gd name="T48" fmla="*/ 4 w 40"/>
                <a:gd name="T49" fmla="*/ 22 h 40"/>
                <a:gd name="T50" fmla="*/ 1 w 40"/>
                <a:gd name="T51" fmla="*/ 24 h 40"/>
                <a:gd name="T52" fmla="*/ 1 w 40"/>
                <a:gd name="T53" fmla="*/ 25 h 40"/>
                <a:gd name="T54" fmla="*/ 1 w 40"/>
                <a:gd name="T55" fmla="*/ 27 h 40"/>
                <a:gd name="T56" fmla="*/ 5 w 40"/>
                <a:gd name="T57" fmla="*/ 33 h 40"/>
                <a:gd name="T58" fmla="*/ 7 w 40"/>
                <a:gd name="T59" fmla="*/ 34 h 40"/>
                <a:gd name="T60" fmla="*/ 10 w 40"/>
                <a:gd name="T61" fmla="*/ 33 h 40"/>
                <a:gd name="T62" fmla="*/ 14 w 40"/>
                <a:gd name="T63" fmla="*/ 35 h 40"/>
                <a:gd name="T64" fmla="*/ 14 w 40"/>
                <a:gd name="T65" fmla="*/ 38 h 40"/>
                <a:gd name="T66" fmla="*/ 16 w 40"/>
                <a:gd name="T67" fmla="*/ 40 h 40"/>
                <a:gd name="T68" fmla="*/ 24 w 40"/>
                <a:gd name="T69" fmla="*/ 40 h 40"/>
                <a:gd name="T70" fmla="*/ 26 w 40"/>
                <a:gd name="T71" fmla="*/ 38 h 40"/>
                <a:gd name="T72" fmla="*/ 26 w 40"/>
                <a:gd name="T73" fmla="*/ 35 h 40"/>
                <a:gd name="T74" fmla="*/ 30 w 40"/>
                <a:gd name="T75" fmla="*/ 33 h 40"/>
                <a:gd name="T76" fmla="*/ 33 w 40"/>
                <a:gd name="T77" fmla="*/ 34 h 40"/>
                <a:gd name="T78" fmla="*/ 34 w 40"/>
                <a:gd name="T79" fmla="*/ 34 h 40"/>
                <a:gd name="T80" fmla="*/ 35 w 40"/>
                <a:gd name="T81" fmla="*/ 33 h 40"/>
                <a:gd name="T82" fmla="*/ 39 w 40"/>
                <a:gd name="T83" fmla="*/ 27 h 40"/>
                <a:gd name="T84" fmla="*/ 39 w 40"/>
                <a:gd name="T85" fmla="*/ 24 h 40"/>
                <a:gd name="T86" fmla="*/ 20 w 40"/>
                <a:gd name="T87" fmla="*/ 28 h 40"/>
                <a:gd name="T88" fmla="*/ 12 w 40"/>
                <a:gd name="T89" fmla="*/ 20 h 40"/>
                <a:gd name="T90" fmla="*/ 20 w 40"/>
                <a:gd name="T91" fmla="*/ 12 h 40"/>
                <a:gd name="T92" fmla="*/ 28 w 40"/>
                <a:gd name="T93" fmla="*/ 20 h 40"/>
                <a:gd name="T94" fmla="*/ 20 w 40"/>
                <a:gd name="T9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" h="40">
                  <a:moveTo>
                    <a:pt x="39" y="24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19"/>
                    <a:pt x="36" y="19"/>
                    <a:pt x="36" y="18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4"/>
                    <a:pt x="39" y="13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5" y="6"/>
                    <a:pt x="34" y="6"/>
                  </a:cubicBezTo>
                  <a:cubicBezTo>
                    <a:pt x="34" y="5"/>
                    <a:pt x="33" y="6"/>
                    <a:pt x="33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6"/>
                    <a:pt x="28" y="6"/>
                    <a:pt x="26" y="5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2" y="7"/>
                    <a:pt x="10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5" y="6"/>
                    <a:pt x="5" y="7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4"/>
                    <a:pt x="1" y="15"/>
                  </a:cubicBezTo>
                  <a:cubicBezTo>
                    <a:pt x="1" y="15"/>
                    <a:pt x="1" y="16"/>
                    <a:pt x="1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19"/>
                    <a:pt x="4" y="20"/>
                  </a:cubicBezTo>
                  <a:cubicBezTo>
                    <a:pt x="4" y="21"/>
                    <a:pt x="4" y="21"/>
                    <a:pt x="4" y="22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0" y="26"/>
                    <a:pt x="0" y="26"/>
                    <a:pt x="1" y="27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3" y="34"/>
                    <a:pt x="14" y="35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5" y="40"/>
                    <a:pt x="16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6" y="39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8" y="34"/>
                    <a:pt x="29" y="34"/>
                    <a:pt x="30" y="33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4" y="35"/>
                    <a:pt x="34" y="34"/>
                  </a:cubicBezTo>
                  <a:cubicBezTo>
                    <a:pt x="35" y="34"/>
                    <a:pt x="35" y="34"/>
                    <a:pt x="35" y="33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6"/>
                    <a:pt x="40" y="24"/>
                    <a:pt x="39" y="24"/>
                  </a:cubicBezTo>
                  <a:close/>
                  <a:moveTo>
                    <a:pt x="20" y="28"/>
                  </a:moveTo>
                  <a:cubicBezTo>
                    <a:pt x="16" y="28"/>
                    <a:pt x="12" y="24"/>
                    <a:pt x="12" y="20"/>
                  </a:cubicBezTo>
                  <a:cubicBezTo>
                    <a:pt x="12" y="16"/>
                    <a:pt x="16" y="12"/>
                    <a:pt x="20" y="12"/>
                  </a:cubicBezTo>
                  <a:cubicBezTo>
                    <a:pt x="24" y="12"/>
                    <a:pt x="28" y="16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57" name="Group 356">
            <a:extLst>
              <a:ext uri="{FF2B5EF4-FFF2-40B4-BE49-F238E27FC236}">
                <a16:creationId xmlns:a16="http://schemas.microsoft.com/office/drawing/2014/main" id="{6AD76460-2FCF-48E9-AEC1-0E0E5F38EF06}"/>
              </a:ext>
            </a:extLst>
          </p:cNvPr>
          <p:cNvGrpSpPr/>
          <p:nvPr/>
        </p:nvGrpSpPr>
        <p:grpSpPr>
          <a:xfrm>
            <a:off x="7363453" y="2477665"/>
            <a:ext cx="405710" cy="405710"/>
            <a:chOff x="7718425" y="3248025"/>
            <a:chExt cx="360363" cy="361951"/>
          </a:xfrm>
          <a:solidFill>
            <a:schemeClr val="bg1"/>
          </a:solidFill>
        </p:grpSpPr>
        <p:sp>
          <p:nvSpPr>
            <p:cNvPr id="358" name="Freeform 63">
              <a:extLst>
                <a:ext uri="{FF2B5EF4-FFF2-40B4-BE49-F238E27FC236}">
                  <a16:creationId xmlns:a16="http://schemas.microsoft.com/office/drawing/2014/main" id="{A018DDF9-BA74-4DC0-BDBF-6E5E178E3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9" name="Freeform 64">
              <a:extLst>
                <a:ext uri="{FF2B5EF4-FFF2-40B4-BE49-F238E27FC236}">
                  <a16:creationId xmlns:a16="http://schemas.microsoft.com/office/drawing/2014/main" id="{251B9204-851F-4772-B2A4-7FADD00EB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0" name="Freeform 65">
              <a:extLst>
                <a:ext uri="{FF2B5EF4-FFF2-40B4-BE49-F238E27FC236}">
                  <a16:creationId xmlns:a16="http://schemas.microsoft.com/office/drawing/2014/main" id="{31253592-E1A8-4283-A3FA-252BF4164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1" name="Freeform 66">
              <a:extLst>
                <a:ext uri="{FF2B5EF4-FFF2-40B4-BE49-F238E27FC236}">
                  <a16:creationId xmlns:a16="http://schemas.microsoft.com/office/drawing/2014/main" id="{093B6BCF-ABB6-48A9-AF8A-8AB18F766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2" name="Group 361">
            <a:extLst>
              <a:ext uri="{FF2B5EF4-FFF2-40B4-BE49-F238E27FC236}">
                <a16:creationId xmlns:a16="http://schemas.microsoft.com/office/drawing/2014/main" id="{DAAA4000-CF84-4F3C-BA81-4D397B671D45}"/>
              </a:ext>
            </a:extLst>
          </p:cNvPr>
          <p:cNvGrpSpPr/>
          <p:nvPr/>
        </p:nvGrpSpPr>
        <p:grpSpPr>
          <a:xfrm>
            <a:off x="9606575" y="2473738"/>
            <a:ext cx="277813" cy="368301"/>
            <a:chOff x="4867275" y="717550"/>
            <a:chExt cx="277813" cy="368301"/>
          </a:xfrm>
          <a:solidFill>
            <a:schemeClr val="bg1"/>
          </a:solidFill>
        </p:grpSpPr>
        <p:sp>
          <p:nvSpPr>
            <p:cNvPr id="363" name="Freeform 66">
              <a:extLst>
                <a:ext uri="{FF2B5EF4-FFF2-40B4-BE49-F238E27FC236}">
                  <a16:creationId xmlns:a16="http://schemas.microsoft.com/office/drawing/2014/main" id="{7885E217-8588-4B68-9339-FC92673D3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713" y="979488"/>
              <a:ext cx="134938" cy="106363"/>
            </a:xfrm>
            <a:custGeom>
              <a:avLst/>
              <a:gdLst>
                <a:gd name="T0" fmla="*/ 29 w 36"/>
                <a:gd name="T1" fmla="*/ 0 h 28"/>
                <a:gd name="T2" fmla="*/ 18 w 36"/>
                <a:gd name="T3" fmla="*/ 5 h 28"/>
                <a:gd name="T4" fmla="*/ 7 w 36"/>
                <a:gd name="T5" fmla="*/ 0 h 28"/>
                <a:gd name="T6" fmla="*/ 0 w 36"/>
                <a:gd name="T7" fmla="*/ 0 h 28"/>
                <a:gd name="T8" fmla="*/ 0 w 36"/>
                <a:gd name="T9" fmla="*/ 26 h 28"/>
                <a:gd name="T10" fmla="*/ 1 w 36"/>
                <a:gd name="T11" fmla="*/ 28 h 28"/>
                <a:gd name="T12" fmla="*/ 3 w 36"/>
                <a:gd name="T13" fmla="*/ 27 h 28"/>
                <a:gd name="T14" fmla="*/ 18 w 36"/>
                <a:gd name="T15" fmla="*/ 13 h 28"/>
                <a:gd name="T16" fmla="*/ 33 w 36"/>
                <a:gd name="T17" fmla="*/ 27 h 28"/>
                <a:gd name="T18" fmla="*/ 34 w 36"/>
                <a:gd name="T19" fmla="*/ 28 h 28"/>
                <a:gd name="T20" fmla="*/ 35 w 36"/>
                <a:gd name="T21" fmla="*/ 28 h 28"/>
                <a:gd name="T22" fmla="*/ 36 w 36"/>
                <a:gd name="T23" fmla="*/ 26 h 28"/>
                <a:gd name="T24" fmla="*/ 36 w 36"/>
                <a:gd name="T25" fmla="*/ 0 h 28"/>
                <a:gd name="T26" fmla="*/ 29 w 36"/>
                <a:gd name="T2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28">
                  <a:moveTo>
                    <a:pt x="29" y="0"/>
                  </a:moveTo>
                  <a:cubicBezTo>
                    <a:pt x="26" y="3"/>
                    <a:pt x="22" y="5"/>
                    <a:pt x="18" y="5"/>
                  </a:cubicBezTo>
                  <a:cubicBezTo>
                    <a:pt x="14" y="5"/>
                    <a:pt x="10" y="3"/>
                    <a:pt x="7" y="0"/>
                  </a:cubicBezTo>
                  <a:cubicBezTo>
                    <a:pt x="5" y="0"/>
                    <a:pt x="2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1" y="28"/>
                  </a:cubicBezTo>
                  <a:cubicBezTo>
                    <a:pt x="2" y="28"/>
                    <a:pt x="3" y="28"/>
                    <a:pt x="3" y="27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8"/>
                    <a:pt x="34" y="28"/>
                    <a:pt x="34" y="28"/>
                  </a:cubicBezTo>
                  <a:cubicBezTo>
                    <a:pt x="34" y="28"/>
                    <a:pt x="35" y="28"/>
                    <a:pt x="35" y="28"/>
                  </a:cubicBezTo>
                  <a:cubicBezTo>
                    <a:pt x="36" y="28"/>
                    <a:pt x="36" y="27"/>
                    <a:pt x="36" y="26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4" y="0"/>
                    <a:pt x="31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4" name="Freeform 67">
              <a:extLst>
                <a:ext uri="{FF2B5EF4-FFF2-40B4-BE49-F238E27FC236}">
                  <a16:creationId xmlns:a16="http://schemas.microsoft.com/office/drawing/2014/main" id="{B0893DAD-AA1C-4EFB-8E64-BDE7909F9B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7275" y="717550"/>
              <a:ext cx="277813" cy="266700"/>
            </a:xfrm>
            <a:custGeom>
              <a:avLst/>
              <a:gdLst>
                <a:gd name="T0" fmla="*/ 68 w 74"/>
                <a:gd name="T1" fmla="*/ 36 h 71"/>
                <a:gd name="T2" fmla="*/ 62 w 74"/>
                <a:gd name="T3" fmla="*/ 19 h 71"/>
                <a:gd name="T4" fmla="*/ 47 w 74"/>
                <a:gd name="T5" fmla="*/ 8 h 71"/>
                <a:gd name="T6" fmla="*/ 27 w 74"/>
                <a:gd name="T7" fmla="*/ 8 h 71"/>
                <a:gd name="T8" fmla="*/ 12 w 74"/>
                <a:gd name="T9" fmla="*/ 19 h 71"/>
                <a:gd name="T10" fmla="*/ 6 w 74"/>
                <a:gd name="T11" fmla="*/ 36 h 71"/>
                <a:gd name="T12" fmla="*/ 12 w 74"/>
                <a:gd name="T13" fmla="*/ 54 h 71"/>
                <a:gd name="T14" fmla="*/ 27 w 74"/>
                <a:gd name="T15" fmla="*/ 65 h 71"/>
                <a:gd name="T16" fmla="*/ 37 w 74"/>
                <a:gd name="T17" fmla="*/ 71 h 71"/>
                <a:gd name="T18" fmla="*/ 47 w 74"/>
                <a:gd name="T19" fmla="*/ 65 h 71"/>
                <a:gd name="T20" fmla="*/ 62 w 74"/>
                <a:gd name="T21" fmla="*/ 54 h 71"/>
                <a:gd name="T22" fmla="*/ 68 w 74"/>
                <a:gd name="T23" fmla="*/ 36 h 71"/>
                <a:gd name="T24" fmla="*/ 56 w 74"/>
                <a:gd name="T25" fmla="*/ 32 h 71"/>
                <a:gd name="T26" fmla="*/ 47 w 74"/>
                <a:gd name="T27" fmla="*/ 39 h 71"/>
                <a:gd name="T28" fmla="*/ 51 w 74"/>
                <a:gd name="T29" fmla="*/ 51 h 71"/>
                <a:gd name="T30" fmla="*/ 50 w 74"/>
                <a:gd name="T31" fmla="*/ 54 h 71"/>
                <a:gd name="T32" fmla="*/ 49 w 74"/>
                <a:gd name="T33" fmla="*/ 54 h 71"/>
                <a:gd name="T34" fmla="*/ 48 w 74"/>
                <a:gd name="T35" fmla="*/ 54 h 71"/>
                <a:gd name="T36" fmla="*/ 37 w 74"/>
                <a:gd name="T37" fmla="*/ 47 h 71"/>
                <a:gd name="T38" fmla="*/ 26 w 74"/>
                <a:gd name="T39" fmla="*/ 54 h 71"/>
                <a:gd name="T40" fmla="*/ 24 w 74"/>
                <a:gd name="T41" fmla="*/ 54 h 71"/>
                <a:gd name="T42" fmla="*/ 23 w 74"/>
                <a:gd name="T43" fmla="*/ 51 h 71"/>
                <a:gd name="T44" fmla="*/ 27 w 74"/>
                <a:gd name="T45" fmla="*/ 39 h 71"/>
                <a:gd name="T46" fmla="*/ 18 w 74"/>
                <a:gd name="T47" fmla="*/ 32 h 71"/>
                <a:gd name="T48" fmla="*/ 17 w 74"/>
                <a:gd name="T49" fmla="*/ 29 h 71"/>
                <a:gd name="T50" fmla="*/ 19 w 74"/>
                <a:gd name="T51" fmla="*/ 28 h 71"/>
                <a:gd name="T52" fmla="*/ 30 w 74"/>
                <a:gd name="T53" fmla="*/ 28 h 71"/>
                <a:gd name="T54" fmla="*/ 35 w 74"/>
                <a:gd name="T55" fmla="*/ 17 h 71"/>
                <a:gd name="T56" fmla="*/ 39 w 74"/>
                <a:gd name="T57" fmla="*/ 17 h 71"/>
                <a:gd name="T58" fmla="*/ 44 w 74"/>
                <a:gd name="T59" fmla="*/ 28 h 71"/>
                <a:gd name="T60" fmla="*/ 55 w 74"/>
                <a:gd name="T61" fmla="*/ 28 h 71"/>
                <a:gd name="T62" fmla="*/ 57 w 74"/>
                <a:gd name="T63" fmla="*/ 29 h 71"/>
                <a:gd name="T64" fmla="*/ 56 w 74"/>
                <a:gd name="T65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71">
                  <a:moveTo>
                    <a:pt x="68" y="36"/>
                  </a:moveTo>
                  <a:cubicBezTo>
                    <a:pt x="74" y="30"/>
                    <a:pt x="71" y="20"/>
                    <a:pt x="62" y="19"/>
                  </a:cubicBezTo>
                  <a:cubicBezTo>
                    <a:pt x="63" y="10"/>
                    <a:pt x="55" y="4"/>
                    <a:pt x="47" y="8"/>
                  </a:cubicBezTo>
                  <a:cubicBezTo>
                    <a:pt x="43" y="1"/>
                    <a:pt x="32" y="0"/>
                    <a:pt x="27" y="8"/>
                  </a:cubicBezTo>
                  <a:cubicBezTo>
                    <a:pt x="19" y="4"/>
                    <a:pt x="11" y="10"/>
                    <a:pt x="12" y="19"/>
                  </a:cubicBezTo>
                  <a:cubicBezTo>
                    <a:pt x="4" y="20"/>
                    <a:pt x="0" y="30"/>
                    <a:pt x="6" y="36"/>
                  </a:cubicBezTo>
                  <a:cubicBezTo>
                    <a:pt x="0" y="43"/>
                    <a:pt x="4" y="53"/>
                    <a:pt x="12" y="54"/>
                  </a:cubicBezTo>
                  <a:cubicBezTo>
                    <a:pt x="11" y="61"/>
                    <a:pt x="17" y="69"/>
                    <a:pt x="27" y="65"/>
                  </a:cubicBezTo>
                  <a:cubicBezTo>
                    <a:pt x="30" y="69"/>
                    <a:pt x="33" y="71"/>
                    <a:pt x="37" y="71"/>
                  </a:cubicBezTo>
                  <a:cubicBezTo>
                    <a:pt x="41" y="71"/>
                    <a:pt x="44" y="69"/>
                    <a:pt x="47" y="65"/>
                  </a:cubicBezTo>
                  <a:cubicBezTo>
                    <a:pt x="57" y="69"/>
                    <a:pt x="63" y="61"/>
                    <a:pt x="62" y="54"/>
                  </a:cubicBezTo>
                  <a:cubicBezTo>
                    <a:pt x="70" y="53"/>
                    <a:pt x="74" y="43"/>
                    <a:pt x="68" y="36"/>
                  </a:cubicBezTo>
                  <a:close/>
                  <a:moveTo>
                    <a:pt x="56" y="32"/>
                  </a:moveTo>
                  <a:cubicBezTo>
                    <a:pt x="47" y="39"/>
                    <a:pt x="47" y="39"/>
                    <a:pt x="47" y="39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52"/>
                    <a:pt x="51" y="53"/>
                    <a:pt x="50" y="54"/>
                  </a:cubicBezTo>
                  <a:cubicBezTo>
                    <a:pt x="50" y="54"/>
                    <a:pt x="49" y="54"/>
                    <a:pt x="49" y="54"/>
                  </a:cubicBezTo>
                  <a:cubicBezTo>
                    <a:pt x="49" y="54"/>
                    <a:pt x="48" y="54"/>
                    <a:pt x="48" y="54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5" y="54"/>
                    <a:pt x="24" y="54"/>
                    <a:pt x="24" y="54"/>
                  </a:cubicBezTo>
                  <a:cubicBezTo>
                    <a:pt x="23" y="53"/>
                    <a:pt x="23" y="52"/>
                    <a:pt x="23" y="5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7" y="29"/>
                    <a:pt x="18" y="28"/>
                    <a:pt x="19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6"/>
                    <a:pt x="38" y="16"/>
                    <a:pt x="39" y="17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6" y="28"/>
                    <a:pt x="57" y="29"/>
                    <a:pt x="57" y="29"/>
                  </a:cubicBezTo>
                  <a:cubicBezTo>
                    <a:pt x="57" y="30"/>
                    <a:pt x="57" y="31"/>
                    <a:pt x="5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B3C6FFF3-D998-4DC5-8F11-EAD13D6CEF09}"/>
              </a:ext>
            </a:extLst>
          </p:cNvPr>
          <p:cNvCxnSpPr>
            <a:cxnSpLocks/>
          </p:cNvCxnSpPr>
          <p:nvPr/>
        </p:nvCxnSpPr>
        <p:spPr>
          <a:xfrm>
            <a:off x="628577" y="3694941"/>
            <a:ext cx="762617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9257EF8B-588F-4BAA-8DA0-69A7E28AE91A}"/>
              </a:ext>
            </a:extLst>
          </p:cNvPr>
          <p:cNvCxnSpPr>
            <a:cxnSpLocks/>
          </p:cNvCxnSpPr>
          <p:nvPr/>
        </p:nvCxnSpPr>
        <p:spPr>
          <a:xfrm>
            <a:off x="2873076" y="3694941"/>
            <a:ext cx="762617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AB9C3B78-DE74-42C2-9840-478FCD6A176D}"/>
              </a:ext>
            </a:extLst>
          </p:cNvPr>
          <p:cNvCxnSpPr>
            <a:cxnSpLocks/>
          </p:cNvCxnSpPr>
          <p:nvPr/>
        </p:nvCxnSpPr>
        <p:spPr>
          <a:xfrm>
            <a:off x="5117575" y="3694941"/>
            <a:ext cx="762617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AE785468-2EEF-4C61-932F-378626F7E870}"/>
              </a:ext>
            </a:extLst>
          </p:cNvPr>
          <p:cNvCxnSpPr>
            <a:cxnSpLocks/>
          </p:cNvCxnSpPr>
          <p:nvPr/>
        </p:nvCxnSpPr>
        <p:spPr>
          <a:xfrm>
            <a:off x="7362075" y="3694941"/>
            <a:ext cx="762617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Straight Connector 369">
            <a:extLst>
              <a:ext uri="{FF2B5EF4-FFF2-40B4-BE49-F238E27FC236}">
                <a16:creationId xmlns:a16="http://schemas.microsoft.com/office/drawing/2014/main" id="{D4DBEE81-192B-403B-846D-DBC105980215}"/>
              </a:ext>
            </a:extLst>
          </p:cNvPr>
          <p:cNvCxnSpPr>
            <a:cxnSpLocks/>
          </p:cNvCxnSpPr>
          <p:nvPr/>
        </p:nvCxnSpPr>
        <p:spPr>
          <a:xfrm>
            <a:off x="9606575" y="3694941"/>
            <a:ext cx="762617" cy="0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D5BF9FEB-F2AD-4B9F-96FE-66D8D94726A4}"/>
              </a:ext>
            </a:extLst>
          </p:cNvPr>
          <p:cNvCxnSpPr>
            <a:cxnSpLocks/>
          </p:cNvCxnSpPr>
          <p:nvPr/>
        </p:nvCxnSpPr>
        <p:spPr>
          <a:xfrm>
            <a:off x="0" y="6109111"/>
            <a:ext cx="12192000" cy="0"/>
          </a:xfrm>
          <a:prstGeom prst="line">
            <a:avLst/>
          </a:prstGeom>
          <a:ln w="12700">
            <a:solidFill>
              <a:srgbClr val="685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45539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9893FC-F772-4162-8C6F-C264655ADA1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04" b="104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5BE37DF-F965-46C8-9F0E-C4CCC23AC5E1}"/>
              </a:ext>
            </a:extLst>
          </p:cNvPr>
          <p:cNvSpPr/>
          <p:nvPr/>
        </p:nvSpPr>
        <p:spPr>
          <a:xfrm flipH="1">
            <a:off x="0" y="0"/>
            <a:ext cx="6448425" cy="6858000"/>
          </a:xfrm>
          <a:custGeom>
            <a:avLst/>
            <a:gdLst>
              <a:gd name="connsiteX0" fmla="*/ 6448425 w 6448425"/>
              <a:gd name="connsiteY0" fmla="*/ 0 h 6858000"/>
              <a:gd name="connsiteX1" fmla="*/ 3747417 w 6448425"/>
              <a:gd name="connsiteY1" fmla="*/ 0 h 6858000"/>
              <a:gd name="connsiteX2" fmla="*/ 0 w 6448425"/>
              <a:gd name="connsiteY2" fmla="*/ 6858000 h 6858000"/>
              <a:gd name="connsiteX3" fmla="*/ 6448425 w 64484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8425" h="6858000">
                <a:moveTo>
                  <a:pt x="6448425" y="0"/>
                </a:moveTo>
                <a:lnTo>
                  <a:pt x="3747417" y="0"/>
                </a:lnTo>
                <a:lnTo>
                  <a:pt x="0" y="6858000"/>
                </a:lnTo>
                <a:lnTo>
                  <a:pt x="6448425" y="6858000"/>
                </a:lnTo>
                <a:close/>
              </a:path>
            </a:pathLst>
          </a:cu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9EB251-936B-4F67-9780-F9D55DCF1099}"/>
              </a:ext>
            </a:extLst>
          </p:cNvPr>
          <p:cNvSpPr txBox="1">
            <a:spLocks/>
          </p:cNvSpPr>
          <p:nvPr/>
        </p:nvSpPr>
        <p:spPr>
          <a:xfrm>
            <a:off x="533400" y="3295073"/>
            <a:ext cx="3644900" cy="18281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tandard Business Presentation</a:t>
            </a:r>
          </a:p>
        </p:txBody>
      </p:sp>
      <p:pic>
        <p:nvPicPr>
          <p:cNvPr id="9" name="Picture 2" descr="Image result for 24slides logo">
            <a:extLst>
              <a:ext uri="{FF2B5EF4-FFF2-40B4-BE49-F238E27FC236}">
                <a16:creationId xmlns:a16="http://schemas.microsoft.com/office/drawing/2014/main" id="{E33223A4-E852-41EE-9E74-AD3034D8FD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3774" y="5421867"/>
            <a:ext cx="1013777" cy="383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52B5AF-32CB-47CA-B6D2-1227323064D1}"/>
              </a:ext>
            </a:extLst>
          </p:cNvPr>
          <p:cNvCxnSpPr>
            <a:cxnSpLocks/>
          </p:cNvCxnSpPr>
          <p:nvPr/>
        </p:nvCxnSpPr>
        <p:spPr>
          <a:xfrm>
            <a:off x="600125" y="5804935"/>
            <a:ext cx="570499" cy="105306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7E089D9-2884-4E0D-AA0F-3B1CDB75F956}"/>
              </a:ext>
            </a:extLst>
          </p:cNvPr>
          <p:cNvGrpSpPr/>
          <p:nvPr/>
        </p:nvGrpSpPr>
        <p:grpSpPr>
          <a:xfrm>
            <a:off x="551361" y="1318067"/>
            <a:ext cx="1238525" cy="1295338"/>
            <a:chOff x="2676526" y="5394325"/>
            <a:chExt cx="346075" cy="361950"/>
          </a:xfrm>
          <a:solidFill>
            <a:schemeClr val="bg1"/>
          </a:solidFill>
        </p:grpSpPr>
        <p:sp>
          <p:nvSpPr>
            <p:cNvPr id="18" name="Freeform 118">
              <a:extLst>
                <a:ext uri="{FF2B5EF4-FFF2-40B4-BE49-F238E27FC236}">
                  <a16:creationId xmlns:a16="http://schemas.microsoft.com/office/drawing/2014/main" id="{AA479424-06B0-4BFC-A2D9-07F1004E1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6" y="5394325"/>
              <a:ext cx="346075" cy="46038"/>
            </a:xfrm>
            <a:custGeom>
              <a:avLst/>
              <a:gdLst>
                <a:gd name="T0" fmla="*/ 92 w 92"/>
                <a:gd name="T1" fmla="*/ 12 h 12"/>
                <a:gd name="T2" fmla="*/ 92 w 92"/>
                <a:gd name="T3" fmla="*/ 2 h 12"/>
                <a:gd name="T4" fmla="*/ 90 w 92"/>
                <a:gd name="T5" fmla="*/ 0 h 12"/>
                <a:gd name="T6" fmla="*/ 2 w 92"/>
                <a:gd name="T7" fmla="*/ 0 h 12"/>
                <a:gd name="T8" fmla="*/ 0 w 92"/>
                <a:gd name="T9" fmla="*/ 2 h 12"/>
                <a:gd name="T10" fmla="*/ 0 w 92"/>
                <a:gd name="T11" fmla="*/ 12 h 12"/>
                <a:gd name="T12" fmla="*/ 92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2" y="12"/>
                  </a:move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19">
              <a:extLst>
                <a:ext uri="{FF2B5EF4-FFF2-40B4-BE49-F238E27FC236}">
                  <a16:creationId xmlns:a16="http://schemas.microsoft.com/office/drawing/2014/main" id="{25E522AD-661E-4755-B630-34D149CD2D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6" y="5454650"/>
              <a:ext cx="346075" cy="301625"/>
            </a:xfrm>
            <a:custGeom>
              <a:avLst/>
              <a:gdLst>
                <a:gd name="T0" fmla="*/ 90 w 92"/>
                <a:gd name="T1" fmla="*/ 52 h 80"/>
                <a:gd name="T2" fmla="*/ 84 w 92"/>
                <a:gd name="T3" fmla="*/ 52 h 80"/>
                <a:gd name="T4" fmla="*/ 84 w 92"/>
                <a:gd name="T5" fmla="*/ 0 h 80"/>
                <a:gd name="T6" fmla="*/ 8 w 92"/>
                <a:gd name="T7" fmla="*/ 0 h 80"/>
                <a:gd name="T8" fmla="*/ 8 w 92"/>
                <a:gd name="T9" fmla="*/ 52 h 80"/>
                <a:gd name="T10" fmla="*/ 2 w 92"/>
                <a:gd name="T11" fmla="*/ 52 h 80"/>
                <a:gd name="T12" fmla="*/ 0 w 92"/>
                <a:gd name="T13" fmla="*/ 54 h 80"/>
                <a:gd name="T14" fmla="*/ 2 w 92"/>
                <a:gd name="T15" fmla="*/ 56 h 80"/>
                <a:gd name="T16" fmla="*/ 44 w 92"/>
                <a:gd name="T17" fmla="*/ 56 h 80"/>
                <a:gd name="T18" fmla="*/ 44 w 92"/>
                <a:gd name="T19" fmla="*/ 64 h 80"/>
                <a:gd name="T20" fmla="*/ 38 w 92"/>
                <a:gd name="T21" fmla="*/ 72 h 80"/>
                <a:gd name="T22" fmla="*/ 46 w 92"/>
                <a:gd name="T23" fmla="*/ 80 h 80"/>
                <a:gd name="T24" fmla="*/ 54 w 92"/>
                <a:gd name="T25" fmla="*/ 72 h 80"/>
                <a:gd name="T26" fmla="*/ 48 w 92"/>
                <a:gd name="T27" fmla="*/ 64 h 80"/>
                <a:gd name="T28" fmla="*/ 48 w 92"/>
                <a:gd name="T29" fmla="*/ 56 h 80"/>
                <a:gd name="T30" fmla="*/ 90 w 92"/>
                <a:gd name="T31" fmla="*/ 56 h 80"/>
                <a:gd name="T32" fmla="*/ 92 w 92"/>
                <a:gd name="T33" fmla="*/ 54 h 80"/>
                <a:gd name="T34" fmla="*/ 90 w 92"/>
                <a:gd name="T35" fmla="*/ 52 h 80"/>
                <a:gd name="T36" fmla="*/ 34 w 92"/>
                <a:gd name="T37" fmla="*/ 44 h 80"/>
                <a:gd name="T38" fmla="*/ 16 w 92"/>
                <a:gd name="T39" fmla="*/ 26 h 80"/>
                <a:gd name="T40" fmla="*/ 23 w 92"/>
                <a:gd name="T41" fmla="*/ 11 h 80"/>
                <a:gd name="T42" fmla="*/ 32 w 92"/>
                <a:gd name="T43" fmla="*/ 27 h 80"/>
                <a:gd name="T44" fmla="*/ 35 w 92"/>
                <a:gd name="T45" fmla="*/ 44 h 80"/>
                <a:gd name="T46" fmla="*/ 34 w 92"/>
                <a:gd name="T47" fmla="*/ 44 h 80"/>
                <a:gd name="T48" fmla="*/ 50 w 92"/>
                <a:gd name="T49" fmla="*/ 72 h 80"/>
                <a:gd name="T50" fmla="*/ 46 w 92"/>
                <a:gd name="T51" fmla="*/ 76 h 80"/>
                <a:gd name="T52" fmla="*/ 42 w 92"/>
                <a:gd name="T53" fmla="*/ 72 h 80"/>
                <a:gd name="T54" fmla="*/ 46 w 92"/>
                <a:gd name="T55" fmla="*/ 68 h 80"/>
                <a:gd name="T56" fmla="*/ 50 w 92"/>
                <a:gd name="T57" fmla="*/ 72 h 80"/>
                <a:gd name="T58" fmla="*/ 39 w 92"/>
                <a:gd name="T59" fmla="*/ 43 h 80"/>
                <a:gd name="T60" fmla="*/ 36 w 92"/>
                <a:gd name="T61" fmla="*/ 28 h 80"/>
                <a:gd name="T62" fmla="*/ 52 w 92"/>
                <a:gd name="T63" fmla="*/ 28 h 80"/>
                <a:gd name="T64" fmla="*/ 39 w 92"/>
                <a:gd name="T65" fmla="*/ 43 h 80"/>
                <a:gd name="T66" fmla="*/ 35 w 92"/>
                <a:gd name="T67" fmla="*/ 24 h 80"/>
                <a:gd name="T68" fmla="*/ 27 w 92"/>
                <a:gd name="T69" fmla="*/ 9 h 80"/>
                <a:gd name="T70" fmla="*/ 34 w 92"/>
                <a:gd name="T71" fmla="*/ 8 h 80"/>
                <a:gd name="T72" fmla="*/ 52 w 92"/>
                <a:gd name="T73" fmla="*/ 24 h 80"/>
                <a:gd name="T74" fmla="*/ 35 w 92"/>
                <a:gd name="T75" fmla="*/ 24 h 80"/>
                <a:gd name="T76" fmla="*/ 74 w 92"/>
                <a:gd name="T77" fmla="*/ 28 h 80"/>
                <a:gd name="T78" fmla="*/ 62 w 92"/>
                <a:gd name="T79" fmla="*/ 28 h 80"/>
                <a:gd name="T80" fmla="*/ 60 w 92"/>
                <a:gd name="T81" fmla="*/ 26 h 80"/>
                <a:gd name="T82" fmla="*/ 62 w 92"/>
                <a:gd name="T83" fmla="*/ 24 h 80"/>
                <a:gd name="T84" fmla="*/ 74 w 92"/>
                <a:gd name="T85" fmla="*/ 24 h 80"/>
                <a:gd name="T86" fmla="*/ 76 w 92"/>
                <a:gd name="T87" fmla="*/ 26 h 80"/>
                <a:gd name="T88" fmla="*/ 74 w 92"/>
                <a:gd name="T89" fmla="*/ 28 h 80"/>
                <a:gd name="T90" fmla="*/ 74 w 92"/>
                <a:gd name="T91" fmla="*/ 20 h 80"/>
                <a:gd name="T92" fmla="*/ 62 w 92"/>
                <a:gd name="T93" fmla="*/ 20 h 80"/>
                <a:gd name="T94" fmla="*/ 60 w 92"/>
                <a:gd name="T95" fmla="*/ 18 h 80"/>
                <a:gd name="T96" fmla="*/ 62 w 92"/>
                <a:gd name="T97" fmla="*/ 16 h 80"/>
                <a:gd name="T98" fmla="*/ 74 w 92"/>
                <a:gd name="T99" fmla="*/ 16 h 80"/>
                <a:gd name="T100" fmla="*/ 76 w 92"/>
                <a:gd name="T101" fmla="*/ 18 h 80"/>
                <a:gd name="T102" fmla="*/ 74 w 92"/>
                <a:gd name="T103" fmla="*/ 20 h 80"/>
                <a:gd name="T104" fmla="*/ 74 w 92"/>
                <a:gd name="T105" fmla="*/ 12 h 80"/>
                <a:gd name="T106" fmla="*/ 62 w 92"/>
                <a:gd name="T107" fmla="*/ 12 h 80"/>
                <a:gd name="T108" fmla="*/ 60 w 92"/>
                <a:gd name="T109" fmla="*/ 10 h 80"/>
                <a:gd name="T110" fmla="*/ 62 w 92"/>
                <a:gd name="T111" fmla="*/ 8 h 80"/>
                <a:gd name="T112" fmla="*/ 74 w 92"/>
                <a:gd name="T113" fmla="*/ 8 h 80"/>
                <a:gd name="T114" fmla="*/ 76 w 92"/>
                <a:gd name="T115" fmla="*/ 10 h 80"/>
                <a:gd name="T116" fmla="*/ 74 w 92"/>
                <a:gd name="T117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0">
                  <a:moveTo>
                    <a:pt x="90" y="52"/>
                  </a:moveTo>
                  <a:cubicBezTo>
                    <a:pt x="84" y="52"/>
                    <a:pt x="84" y="52"/>
                    <a:pt x="84" y="5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1" y="65"/>
                    <a:pt x="38" y="68"/>
                    <a:pt x="38" y="72"/>
                  </a:cubicBezTo>
                  <a:cubicBezTo>
                    <a:pt x="38" y="76"/>
                    <a:pt x="42" y="80"/>
                    <a:pt x="46" y="80"/>
                  </a:cubicBezTo>
                  <a:cubicBezTo>
                    <a:pt x="50" y="80"/>
                    <a:pt x="54" y="76"/>
                    <a:pt x="54" y="72"/>
                  </a:cubicBezTo>
                  <a:cubicBezTo>
                    <a:pt x="54" y="68"/>
                    <a:pt x="51" y="65"/>
                    <a:pt x="48" y="64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2" y="55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lose/>
                  <a:moveTo>
                    <a:pt x="34" y="44"/>
                  </a:moveTo>
                  <a:cubicBezTo>
                    <a:pt x="24" y="44"/>
                    <a:pt x="16" y="36"/>
                    <a:pt x="16" y="26"/>
                  </a:cubicBezTo>
                  <a:cubicBezTo>
                    <a:pt x="16" y="20"/>
                    <a:pt x="19" y="15"/>
                    <a:pt x="23" y="11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4" y="44"/>
                    <a:pt x="34" y="44"/>
                  </a:cubicBezTo>
                  <a:close/>
                  <a:moveTo>
                    <a:pt x="50" y="72"/>
                  </a:moveTo>
                  <a:cubicBezTo>
                    <a:pt x="50" y="74"/>
                    <a:pt x="48" y="76"/>
                    <a:pt x="46" y="76"/>
                  </a:cubicBezTo>
                  <a:cubicBezTo>
                    <a:pt x="44" y="76"/>
                    <a:pt x="42" y="74"/>
                    <a:pt x="42" y="72"/>
                  </a:cubicBezTo>
                  <a:cubicBezTo>
                    <a:pt x="42" y="70"/>
                    <a:pt x="44" y="68"/>
                    <a:pt x="46" y="68"/>
                  </a:cubicBezTo>
                  <a:cubicBezTo>
                    <a:pt x="48" y="68"/>
                    <a:pt x="50" y="70"/>
                    <a:pt x="50" y="72"/>
                  </a:cubicBezTo>
                  <a:close/>
                  <a:moveTo>
                    <a:pt x="39" y="43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1" y="35"/>
                    <a:pt x="46" y="41"/>
                    <a:pt x="39" y="43"/>
                  </a:cubicBezTo>
                  <a:close/>
                  <a:moveTo>
                    <a:pt x="35" y="24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29" y="9"/>
                    <a:pt x="31" y="8"/>
                    <a:pt x="34" y="8"/>
                  </a:cubicBezTo>
                  <a:cubicBezTo>
                    <a:pt x="43" y="8"/>
                    <a:pt x="51" y="15"/>
                    <a:pt x="52" y="24"/>
                  </a:cubicBezTo>
                  <a:lnTo>
                    <a:pt x="35" y="24"/>
                  </a:lnTo>
                  <a:close/>
                  <a:moveTo>
                    <a:pt x="74" y="28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61" y="28"/>
                    <a:pt x="60" y="27"/>
                    <a:pt x="60" y="26"/>
                  </a:cubicBezTo>
                  <a:cubicBezTo>
                    <a:pt x="60" y="25"/>
                    <a:pt x="61" y="24"/>
                    <a:pt x="62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5" y="24"/>
                    <a:pt x="76" y="25"/>
                    <a:pt x="76" y="26"/>
                  </a:cubicBezTo>
                  <a:cubicBezTo>
                    <a:pt x="76" y="27"/>
                    <a:pt x="75" y="28"/>
                    <a:pt x="74" y="28"/>
                  </a:cubicBezTo>
                  <a:close/>
                  <a:moveTo>
                    <a:pt x="74" y="20"/>
                  </a:move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0" y="19"/>
                    <a:pt x="60" y="18"/>
                  </a:cubicBezTo>
                  <a:cubicBezTo>
                    <a:pt x="60" y="17"/>
                    <a:pt x="61" y="16"/>
                    <a:pt x="62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6" y="17"/>
                    <a:pt x="76" y="18"/>
                  </a:cubicBezTo>
                  <a:cubicBezTo>
                    <a:pt x="76" y="19"/>
                    <a:pt x="75" y="20"/>
                    <a:pt x="74" y="20"/>
                  </a:cubicBezTo>
                  <a:close/>
                  <a:moveTo>
                    <a:pt x="74" y="12"/>
                  </a:move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0" y="11"/>
                    <a:pt x="60" y="10"/>
                  </a:cubicBezTo>
                  <a:cubicBezTo>
                    <a:pt x="60" y="9"/>
                    <a:pt x="61" y="8"/>
                    <a:pt x="62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1528033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29E65E14-927F-46F2-9ABC-B618670931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2" r="27432"/>
          <a:stretch/>
        </p:blipFill>
        <p:spPr>
          <a:xfrm>
            <a:off x="0" y="1524000"/>
            <a:ext cx="3720190" cy="4724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773DAB-D5E5-45FF-BD53-C0ECE691A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10" name="Rectangle: Single Corner Snipped 9">
            <a:extLst>
              <a:ext uri="{FF2B5EF4-FFF2-40B4-BE49-F238E27FC236}">
                <a16:creationId xmlns:a16="http://schemas.microsoft.com/office/drawing/2014/main" id="{5A437A8A-289E-4DFF-BAF2-AA7EC8214016}"/>
              </a:ext>
            </a:extLst>
          </p:cNvPr>
          <p:cNvSpPr/>
          <p:nvPr/>
        </p:nvSpPr>
        <p:spPr>
          <a:xfrm>
            <a:off x="3466191" y="1524000"/>
            <a:ext cx="486232" cy="486232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C3EF062-318F-42A0-888E-E70309556658}"/>
              </a:ext>
            </a:extLst>
          </p:cNvPr>
          <p:cNvSpPr txBox="1">
            <a:spLocks/>
          </p:cNvSpPr>
          <p:nvPr/>
        </p:nvSpPr>
        <p:spPr>
          <a:xfrm>
            <a:off x="4276724" y="1670424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1880FA3-754D-49C7-B210-8723BC03AEA4}"/>
              </a:ext>
            </a:extLst>
          </p:cNvPr>
          <p:cNvSpPr txBox="1">
            <a:spLocks/>
          </p:cNvSpPr>
          <p:nvPr/>
        </p:nvSpPr>
        <p:spPr>
          <a:xfrm>
            <a:off x="3600623" y="1656317"/>
            <a:ext cx="217367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49" name="Rectangle: Single Corner Snipped 48">
            <a:extLst>
              <a:ext uri="{FF2B5EF4-FFF2-40B4-BE49-F238E27FC236}">
                <a16:creationId xmlns:a16="http://schemas.microsoft.com/office/drawing/2014/main" id="{4AEC8AFE-691D-46ED-9184-9DD0DD151DF7}"/>
              </a:ext>
            </a:extLst>
          </p:cNvPr>
          <p:cNvSpPr/>
          <p:nvPr/>
        </p:nvSpPr>
        <p:spPr>
          <a:xfrm>
            <a:off x="3466191" y="2233384"/>
            <a:ext cx="486232" cy="486232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9807683-E2DF-46D3-B26F-45BD45671875}"/>
              </a:ext>
            </a:extLst>
          </p:cNvPr>
          <p:cNvSpPr txBox="1">
            <a:spLocks/>
          </p:cNvSpPr>
          <p:nvPr/>
        </p:nvSpPr>
        <p:spPr>
          <a:xfrm>
            <a:off x="4276724" y="2379808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E3C70E14-7287-43BB-8448-E8E52E7A98F8}"/>
              </a:ext>
            </a:extLst>
          </p:cNvPr>
          <p:cNvSpPr txBox="1">
            <a:spLocks/>
          </p:cNvSpPr>
          <p:nvPr/>
        </p:nvSpPr>
        <p:spPr>
          <a:xfrm>
            <a:off x="3600623" y="2365701"/>
            <a:ext cx="217367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53" name="Rectangle: Single Corner Snipped 52">
            <a:extLst>
              <a:ext uri="{FF2B5EF4-FFF2-40B4-BE49-F238E27FC236}">
                <a16:creationId xmlns:a16="http://schemas.microsoft.com/office/drawing/2014/main" id="{C4E15E80-2D62-4485-A568-6B6EF52B9CC8}"/>
              </a:ext>
            </a:extLst>
          </p:cNvPr>
          <p:cNvSpPr/>
          <p:nvPr/>
        </p:nvSpPr>
        <p:spPr>
          <a:xfrm>
            <a:off x="3466191" y="2942768"/>
            <a:ext cx="486232" cy="486232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4A55ADE5-10E7-4803-95D4-331716F60FD6}"/>
              </a:ext>
            </a:extLst>
          </p:cNvPr>
          <p:cNvSpPr txBox="1">
            <a:spLocks/>
          </p:cNvSpPr>
          <p:nvPr/>
        </p:nvSpPr>
        <p:spPr>
          <a:xfrm>
            <a:off x="4276724" y="3089192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58C9A657-4BD0-44E4-9A71-491BEF4D86BE}"/>
              </a:ext>
            </a:extLst>
          </p:cNvPr>
          <p:cNvSpPr txBox="1">
            <a:spLocks/>
          </p:cNvSpPr>
          <p:nvPr/>
        </p:nvSpPr>
        <p:spPr>
          <a:xfrm>
            <a:off x="3600623" y="3075085"/>
            <a:ext cx="217367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57" name="Rectangle: Single Corner Snipped 56">
            <a:extLst>
              <a:ext uri="{FF2B5EF4-FFF2-40B4-BE49-F238E27FC236}">
                <a16:creationId xmlns:a16="http://schemas.microsoft.com/office/drawing/2014/main" id="{5EC60FC1-DD3F-41EB-8554-F1A67535E0C3}"/>
              </a:ext>
            </a:extLst>
          </p:cNvPr>
          <p:cNvSpPr/>
          <p:nvPr/>
        </p:nvSpPr>
        <p:spPr>
          <a:xfrm>
            <a:off x="3466191" y="3652152"/>
            <a:ext cx="486232" cy="486232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3ED414CD-D85B-43C1-B19E-E10943D0C9D2}"/>
              </a:ext>
            </a:extLst>
          </p:cNvPr>
          <p:cNvSpPr txBox="1">
            <a:spLocks/>
          </p:cNvSpPr>
          <p:nvPr/>
        </p:nvSpPr>
        <p:spPr>
          <a:xfrm>
            <a:off x="4276724" y="3798576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BCFC325F-3021-4A31-ACD5-00041B550B15}"/>
              </a:ext>
            </a:extLst>
          </p:cNvPr>
          <p:cNvSpPr txBox="1">
            <a:spLocks/>
          </p:cNvSpPr>
          <p:nvPr/>
        </p:nvSpPr>
        <p:spPr>
          <a:xfrm>
            <a:off x="3600623" y="3784469"/>
            <a:ext cx="217367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61" name="Rectangle: Single Corner Snipped 60">
            <a:extLst>
              <a:ext uri="{FF2B5EF4-FFF2-40B4-BE49-F238E27FC236}">
                <a16:creationId xmlns:a16="http://schemas.microsoft.com/office/drawing/2014/main" id="{AAAB87C9-A3F4-423F-BD64-5682B2F7E44C}"/>
              </a:ext>
            </a:extLst>
          </p:cNvPr>
          <p:cNvSpPr/>
          <p:nvPr/>
        </p:nvSpPr>
        <p:spPr>
          <a:xfrm>
            <a:off x="3466191" y="4361536"/>
            <a:ext cx="486232" cy="486232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C1DF3BDE-B38E-4B15-94F9-AA5FB859D227}"/>
              </a:ext>
            </a:extLst>
          </p:cNvPr>
          <p:cNvSpPr txBox="1">
            <a:spLocks/>
          </p:cNvSpPr>
          <p:nvPr/>
        </p:nvSpPr>
        <p:spPr>
          <a:xfrm>
            <a:off x="4276724" y="4507960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63" name="Title 1">
            <a:extLst>
              <a:ext uri="{FF2B5EF4-FFF2-40B4-BE49-F238E27FC236}">
                <a16:creationId xmlns:a16="http://schemas.microsoft.com/office/drawing/2014/main" id="{509D40B4-1327-49D5-A5DE-B7B1EFA189A1}"/>
              </a:ext>
            </a:extLst>
          </p:cNvPr>
          <p:cNvSpPr txBox="1">
            <a:spLocks/>
          </p:cNvSpPr>
          <p:nvPr/>
        </p:nvSpPr>
        <p:spPr>
          <a:xfrm>
            <a:off x="3600623" y="4493853"/>
            <a:ext cx="217367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65" name="Rectangle: Single Corner Snipped 64">
            <a:extLst>
              <a:ext uri="{FF2B5EF4-FFF2-40B4-BE49-F238E27FC236}">
                <a16:creationId xmlns:a16="http://schemas.microsoft.com/office/drawing/2014/main" id="{A269255E-5C54-40C8-AA59-B4A66ED0E05E}"/>
              </a:ext>
            </a:extLst>
          </p:cNvPr>
          <p:cNvSpPr/>
          <p:nvPr/>
        </p:nvSpPr>
        <p:spPr>
          <a:xfrm>
            <a:off x="3466191" y="5070920"/>
            <a:ext cx="486232" cy="486232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4242F373-50AF-4923-853A-EAD30C54B2CC}"/>
              </a:ext>
            </a:extLst>
          </p:cNvPr>
          <p:cNvSpPr txBox="1">
            <a:spLocks/>
          </p:cNvSpPr>
          <p:nvPr/>
        </p:nvSpPr>
        <p:spPr>
          <a:xfrm>
            <a:off x="4276724" y="5217344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17F5D44D-30F1-4B1D-99EF-289B6D942BAE}"/>
              </a:ext>
            </a:extLst>
          </p:cNvPr>
          <p:cNvSpPr txBox="1">
            <a:spLocks/>
          </p:cNvSpPr>
          <p:nvPr/>
        </p:nvSpPr>
        <p:spPr>
          <a:xfrm>
            <a:off x="3600623" y="5203237"/>
            <a:ext cx="217367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69" name="Rectangle: Single Corner Snipped 68">
            <a:extLst>
              <a:ext uri="{FF2B5EF4-FFF2-40B4-BE49-F238E27FC236}">
                <a16:creationId xmlns:a16="http://schemas.microsoft.com/office/drawing/2014/main" id="{CDD0F0C1-1B73-49FA-A45E-ABD371F24503}"/>
              </a:ext>
            </a:extLst>
          </p:cNvPr>
          <p:cNvSpPr/>
          <p:nvPr/>
        </p:nvSpPr>
        <p:spPr>
          <a:xfrm>
            <a:off x="3466191" y="5780305"/>
            <a:ext cx="486232" cy="486232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D168BA08-6C0B-4F0D-9914-75317D3B7EC4}"/>
              </a:ext>
            </a:extLst>
          </p:cNvPr>
          <p:cNvSpPr txBox="1">
            <a:spLocks/>
          </p:cNvSpPr>
          <p:nvPr/>
        </p:nvSpPr>
        <p:spPr>
          <a:xfrm>
            <a:off x="4276724" y="5926729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DCCB8805-8EBC-448A-A76A-0E9D1BA3B21A}"/>
              </a:ext>
            </a:extLst>
          </p:cNvPr>
          <p:cNvSpPr txBox="1">
            <a:spLocks/>
          </p:cNvSpPr>
          <p:nvPr/>
        </p:nvSpPr>
        <p:spPr>
          <a:xfrm>
            <a:off x="3600623" y="5912622"/>
            <a:ext cx="217367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7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BDED9E5-07A2-47E8-B875-C1AA73AF1CEE}"/>
              </a:ext>
            </a:extLst>
          </p:cNvPr>
          <p:cNvCxnSpPr/>
          <p:nvPr/>
        </p:nvCxnSpPr>
        <p:spPr>
          <a:xfrm>
            <a:off x="4276724" y="2121808"/>
            <a:ext cx="738187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F950204-8053-4148-97EC-4AB864F6F676}"/>
              </a:ext>
            </a:extLst>
          </p:cNvPr>
          <p:cNvCxnSpPr/>
          <p:nvPr/>
        </p:nvCxnSpPr>
        <p:spPr>
          <a:xfrm>
            <a:off x="4276724" y="2831192"/>
            <a:ext cx="738187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11E091AF-12AC-44C1-A300-C6ECE5470621}"/>
              </a:ext>
            </a:extLst>
          </p:cNvPr>
          <p:cNvCxnSpPr/>
          <p:nvPr/>
        </p:nvCxnSpPr>
        <p:spPr>
          <a:xfrm>
            <a:off x="4276724" y="3540576"/>
            <a:ext cx="738187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008CFBD4-EAE2-49F8-8C85-31E86A05BF7E}"/>
              </a:ext>
            </a:extLst>
          </p:cNvPr>
          <p:cNvCxnSpPr/>
          <p:nvPr/>
        </p:nvCxnSpPr>
        <p:spPr>
          <a:xfrm>
            <a:off x="4276724" y="4249960"/>
            <a:ext cx="738187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6316968F-79F6-4EED-A7B9-57F577B3B561}"/>
              </a:ext>
            </a:extLst>
          </p:cNvPr>
          <p:cNvCxnSpPr/>
          <p:nvPr/>
        </p:nvCxnSpPr>
        <p:spPr>
          <a:xfrm>
            <a:off x="4276724" y="4959344"/>
            <a:ext cx="738187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EED21BCF-4324-4A2A-8834-AFEF131A4AFF}"/>
              </a:ext>
            </a:extLst>
          </p:cNvPr>
          <p:cNvCxnSpPr/>
          <p:nvPr/>
        </p:nvCxnSpPr>
        <p:spPr>
          <a:xfrm>
            <a:off x="4276724" y="5668728"/>
            <a:ext cx="738187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6919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A picture containing outdoor&#10;&#10;Description automatically generated">
            <a:extLst>
              <a:ext uri="{FF2B5EF4-FFF2-40B4-BE49-F238E27FC236}">
                <a16:creationId xmlns:a16="http://schemas.microsoft.com/office/drawing/2014/main" id="{7BACDF48-F0AE-497E-B545-5944385D493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350" r="33878"/>
          <a:stretch/>
        </p:blipFill>
        <p:spPr>
          <a:xfrm>
            <a:off x="7445829" y="0"/>
            <a:ext cx="4212771" cy="62484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342ACD74-417C-4C60-9A08-725D18E945D9}"/>
              </a:ext>
            </a:extLst>
          </p:cNvPr>
          <p:cNvSpPr/>
          <p:nvPr/>
        </p:nvSpPr>
        <p:spPr>
          <a:xfrm>
            <a:off x="0" y="1524000"/>
            <a:ext cx="7445829" cy="2451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08E352-C225-436E-B7AE-8B40EAA0E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U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A112BF1-FEE9-4399-A72B-F2144FDB0BA4}"/>
              </a:ext>
            </a:extLst>
          </p:cNvPr>
          <p:cNvSpPr/>
          <p:nvPr/>
        </p:nvSpPr>
        <p:spPr>
          <a:xfrm>
            <a:off x="11658600" y="1524000"/>
            <a:ext cx="533400" cy="2451100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737E15F-7879-49CA-896B-591E3D082CDB}"/>
              </a:ext>
            </a:extLst>
          </p:cNvPr>
          <p:cNvSpPr txBox="1"/>
          <p:nvPr/>
        </p:nvSpPr>
        <p:spPr>
          <a:xfrm>
            <a:off x="1835150" y="2660649"/>
            <a:ext cx="530859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Lorem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ipsum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dolor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sit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amet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,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consectetur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adipiscing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elit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,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sed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do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eiusmod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tempor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incididunt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ut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labore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et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dolore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magna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aliqua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. Ut enim ad minim veniam, quis nostrud exercitation ullamco laboris nisi ut aliquip ex ea commodo consequat.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3DBE70E-6228-4FA5-B021-D1C1A035AE05}"/>
              </a:ext>
            </a:extLst>
          </p:cNvPr>
          <p:cNvSpPr txBox="1"/>
          <p:nvPr/>
        </p:nvSpPr>
        <p:spPr>
          <a:xfrm>
            <a:off x="1835150" y="2062717"/>
            <a:ext cx="530859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6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rPr>
              <a:t>Lorem ipsum dolor sit amet, consectetur adipiscing elit</a:t>
            </a:r>
          </a:p>
        </p:txBody>
      </p:sp>
      <p:sp>
        <p:nvSpPr>
          <p:cNvPr id="47" name="Freeform 38">
            <a:extLst>
              <a:ext uri="{FF2B5EF4-FFF2-40B4-BE49-F238E27FC236}">
                <a16:creationId xmlns:a16="http://schemas.microsoft.com/office/drawing/2014/main" id="{E5FCFBC8-EEBE-414D-8DA4-BF2A0EC3C6A3}"/>
              </a:ext>
            </a:extLst>
          </p:cNvPr>
          <p:cNvSpPr>
            <a:spLocks noEditPoints="1"/>
          </p:cNvSpPr>
          <p:nvPr/>
        </p:nvSpPr>
        <p:spPr bwMode="auto">
          <a:xfrm>
            <a:off x="533400" y="2323306"/>
            <a:ext cx="887684" cy="852488"/>
          </a:xfrm>
          <a:custGeom>
            <a:avLst/>
            <a:gdLst>
              <a:gd name="T0" fmla="*/ 96 w 96"/>
              <a:gd name="T1" fmla="*/ 61 h 92"/>
              <a:gd name="T2" fmla="*/ 96 w 96"/>
              <a:gd name="T3" fmla="*/ 61 h 92"/>
              <a:gd name="T4" fmla="*/ 80 w 96"/>
              <a:gd name="T5" fmla="*/ 36 h 92"/>
              <a:gd name="T6" fmla="*/ 76 w 96"/>
              <a:gd name="T7" fmla="*/ 2 h 92"/>
              <a:gd name="T8" fmla="*/ 22 w 96"/>
              <a:gd name="T9" fmla="*/ 0 h 92"/>
              <a:gd name="T10" fmla="*/ 20 w 96"/>
              <a:gd name="T11" fmla="*/ 36 h 92"/>
              <a:gd name="T12" fmla="*/ 14 w 96"/>
              <a:gd name="T13" fmla="*/ 37 h 92"/>
              <a:gd name="T14" fmla="*/ 0 w 96"/>
              <a:gd name="T15" fmla="*/ 61 h 92"/>
              <a:gd name="T16" fmla="*/ 0 w 96"/>
              <a:gd name="T17" fmla="*/ 62 h 92"/>
              <a:gd name="T18" fmla="*/ 0 w 96"/>
              <a:gd name="T19" fmla="*/ 90 h 92"/>
              <a:gd name="T20" fmla="*/ 94 w 96"/>
              <a:gd name="T21" fmla="*/ 92 h 92"/>
              <a:gd name="T22" fmla="*/ 96 w 96"/>
              <a:gd name="T23" fmla="*/ 62 h 92"/>
              <a:gd name="T24" fmla="*/ 42 w 96"/>
              <a:gd name="T25" fmla="*/ 20 h 92"/>
              <a:gd name="T26" fmla="*/ 64 w 96"/>
              <a:gd name="T27" fmla="*/ 22 h 92"/>
              <a:gd name="T28" fmla="*/ 42 w 96"/>
              <a:gd name="T29" fmla="*/ 24 h 92"/>
              <a:gd name="T30" fmla="*/ 42 w 96"/>
              <a:gd name="T31" fmla="*/ 20 h 92"/>
              <a:gd name="T32" fmla="*/ 38 w 96"/>
              <a:gd name="T33" fmla="*/ 12 h 92"/>
              <a:gd name="T34" fmla="*/ 38 w 96"/>
              <a:gd name="T35" fmla="*/ 16 h 92"/>
              <a:gd name="T36" fmla="*/ 32 w 96"/>
              <a:gd name="T37" fmla="*/ 14 h 92"/>
              <a:gd name="T38" fmla="*/ 34 w 96"/>
              <a:gd name="T39" fmla="*/ 28 h 92"/>
              <a:gd name="T40" fmla="*/ 64 w 96"/>
              <a:gd name="T41" fmla="*/ 30 h 92"/>
              <a:gd name="T42" fmla="*/ 34 w 96"/>
              <a:gd name="T43" fmla="*/ 32 h 92"/>
              <a:gd name="T44" fmla="*/ 34 w 96"/>
              <a:gd name="T45" fmla="*/ 28 h 92"/>
              <a:gd name="T46" fmla="*/ 62 w 96"/>
              <a:gd name="T47" fmla="*/ 36 h 92"/>
              <a:gd name="T48" fmla="*/ 62 w 96"/>
              <a:gd name="T49" fmla="*/ 40 h 92"/>
              <a:gd name="T50" fmla="*/ 32 w 96"/>
              <a:gd name="T51" fmla="*/ 38 h 92"/>
              <a:gd name="T52" fmla="*/ 34 w 96"/>
              <a:gd name="T53" fmla="*/ 44 h 92"/>
              <a:gd name="T54" fmla="*/ 64 w 96"/>
              <a:gd name="T55" fmla="*/ 46 h 92"/>
              <a:gd name="T56" fmla="*/ 34 w 96"/>
              <a:gd name="T57" fmla="*/ 48 h 92"/>
              <a:gd name="T58" fmla="*/ 34 w 96"/>
              <a:gd name="T59" fmla="*/ 44 h 92"/>
              <a:gd name="T60" fmla="*/ 64 w 96"/>
              <a:gd name="T61" fmla="*/ 62 h 92"/>
              <a:gd name="T62" fmla="*/ 58 w 96"/>
              <a:gd name="T63" fmla="*/ 72 h 92"/>
              <a:gd name="T64" fmla="*/ 34 w 96"/>
              <a:gd name="T65" fmla="*/ 66 h 92"/>
              <a:gd name="T66" fmla="*/ 32 w 96"/>
              <a:gd name="T67" fmla="*/ 60 h 92"/>
              <a:gd name="T68" fmla="*/ 17 w 96"/>
              <a:gd name="T69" fmla="*/ 40 h 92"/>
              <a:gd name="T70" fmla="*/ 20 w 96"/>
              <a:gd name="T71" fmla="*/ 54 h 92"/>
              <a:gd name="T72" fmla="*/ 74 w 96"/>
              <a:gd name="T73" fmla="*/ 56 h 92"/>
              <a:gd name="T74" fmla="*/ 76 w 96"/>
              <a:gd name="T75" fmla="*/ 40 h 92"/>
              <a:gd name="T76" fmla="*/ 91 w 96"/>
              <a:gd name="T77" fmla="*/ 6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6" h="92">
                <a:moveTo>
                  <a:pt x="96" y="62"/>
                </a:moveTo>
                <a:cubicBezTo>
                  <a:pt x="96" y="62"/>
                  <a:pt x="96" y="62"/>
                  <a:pt x="96" y="61"/>
                </a:cubicBezTo>
                <a:cubicBezTo>
                  <a:pt x="96" y="61"/>
                  <a:pt x="96" y="61"/>
                  <a:pt x="96" y="61"/>
                </a:cubicBezTo>
                <a:cubicBezTo>
                  <a:pt x="96" y="61"/>
                  <a:pt x="96" y="61"/>
                  <a:pt x="96" y="61"/>
                </a:cubicBezTo>
                <a:cubicBezTo>
                  <a:pt x="82" y="37"/>
                  <a:pt x="82" y="37"/>
                  <a:pt x="82" y="37"/>
                </a:cubicBezTo>
                <a:cubicBezTo>
                  <a:pt x="81" y="36"/>
                  <a:pt x="81" y="36"/>
                  <a:pt x="80" y="36"/>
                </a:cubicBezTo>
                <a:cubicBezTo>
                  <a:pt x="76" y="36"/>
                  <a:pt x="76" y="36"/>
                  <a:pt x="76" y="36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1"/>
                  <a:pt x="75" y="0"/>
                  <a:pt x="74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1" y="0"/>
                  <a:pt x="20" y="1"/>
                  <a:pt x="20" y="2"/>
                </a:cubicBezTo>
                <a:cubicBezTo>
                  <a:pt x="20" y="36"/>
                  <a:pt x="20" y="36"/>
                  <a:pt x="20" y="36"/>
                </a:cubicBezTo>
                <a:cubicBezTo>
                  <a:pt x="16" y="36"/>
                  <a:pt x="16" y="36"/>
                  <a:pt x="16" y="36"/>
                </a:cubicBezTo>
                <a:cubicBezTo>
                  <a:pt x="15" y="36"/>
                  <a:pt x="15" y="36"/>
                  <a:pt x="14" y="37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90"/>
                  <a:pt x="0" y="90"/>
                  <a:pt x="0" y="90"/>
                </a:cubicBezTo>
                <a:cubicBezTo>
                  <a:pt x="0" y="91"/>
                  <a:pt x="1" y="92"/>
                  <a:pt x="2" y="92"/>
                </a:cubicBezTo>
                <a:cubicBezTo>
                  <a:pt x="94" y="92"/>
                  <a:pt x="94" y="92"/>
                  <a:pt x="94" y="92"/>
                </a:cubicBezTo>
                <a:cubicBezTo>
                  <a:pt x="95" y="92"/>
                  <a:pt x="96" y="91"/>
                  <a:pt x="96" y="90"/>
                </a:cubicBezTo>
                <a:cubicBezTo>
                  <a:pt x="96" y="62"/>
                  <a:pt x="96" y="62"/>
                  <a:pt x="96" y="62"/>
                </a:cubicBezTo>
                <a:cubicBezTo>
                  <a:pt x="96" y="62"/>
                  <a:pt x="96" y="62"/>
                  <a:pt x="96" y="62"/>
                </a:cubicBezTo>
                <a:close/>
                <a:moveTo>
                  <a:pt x="42" y="20"/>
                </a:moveTo>
                <a:cubicBezTo>
                  <a:pt x="62" y="20"/>
                  <a:pt x="62" y="20"/>
                  <a:pt x="62" y="20"/>
                </a:cubicBezTo>
                <a:cubicBezTo>
                  <a:pt x="63" y="20"/>
                  <a:pt x="64" y="21"/>
                  <a:pt x="64" y="22"/>
                </a:cubicBezTo>
                <a:cubicBezTo>
                  <a:pt x="64" y="23"/>
                  <a:pt x="63" y="24"/>
                  <a:pt x="62" y="24"/>
                </a:cubicBezTo>
                <a:cubicBezTo>
                  <a:pt x="42" y="24"/>
                  <a:pt x="42" y="24"/>
                  <a:pt x="42" y="24"/>
                </a:cubicBezTo>
                <a:cubicBezTo>
                  <a:pt x="41" y="24"/>
                  <a:pt x="40" y="23"/>
                  <a:pt x="40" y="22"/>
                </a:cubicBezTo>
                <a:cubicBezTo>
                  <a:pt x="40" y="21"/>
                  <a:pt x="41" y="20"/>
                  <a:pt x="42" y="20"/>
                </a:cubicBezTo>
                <a:close/>
                <a:moveTo>
                  <a:pt x="34" y="12"/>
                </a:moveTo>
                <a:cubicBezTo>
                  <a:pt x="38" y="12"/>
                  <a:pt x="38" y="12"/>
                  <a:pt x="38" y="12"/>
                </a:cubicBezTo>
                <a:cubicBezTo>
                  <a:pt x="39" y="12"/>
                  <a:pt x="40" y="13"/>
                  <a:pt x="40" y="14"/>
                </a:cubicBezTo>
                <a:cubicBezTo>
                  <a:pt x="40" y="15"/>
                  <a:pt x="39" y="16"/>
                  <a:pt x="38" y="16"/>
                </a:cubicBezTo>
                <a:cubicBezTo>
                  <a:pt x="34" y="16"/>
                  <a:pt x="34" y="16"/>
                  <a:pt x="34" y="16"/>
                </a:cubicBezTo>
                <a:cubicBezTo>
                  <a:pt x="33" y="16"/>
                  <a:pt x="32" y="15"/>
                  <a:pt x="32" y="14"/>
                </a:cubicBezTo>
                <a:cubicBezTo>
                  <a:pt x="32" y="13"/>
                  <a:pt x="33" y="12"/>
                  <a:pt x="34" y="12"/>
                </a:cubicBezTo>
                <a:close/>
                <a:moveTo>
                  <a:pt x="34" y="28"/>
                </a:moveTo>
                <a:cubicBezTo>
                  <a:pt x="62" y="28"/>
                  <a:pt x="62" y="28"/>
                  <a:pt x="62" y="28"/>
                </a:cubicBezTo>
                <a:cubicBezTo>
                  <a:pt x="63" y="28"/>
                  <a:pt x="64" y="29"/>
                  <a:pt x="64" y="30"/>
                </a:cubicBezTo>
                <a:cubicBezTo>
                  <a:pt x="64" y="31"/>
                  <a:pt x="63" y="32"/>
                  <a:pt x="62" y="32"/>
                </a:cubicBezTo>
                <a:cubicBezTo>
                  <a:pt x="34" y="32"/>
                  <a:pt x="34" y="32"/>
                  <a:pt x="34" y="32"/>
                </a:cubicBezTo>
                <a:cubicBezTo>
                  <a:pt x="33" y="32"/>
                  <a:pt x="32" y="31"/>
                  <a:pt x="32" y="30"/>
                </a:cubicBezTo>
                <a:cubicBezTo>
                  <a:pt x="32" y="29"/>
                  <a:pt x="33" y="28"/>
                  <a:pt x="34" y="28"/>
                </a:cubicBezTo>
                <a:close/>
                <a:moveTo>
                  <a:pt x="34" y="36"/>
                </a:moveTo>
                <a:cubicBezTo>
                  <a:pt x="62" y="36"/>
                  <a:pt x="62" y="36"/>
                  <a:pt x="62" y="36"/>
                </a:cubicBezTo>
                <a:cubicBezTo>
                  <a:pt x="63" y="36"/>
                  <a:pt x="64" y="37"/>
                  <a:pt x="64" y="38"/>
                </a:cubicBezTo>
                <a:cubicBezTo>
                  <a:pt x="64" y="39"/>
                  <a:pt x="63" y="40"/>
                  <a:pt x="62" y="40"/>
                </a:cubicBezTo>
                <a:cubicBezTo>
                  <a:pt x="34" y="40"/>
                  <a:pt x="34" y="40"/>
                  <a:pt x="34" y="40"/>
                </a:cubicBezTo>
                <a:cubicBezTo>
                  <a:pt x="33" y="40"/>
                  <a:pt x="32" y="39"/>
                  <a:pt x="32" y="38"/>
                </a:cubicBezTo>
                <a:cubicBezTo>
                  <a:pt x="32" y="37"/>
                  <a:pt x="33" y="36"/>
                  <a:pt x="34" y="36"/>
                </a:cubicBezTo>
                <a:close/>
                <a:moveTo>
                  <a:pt x="34" y="44"/>
                </a:moveTo>
                <a:cubicBezTo>
                  <a:pt x="62" y="44"/>
                  <a:pt x="62" y="44"/>
                  <a:pt x="62" y="44"/>
                </a:cubicBezTo>
                <a:cubicBezTo>
                  <a:pt x="63" y="44"/>
                  <a:pt x="64" y="45"/>
                  <a:pt x="64" y="46"/>
                </a:cubicBezTo>
                <a:cubicBezTo>
                  <a:pt x="64" y="47"/>
                  <a:pt x="63" y="48"/>
                  <a:pt x="62" y="48"/>
                </a:cubicBezTo>
                <a:cubicBezTo>
                  <a:pt x="34" y="48"/>
                  <a:pt x="34" y="48"/>
                  <a:pt x="34" y="48"/>
                </a:cubicBezTo>
                <a:cubicBezTo>
                  <a:pt x="33" y="48"/>
                  <a:pt x="32" y="47"/>
                  <a:pt x="32" y="46"/>
                </a:cubicBezTo>
                <a:cubicBezTo>
                  <a:pt x="32" y="45"/>
                  <a:pt x="33" y="44"/>
                  <a:pt x="34" y="44"/>
                </a:cubicBezTo>
                <a:close/>
                <a:moveTo>
                  <a:pt x="66" y="60"/>
                </a:moveTo>
                <a:cubicBezTo>
                  <a:pt x="65" y="60"/>
                  <a:pt x="64" y="61"/>
                  <a:pt x="64" y="62"/>
                </a:cubicBezTo>
                <a:cubicBezTo>
                  <a:pt x="64" y="66"/>
                  <a:pt x="64" y="66"/>
                  <a:pt x="64" y="66"/>
                </a:cubicBezTo>
                <a:cubicBezTo>
                  <a:pt x="64" y="69"/>
                  <a:pt x="61" y="72"/>
                  <a:pt x="58" y="72"/>
                </a:cubicBezTo>
                <a:cubicBezTo>
                  <a:pt x="40" y="72"/>
                  <a:pt x="40" y="72"/>
                  <a:pt x="40" y="72"/>
                </a:cubicBezTo>
                <a:cubicBezTo>
                  <a:pt x="37" y="72"/>
                  <a:pt x="34" y="69"/>
                  <a:pt x="34" y="66"/>
                </a:cubicBezTo>
                <a:cubicBezTo>
                  <a:pt x="34" y="62"/>
                  <a:pt x="34" y="62"/>
                  <a:pt x="34" y="62"/>
                </a:cubicBezTo>
                <a:cubicBezTo>
                  <a:pt x="34" y="61"/>
                  <a:pt x="33" y="60"/>
                  <a:pt x="32" y="60"/>
                </a:cubicBezTo>
                <a:cubicBezTo>
                  <a:pt x="5" y="60"/>
                  <a:pt x="5" y="60"/>
                  <a:pt x="5" y="60"/>
                </a:cubicBezTo>
                <a:cubicBezTo>
                  <a:pt x="17" y="40"/>
                  <a:pt x="17" y="40"/>
                  <a:pt x="17" y="40"/>
                </a:cubicBezTo>
                <a:cubicBezTo>
                  <a:pt x="20" y="40"/>
                  <a:pt x="20" y="40"/>
                  <a:pt x="20" y="40"/>
                </a:cubicBezTo>
                <a:cubicBezTo>
                  <a:pt x="20" y="54"/>
                  <a:pt x="20" y="54"/>
                  <a:pt x="20" y="54"/>
                </a:cubicBezTo>
                <a:cubicBezTo>
                  <a:pt x="20" y="55"/>
                  <a:pt x="21" y="56"/>
                  <a:pt x="22" y="56"/>
                </a:cubicBezTo>
                <a:cubicBezTo>
                  <a:pt x="74" y="56"/>
                  <a:pt x="74" y="56"/>
                  <a:pt x="74" y="56"/>
                </a:cubicBezTo>
                <a:cubicBezTo>
                  <a:pt x="75" y="56"/>
                  <a:pt x="76" y="55"/>
                  <a:pt x="76" y="54"/>
                </a:cubicBezTo>
                <a:cubicBezTo>
                  <a:pt x="76" y="40"/>
                  <a:pt x="76" y="40"/>
                  <a:pt x="76" y="40"/>
                </a:cubicBezTo>
                <a:cubicBezTo>
                  <a:pt x="79" y="40"/>
                  <a:pt x="79" y="40"/>
                  <a:pt x="79" y="40"/>
                </a:cubicBezTo>
                <a:cubicBezTo>
                  <a:pt x="91" y="60"/>
                  <a:pt x="91" y="60"/>
                  <a:pt x="91" y="60"/>
                </a:cubicBezTo>
                <a:lnTo>
                  <a:pt x="66" y="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B38E946-F366-471B-AE5F-D784BEF8B845}"/>
              </a:ext>
            </a:extLst>
          </p:cNvPr>
          <p:cNvCxnSpPr/>
          <p:nvPr/>
        </p:nvCxnSpPr>
        <p:spPr>
          <a:xfrm>
            <a:off x="1835150" y="2484793"/>
            <a:ext cx="530859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: Single Corner Snipped 51">
            <a:extLst>
              <a:ext uri="{FF2B5EF4-FFF2-40B4-BE49-F238E27FC236}">
                <a16:creationId xmlns:a16="http://schemas.microsoft.com/office/drawing/2014/main" id="{B612BB09-0355-4C24-A7A1-EF4BE32D05E2}"/>
              </a:ext>
            </a:extLst>
          </p:cNvPr>
          <p:cNvSpPr/>
          <p:nvPr/>
        </p:nvSpPr>
        <p:spPr>
          <a:xfrm>
            <a:off x="533400" y="4250093"/>
            <a:ext cx="486232" cy="486232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E3B464C-49B6-4A57-9B4F-403EE6243422}"/>
              </a:ext>
            </a:extLst>
          </p:cNvPr>
          <p:cNvSpPr txBox="1"/>
          <p:nvPr/>
        </p:nvSpPr>
        <p:spPr>
          <a:xfrm>
            <a:off x="533400" y="4954644"/>
            <a:ext cx="1866900" cy="12926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dirty="0">
                <a:cs typeface="Segoe UI Light" panose="020B050204020402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55" name="Freeform 28">
            <a:extLst>
              <a:ext uri="{FF2B5EF4-FFF2-40B4-BE49-F238E27FC236}">
                <a16:creationId xmlns:a16="http://schemas.microsoft.com/office/drawing/2014/main" id="{0FDBC401-E44E-407B-AAF1-4DEC3D45D889}"/>
              </a:ext>
            </a:extLst>
          </p:cNvPr>
          <p:cNvSpPr>
            <a:spLocks/>
          </p:cNvSpPr>
          <p:nvPr/>
        </p:nvSpPr>
        <p:spPr bwMode="auto">
          <a:xfrm>
            <a:off x="685180" y="4413139"/>
            <a:ext cx="182673" cy="160141"/>
          </a:xfrm>
          <a:custGeom>
            <a:avLst/>
            <a:gdLst>
              <a:gd name="T0" fmla="*/ 95 w 96"/>
              <a:gd name="T1" fmla="*/ 0 h 84"/>
              <a:gd name="T2" fmla="*/ 93 w 96"/>
              <a:gd name="T3" fmla="*/ 1 h 84"/>
              <a:gd name="T4" fmla="*/ 48 w 96"/>
              <a:gd name="T5" fmla="*/ 45 h 84"/>
              <a:gd name="T6" fmla="*/ 3 w 96"/>
              <a:gd name="T7" fmla="*/ 1 h 84"/>
              <a:gd name="T8" fmla="*/ 1 w 96"/>
              <a:gd name="T9" fmla="*/ 0 h 84"/>
              <a:gd name="T10" fmla="*/ 0 w 96"/>
              <a:gd name="T11" fmla="*/ 2 h 84"/>
              <a:gd name="T12" fmla="*/ 0 w 96"/>
              <a:gd name="T13" fmla="*/ 36 h 84"/>
              <a:gd name="T14" fmla="*/ 1 w 96"/>
              <a:gd name="T15" fmla="*/ 38 h 84"/>
              <a:gd name="T16" fmla="*/ 47 w 96"/>
              <a:gd name="T17" fmla="*/ 83 h 84"/>
              <a:gd name="T18" fmla="*/ 48 w 96"/>
              <a:gd name="T19" fmla="*/ 84 h 84"/>
              <a:gd name="T20" fmla="*/ 49 w 96"/>
              <a:gd name="T21" fmla="*/ 83 h 84"/>
              <a:gd name="T22" fmla="*/ 95 w 96"/>
              <a:gd name="T23" fmla="*/ 38 h 84"/>
              <a:gd name="T24" fmla="*/ 96 w 96"/>
              <a:gd name="T25" fmla="*/ 36 h 84"/>
              <a:gd name="T26" fmla="*/ 96 w 96"/>
              <a:gd name="T27" fmla="*/ 2 h 84"/>
              <a:gd name="T28" fmla="*/ 95 w 96"/>
              <a:gd name="T29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84">
                <a:moveTo>
                  <a:pt x="95" y="0"/>
                </a:moveTo>
                <a:cubicBezTo>
                  <a:pt x="94" y="0"/>
                  <a:pt x="93" y="0"/>
                  <a:pt x="93" y="1"/>
                </a:cubicBezTo>
                <a:cubicBezTo>
                  <a:pt x="48" y="45"/>
                  <a:pt x="48" y="45"/>
                  <a:pt x="48" y="45"/>
                </a:cubicBezTo>
                <a:cubicBezTo>
                  <a:pt x="3" y="1"/>
                  <a:pt x="3" y="1"/>
                  <a:pt x="3" y="1"/>
                </a:cubicBezTo>
                <a:cubicBezTo>
                  <a:pt x="3" y="0"/>
                  <a:pt x="2" y="0"/>
                  <a:pt x="1" y="0"/>
                </a:cubicBezTo>
                <a:cubicBezTo>
                  <a:pt x="0" y="0"/>
                  <a:pt x="0" y="1"/>
                  <a:pt x="0" y="2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7"/>
                  <a:pt x="0" y="37"/>
                  <a:pt x="1" y="38"/>
                </a:cubicBezTo>
                <a:cubicBezTo>
                  <a:pt x="47" y="83"/>
                  <a:pt x="47" y="83"/>
                  <a:pt x="47" y="83"/>
                </a:cubicBezTo>
                <a:cubicBezTo>
                  <a:pt x="47" y="84"/>
                  <a:pt x="48" y="84"/>
                  <a:pt x="48" y="84"/>
                </a:cubicBezTo>
                <a:cubicBezTo>
                  <a:pt x="49" y="84"/>
                  <a:pt x="49" y="84"/>
                  <a:pt x="49" y="83"/>
                </a:cubicBezTo>
                <a:cubicBezTo>
                  <a:pt x="95" y="38"/>
                  <a:pt x="95" y="38"/>
                  <a:pt x="95" y="38"/>
                </a:cubicBezTo>
                <a:cubicBezTo>
                  <a:pt x="96" y="37"/>
                  <a:pt x="96" y="37"/>
                  <a:pt x="96" y="36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6" y="0"/>
                  <a:pt x="9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8" name="Rectangle: Single Corner Snipped 57">
            <a:extLst>
              <a:ext uri="{FF2B5EF4-FFF2-40B4-BE49-F238E27FC236}">
                <a16:creationId xmlns:a16="http://schemas.microsoft.com/office/drawing/2014/main" id="{6754A41F-22D6-4A02-B97C-96436D2FE6BE}"/>
              </a:ext>
            </a:extLst>
          </p:cNvPr>
          <p:cNvSpPr/>
          <p:nvPr/>
        </p:nvSpPr>
        <p:spPr>
          <a:xfrm>
            <a:off x="2837543" y="4250093"/>
            <a:ext cx="486232" cy="486232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E5FD83B-A52B-4615-87D4-C9D47E420922}"/>
              </a:ext>
            </a:extLst>
          </p:cNvPr>
          <p:cNvSpPr txBox="1"/>
          <p:nvPr/>
        </p:nvSpPr>
        <p:spPr>
          <a:xfrm>
            <a:off x="2837543" y="4954644"/>
            <a:ext cx="1866900" cy="12926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dirty="0">
                <a:cs typeface="Segoe UI Light" panose="020B050204020402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60" name="Freeform 28">
            <a:extLst>
              <a:ext uri="{FF2B5EF4-FFF2-40B4-BE49-F238E27FC236}">
                <a16:creationId xmlns:a16="http://schemas.microsoft.com/office/drawing/2014/main" id="{22D347DE-7E26-4188-8B10-3461003D0F3D}"/>
              </a:ext>
            </a:extLst>
          </p:cNvPr>
          <p:cNvSpPr>
            <a:spLocks/>
          </p:cNvSpPr>
          <p:nvPr/>
        </p:nvSpPr>
        <p:spPr bwMode="auto">
          <a:xfrm>
            <a:off x="2989323" y="4413139"/>
            <a:ext cx="182673" cy="160141"/>
          </a:xfrm>
          <a:custGeom>
            <a:avLst/>
            <a:gdLst>
              <a:gd name="T0" fmla="*/ 95 w 96"/>
              <a:gd name="T1" fmla="*/ 0 h 84"/>
              <a:gd name="T2" fmla="*/ 93 w 96"/>
              <a:gd name="T3" fmla="*/ 1 h 84"/>
              <a:gd name="T4" fmla="*/ 48 w 96"/>
              <a:gd name="T5" fmla="*/ 45 h 84"/>
              <a:gd name="T6" fmla="*/ 3 w 96"/>
              <a:gd name="T7" fmla="*/ 1 h 84"/>
              <a:gd name="T8" fmla="*/ 1 w 96"/>
              <a:gd name="T9" fmla="*/ 0 h 84"/>
              <a:gd name="T10" fmla="*/ 0 w 96"/>
              <a:gd name="T11" fmla="*/ 2 h 84"/>
              <a:gd name="T12" fmla="*/ 0 w 96"/>
              <a:gd name="T13" fmla="*/ 36 h 84"/>
              <a:gd name="T14" fmla="*/ 1 w 96"/>
              <a:gd name="T15" fmla="*/ 38 h 84"/>
              <a:gd name="T16" fmla="*/ 47 w 96"/>
              <a:gd name="T17" fmla="*/ 83 h 84"/>
              <a:gd name="T18" fmla="*/ 48 w 96"/>
              <a:gd name="T19" fmla="*/ 84 h 84"/>
              <a:gd name="T20" fmla="*/ 49 w 96"/>
              <a:gd name="T21" fmla="*/ 83 h 84"/>
              <a:gd name="T22" fmla="*/ 95 w 96"/>
              <a:gd name="T23" fmla="*/ 38 h 84"/>
              <a:gd name="T24" fmla="*/ 96 w 96"/>
              <a:gd name="T25" fmla="*/ 36 h 84"/>
              <a:gd name="T26" fmla="*/ 96 w 96"/>
              <a:gd name="T27" fmla="*/ 2 h 84"/>
              <a:gd name="T28" fmla="*/ 95 w 96"/>
              <a:gd name="T29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84">
                <a:moveTo>
                  <a:pt x="95" y="0"/>
                </a:moveTo>
                <a:cubicBezTo>
                  <a:pt x="94" y="0"/>
                  <a:pt x="93" y="0"/>
                  <a:pt x="93" y="1"/>
                </a:cubicBezTo>
                <a:cubicBezTo>
                  <a:pt x="48" y="45"/>
                  <a:pt x="48" y="45"/>
                  <a:pt x="48" y="45"/>
                </a:cubicBezTo>
                <a:cubicBezTo>
                  <a:pt x="3" y="1"/>
                  <a:pt x="3" y="1"/>
                  <a:pt x="3" y="1"/>
                </a:cubicBezTo>
                <a:cubicBezTo>
                  <a:pt x="3" y="0"/>
                  <a:pt x="2" y="0"/>
                  <a:pt x="1" y="0"/>
                </a:cubicBezTo>
                <a:cubicBezTo>
                  <a:pt x="0" y="0"/>
                  <a:pt x="0" y="1"/>
                  <a:pt x="0" y="2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7"/>
                  <a:pt x="0" y="37"/>
                  <a:pt x="1" y="38"/>
                </a:cubicBezTo>
                <a:cubicBezTo>
                  <a:pt x="47" y="83"/>
                  <a:pt x="47" y="83"/>
                  <a:pt x="47" y="83"/>
                </a:cubicBezTo>
                <a:cubicBezTo>
                  <a:pt x="47" y="84"/>
                  <a:pt x="48" y="84"/>
                  <a:pt x="48" y="84"/>
                </a:cubicBezTo>
                <a:cubicBezTo>
                  <a:pt x="49" y="84"/>
                  <a:pt x="49" y="84"/>
                  <a:pt x="49" y="83"/>
                </a:cubicBezTo>
                <a:cubicBezTo>
                  <a:pt x="95" y="38"/>
                  <a:pt x="95" y="38"/>
                  <a:pt x="95" y="38"/>
                </a:cubicBezTo>
                <a:cubicBezTo>
                  <a:pt x="96" y="37"/>
                  <a:pt x="96" y="37"/>
                  <a:pt x="96" y="36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6" y="0"/>
                  <a:pt x="9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2" name="Rectangle: Single Corner Snipped 61">
            <a:extLst>
              <a:ext uri="{FF2B5EF4-FFF2-40B4-BE49-F238E27FC236}">
                <a16:creationId xmlns:a16="http://schemas.microsoft.com/office/drawing/2014/main" id="{DBC04B59-055E-4296-B91C-80754778839F}"/>
              </a:ext>
            </a:extLst>
          </p:cNvPr>
          <p:cNvSpPr/>
          <p:nvPr/>
        </p:nvSpPr>
        <p:spPr>
          <a:xfrm>
            <a:off x="5141686" y="4250093"/>
            <a:ext cx="486232" cy="486232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A8E116B-AA72-4177-ACDE-2E784895DE7D}"/>
              </a:ext>
            </a:extLst>
          </p:cNvPr>
          <p:cNvSpPr txBox="1"/>
          <p:nvPr/>
        </p:nvSpPr>
        <p:spPr>
          <a:xfrm>
            <a:off x="5141686" y="4954644"/>
            <a:ext cx="1866900" cy="12926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dirty="0">
                <a:cs typeface="Segoe UI Light" panose="020B050204020402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64" name="Freeform 28">
            <a:extLst>
              <a:ext uri="{FF2B5EF4-FFF2-40B4-BE49-F238E27FC236}">
                <a16:creationId xmlns:a16="http://schemas.microsoft.com/office/drawing/2014/main" id="{5DF15BBD-B1E1-4A6B-8D02-034C13D7E597}"/>
              </a:ext>
            </a:extLst>
          </p:cNvPr>
          <p:cNvSpPr>
            <a:spLocks/>
          </p:cNvSpPr>
          <p:nvPr/>
        </p:nvSpPr>
        <p:spPr bwMode="auto">
          <a:xfrm>
            <a:off x="5293466" y="4413139"/>
            <a:ext cx="182673" cy="160141"/>
          </a:xfrm>
          <a:custGeom>
            <a:avLst/>
            <a:gdLst>
              <a:gd name="T0" fmla="*/ 95 w 96"/>
              <a:gd name="T1" fmla="*/ 0 h 84"/>
              <a:gd name="T2" fmla="*/ 93 w 96"/>
              <a:gd name="T3" fmla="*/ 1 h 84"/>
              <a:gd name="T4" fmla="*/ 48 w 96"/>
              <a:gd name="T5" fmla="*/ 45 h 84"/>
              <a:gd name="T6" fmla="*/ 3 w 96"/>
              <a:gd name="T7" fmla="*/ 1 h 84"/>
              <a:gd name="T8" fmla="*/ 1 w 96"/>
              <a:gd name="T9" fmla="*/ 0 h 84"/>
              <a:gd name="T10" fmla="*/ 0 w 96"/>
              <a:gd name="T11" fmla="*/ 2 h 84"/>
              <a:gd name="T12" fmla="*/ 0 w 96"/>
              <a:gd name="T13" fmla="*/ 36 h 84"/>
              <a:gd name="T14" fmla="*/ 1 w 96"/>
              <a:gd name="T15" fmla="*/ 38 h 84"/>
              <a:gd name="T16" fmla="*/ 47 w 96"/>
              <a:gd name="T17" fmla="*/ 83 h 84"/>
              <a:gd name="T18" fmla="*/ 48 w 96"/>
              <a:gd name="T19" fmla="*/ 84 h 84"/>
              <a:gd name="T20" fmla="*/ 49 w 96"/>
              <a:gd name="T21" fmla="*/ 83 h 84"/>
              <a:gd name="T22" fmla="*/ 95 w 96"/>
              <a:gd name="T23" fmla="*/ 38 h 84"/>
              <a:gd name="T24" fmla="*/ 96 w 96"/>
              <a:gd name="T25" fmla="*/ 36 h 84"/>
              <a:gd name="T26" fmla="*/ 96 w 96"/>
              <a:gd name="T27" fmla="*/ 2 h 84"/>
              <a:gd name="T28" fmla="*/ 95 w 96"/>
              <a:gd name="T29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84">
                <a:moveTo>
                  <a:pt x="95" y="0"/>
                </a:moveTo>
                <a:cubicBezTo>
                  <a:pt x="94" y="0"/>
                  <a:pt x="93" y="0"/>
                  <a:pt x="93" y="1"/>
                </a:cubicBezTo>
                <a:cubicBezTo>
                  <a:pt x="48" y="45"/>
                  <a:pt x="48" y="45"/>
                  <a:pt x="48" y="45"/>
                </a:cubicBezTo>
                <a:cubicBezTo>
                  <a:pt x="3" y="1"/>
                  <a:pt x="3" y="1"/>
                  <a:pt x="3" y="1"/>
                </a:cubicBezTo>
                <a:cubicBezTo>
                  <a:pt x="3" y="0"/>
                  <a:pt x="2" y="0"/>
                  <a:pt x="1" y="0"/>
                </a:cubicBezTo>
                <a:cubicBezTo>
                  <a:pt x="0" y="0"/>
                  <a:pt x="0" y="1"/>
                  <a:pt x="0" y="2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7"/>
                  <a:pt x="0" y="37"/>
                  <a:pt x="1" y="38"/>
                </a:cubicBezTo>
                <a:cubicBezTo>
                  <a:pt x="47" y="83"/>
                  <a:pt x="47" y="83"/>
                  <a:pt x="47" y="83"/>
                </a:cubicBezTo>
                <a:cubicBezTo>
                  <a:pt x="47" y="84"/>
                  <a:pt x="48" y="84"/>
                  <a:pt x="48" y="84"/>
                </a:cubicBezTo>
                <a:cubicBezTo>
                  <a:pt x="49" y="84"/>
                  <a:pt x="49" y="84"/>
                  <a:pt x="49" y="83"/>
                </a:cubicBezTo>
                <a:cubicBezTo>
                  <a:pt x="95" y="38"/>
                  <a:pt x="95" y="38"/>
                  <a:pt x="95" y="38"/>
                </a:cubicBezTo>
                <a:cubicBezTo>
                  <a:pt x="96" y="37"/>
                  <a:pt x="96" y="37"/>
                  <a:pt x="96" y="36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6" y="0"/>
                  <a:pt x="9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6F9C64F-36A7-49CD-B68C-C288B3602F97}"/>
              </a:ext>
            </a:extLst>
          </p:cNvPr>
          <p:cNvCxnSpPr/>
          <p:nvPr/>
        </p:nvCxnSpPr>
        <p:spPr>
          <a:xfrm>
            <a:off x="1209675" y="4493209"/>
            <a:ext cx="16278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F99EC0A-47FB-4F08-BC00-EF368C60B007}"/>
              </a:ext>
            </a:extLst>
          </p:cNvPr>
          <p:cNvCxnSpPr/>
          <p:nvPr/>
        </p:nvCxnSpPr>
        <p:spPr>
          <a:xfrm>
            <a:off x="3513818" y="4493209"/>
            <a:ext cx="16278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B733DDA-9913-497C-AA79-78BC936D3185}"/>
              </a:ext>
            </a:extLst>
          </p:cNvPr>
          <p:cNvCxnSpPr/>
          <p:nvPr/>
        </p:nvCxnSpPr>
        <p:spPr>
          <a:xfrm>
            <a:off x="5817961" y="4493209"/>
            <a:ext cx="16278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34991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>
            <a:extLst>
              <a:ext uri="{FF2B5EF4-FFF2-40B4-BE49-F238E27FC236}">
                <a16:creationId xmlns:a16="http://schemas.microsoft.com/office/drawing/2014/main" id="{5517C826-C471-4169-9892-EEBF4B4D8645}"/>
              </a:ext>
            </a:extLst>
          </p:cNvPr>
          <p:cNvSpPr/>
          <p:nvPr/>
        </p:nvSpPr>
        <p:spPr>
          <a:xfrm>
            <a:off x="304800" y="1687232"/>
            <a:ext cx="5257344" cy="4275007"/>
          </a:xfrm>
          <a:prstGeom prst="rect">
            <a:avLst/>
          </a:prstGeom>
          <a:pattFill prst="lt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581D706E-E15A-45F0-9055-C455145F0A7C}"/>
              </a:ext>
            </a:extLst>
          </p:cNvPr>
          <p:cNvSpPr/>
          <p:nvPr/>
        </p:nvSpPr>
        <p:spPr>
          <a:xfrm>
            <a:off x="4942738" y="4063222"/>
            <a:ext cx="6101297" cy="711023"/>
          </a:xfrm>
          <a:prstGeom prst="roundRect">
            <a:avLst>
              <a:gd name="adj" fmla="val 50000"/>
            </a:avLst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228B89D6-D457-43D1-99F9-B86C5647AEB2}"/>
              </a:ext>
            </a:extLst>
          </p:cNvPr>
          <p:cNvSpPr/>
          <p:nvPr/>
        </p:nvSpPr>
        <p:spPr>
          <a:xfrm>
            <a:off x="4942738" y="5251216"/>
            <a:ext cx="6101297" cy="711023"/>
          </a:xfrm>
          <a:prstGeom prst="roundRect">
            <a:avLst>
              <a:gd name="adj" fmla="val 50000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16FB6B7-1CB4-4813-99A3-137C82BE19D1}"/>
              </a:ext>
            </a:extLst>
          </p:cNvPr>
          <p:cNvSpPr/>
          <p:nvPr/>
        </p:nvSpPr>
        <p:spPr>
          <a:xfrm>
            <a:off x="4942738" y="2875227"/>
            <a:ext cx="6101297" cy="71102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C50DE9D8-FD82-4684-9ED8-826B4EC01B44}"/>
              </a:ext>
            </a:extLst>
          </p:cNvPr>
          <p:cNvSpPr/>
          <p:nvPr/>
        </p:nvSpPr>
        <p:spPr>
          <a:xfrm>
            <a:off x="4942738" y="1687232"/>
            <a:ext cx="6101297" cy="711023"/>
          </a:xfrm>
          <a:prstGeom prst="roundRect">
            <a:avLst>
              <a:gd name="adj" fmla="val 50000"/>
            </a:avLst>
          </a:prstGeom>
          <a:solidFill>
            <a:srgbClr val="CE29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D0B643-7A91-4DF8-A7B1-B57A95B3E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39A793-F356-45AC-A556-47A0CCFA4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976851-FE21-4646-98F0-F5FC65E04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906FB1C6-A882-4BAA-8733-7662E3996CB6}"/>
              </a:ext>
            </a:extLst>
          </p:cNvPr>
          <p:cNvGraphicFramePr/>
          <p:nvPr/>
        </p:nvGraphicFramePr>
        <p:xfrm>
          <a:off x="749625" y="2041702"/>
          <a:ext cx="3781664" cy="3526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Oval 24">
            <a:extLst>
              <a:ext uri="{FF2B5EF4-FFF2-40B4-BE49-F238E27FC236}">
                <a16:creationId xmlns:a16="http://schemas.microsoft.com/office/drawing/2014/main" id="{A35CE616-64EE-4786-BC53-A3398F142D45}"/>
              </a:ext>
            </a:extLst>
          </p:cNvPr>
          <p:cNvSpPr/>
          <p:nvPr/>
        </p:nvSpPr>
        <p:spPr>
          <a:xfrm>
            <a:off x="1545852" y="2710558"/>
            <a:ext cx="2189210" cy="218921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27F1864-865B-4891-9C3E-7BF0471A84E3}"/>
              </a:ext>
            </a:extLst>
          </p:cNvPr>
          <p:cNvGrpSpPr/>
          <p:nvPr/>
        </p:nvGrpSpPr>
        <p:grpSpPr>
          <a:xfrm>
            <a:off x="2359912" y="3439851"/>
            <a:ext cx="561088" cy="730624"/>
            <a:chOff x="3209925" y="771525"/>
            <a:chExt cx="220663" cy="287338"/>
          </a:xfrm>
          <a:solidFill>
            <a:srgbClr val="CE295E"/>
          </a:solidFill>
        </p:grpSpPr>
        <p:sp>
          <p:nvSpPr>
            <p:cNvPr id="45" name="Freeform 328">
              <a:extLst>
                <a:ext uri="{FF2B5EF4-FFF2-40B4-BE49-F238E27FC236}">
                  <a16:creationId xmlns:a16="http://schemas.microsoft.com/office/drawing/2014/main" id="{D261CF85-222D-44D0-992F-119E9EC352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9925" y="771525"/>
              <a:ext cx="220663" cy="114300"/>
            </a:xfrm>
            <a:custGeom>
              <a:avLst/>
              <a:gdLst>
                <a:gd name="T0" fmla="*/ 601 w 692"/>
                <a:gd name="T1" fmla="*/ 265 h 361"/>
                <a:gd name="T2" fmla="*/ 595 w 692"/>
                <a:gd name="T3" fmla="*/ 281 h 361"/>
                <a:gd name="T4" fmla="*/ 582 w 692"/>
                <a:gd name="T5" fmla="*/ 294 h 361"/>
                <a:gd name="T6" fmla="*/ 566 w 692"/>
                <a:gd name="T7" fmla="*/ 300 h 361"/>
                <a:gd name="T8" fmla="*/ 136 w 692"/>
                <a:gd name="T9" fmla="*/ 301 h 361"/>
                <a:gd name="T10" fmla="*/ 118 w 692"/>
                <a:gd name="T11" fmla="*/ 297 h 361"/>
                <a:gd name="T12" fmla="*/ 104 w 692"/>
                <a:gd name="T13" fmla="*/ 287 h 361"/>
                <a:gd name="T14" fmla="*/ 94 w 692"/>
                <a:gd name="T15" fmla="*/ 274 h 361"/>
                <a:gd name="T16" fmla="*/ 91 w 692"/>
                <a:gd name="T17" fmla="*/ 256 h 361"/>
                <a:gd name="T18" fmla="*/ 91 w 692"/>
                <a:gd name="T19" fmla="*/ 127 h 361"/>
                <a:gd name="T20" fmla="*/ 98 w 692"/>
                <a:gd name="T21" fmla="*/ 110 h 361"/>
                <a:gd name="T22" fmla="*/ 110 w 692"/>
                <a:gd name="T23" fmla="*/ 98 h 361"/>
                <a:gd name="T24" fmla="*/ 126 w 692"/>
                <a:gd name="T25" fmla="*/ 91 h 361"/>
                <a:gd name="T26" fmla="*/ 557 w 692"/>
                <a:gd name="T27" fmla="*/ 90 h 361"/>
                <a:gd name="T28" fmla="*/ 575 w 692"/>
                <a:gd name="T29" fmla="*/ 94 h 361"/>
                <a:gd name="T30" fmla="*/ 588 w 692"/>
                <a:gd name="T31" fmla="*/ 104 h 361"/>
                <a:gd name="T32" fmla="*/ 598 w 692"/>
                <a:gd name="T33" fmla="*/ 118 h 361"/>
                <a:gd name="T34" fmla="*/ 602 w 692"/>
                <a:gd name="T35" fmla="*/ 135 h 361"/>
                <a:gd name="T36" fmla="*/ 602 w 692"/>
                <a:gd name="T37" fmla="*/ 0 h 361"/>
                <a:gd name="T38" fmla="*/ 81 w 692"/>
                <a:gd name="T39" fmla="*/ 0 h 361"/>
                <a:gd name="T40" fmla="*/ 64 w 692"/>
                <a:gd name="T41" fmla="*/ 4 h 361"/>
                <a:gd name="T42" fmla="*/ 47 w 692"/>
                <a:gd name="T43" fmla="*/ 11 h 361"/>
                <a:gd name="T44" fmla="*/ 33 w 692"/>
                <a:gd name="T45" fmla="*/ 20 h 361"/>
                <a:gd name="T46" fmla="*/ 21 w 692"/>
                <a:gd name="T47" fmla="*/ 33 h 361"/>
                <a:gd name="T48" fmla="*/ 11 w 692"/>
                <a:gd name="T49" fmla="*/ 47 h 361"/>
                <a:gd name="T50" fmla="*/ 4 w 692"/>
                <a:gd name="T51" fmla="*/ 63 h 361"/>
                <a:gd name="T52" fmla="*/ 1 w 692"/>
                <a:gd name="T53" fmla="*/ 82 h 361"/>
                <a:gd name="T54" fmla="*/ 0 w 692"/>
                <a:gd name="T55" fmla="*/ 361 h 361"/>
                <a:gd name="T56" fmla="*/ 692 w 692"/>
                <a:gd name="T57" fmla="*/ 90 h 361"/>
                <a:gd name="T58" fmla="*/ 690 w 692"/>
                <a:gd name="T59" fmla="*/ 72 h 361"/>
                <a:gd name="T60" fmla="*/ 685 w 692"/>
                <a:gd name="T61" fmla="*/ 55 h 361"/>
                <a:gd name="T62" fmla="*/ 677 w 692"/>
                <a:gd name="T63" fmla="*/ 40 h 361"/>
                <a:gd name="T64" fmla="*/ 666 w 692"/>
                <a:gd name="T65" fmla="*/ 27 h 361"/>
                <a:gd name="T66" fmla="*/ 653 w 692"/>
                <a:gd name="T67" fmla="*/ 15 h 361"/>
                <a:gd name="T68" fmla="*/ 637 w 692"/>
                <a:gd name="T69" fmla="*/ 8 h 361"/>
                <a:gd name="T70" fmla="*/ 621 w 692"/>
                <a:gd name="T71" fmla="*/ 2 h 361"/>
                <a:gd name="T72" fmla="*/ 602 w 692"/>
                <a:gd name="T73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2" h="361">
                  <a:moveTo>
                    <a:pt x="602" y="256"/>
                  </a:moveTo>
                  <a:lnTo>
                    <a:pt x="601" y="265"/>
                  </a:lnTo>
                  <a:lnTo>
                    <a:pt x="598" y="274"/>
                  </a:lnTo>
                  <a:lnTo>
                    <a:pt x="595" y="281"/>
                  </a:lnTo>
                  <a:lnTo>
                    <a:pt x="588" y="287"/>
                  </a:lnTo>
                  <a:lnTo>
                    <a:pt x="582" y="294"/>
                  </a:lnTo>
                  <a:lnTo>
                    <a:pt x="575" y="297"/>
                  </a:lnTo>
                  <a:lnTo>
                    <a:pt x="566" y="300"/>
                  </a:lnTo>
                  <a:lnTo>
                    <a:pt x="557" y="301"/>
                  </a:lnTo>
                  <a:lnTo>
                    <a:pt x="136" y="301"/>
                  </a:lnTo>
                  <a:lnTo>
                    <a:pt x="126" y="300"/>
                  </a:lnTo>
                  <a:lnTo>
                    <a:pt x="118" y="297"/>
                  </a:lnTo>
                  <a:lnTo>
                    <a:pt x="110" y="294"/>
                  </a:lnTo>
                  <a:lnTo>
                    <a:pt x="104" y="287"/>
                  </a:lnTo>
                  <a:lnTo>
                    <a:pt x="98" y="281"/>
                  </a:lnTo>
                  <a:lnTo>
                    <a:pt x="94" y="274"/>
                  </a:lnTo>
                  <a:lnTo>
                    <a:pt x="91" y="265"/>
                  </a:lnTo>
                  <a:lnTo>
                    <a:pt x="91" y="256"/>
                  </a:lnTo>
                  <a:lnTo>
                    <a:pt x="91" y="135"/>
                  </a:lnTo>
                  <a:lnTo>
                    <a:pt x="91" y="127"/>
                  </a:lnTo>
                  <a:lnTo>
                    <a:pt x="94" y="118"/>
                  </a:lnTo>
                  <a:lnTo>
                    <a:pt x="98" y="110"/>
                  </a:lnTo>
                  <a:lnTo>
                    <a:pt x="104" y="104"/>
                  </a:lnTo>
                  <a:lnTo>
                    <a:pt x="110" y="98"/>
                  </a:lnTo>
                  <a:lnTo>
                    <a:pt x="118" y="94"/>
                  </a:lnTo>
                  <a:lnTo>
                    <a:pt x="126" y="91"/>
                  </a:lnTo>
                  <a:lnTo>
                    <a:pt x="136" y="90"/>
                  </a:lnTo>
                  <a:lnTo>
                    <a:pt x="557" y="90"/>
                  </a:lnTo>
                  <a:lnTo>
                    <a:pt x="566" y="91"/>
                  </a:lnTo>
                  <a:lnTo>
                    <a:pt x="575" y="94"/>
                  </a:lnTo>
                  <a:lnTo>
                    <a:pt x="582" y="98"/>
                  </a:lnTo>
                  <a:lnTo>
                    <a:pt x="588" y="104"/>
                  </a:lnTo>
                  <a:lnTo>
                    <a:pt x="595" y="110"/>
                  </a:lnTo>
                  <a:lnTo>
                    <a:pt x="598" y="118"/>
                  </a:lnTo>
                  <a:lnTo>
                    <a:pt x="601" y="127"/>
                  </a:lnTo>
                  <a:lnTo>
                    <a:pt x="602" y="135"/>
                  </a:lnTo>
                  <a:lnTo>
                    <a:pt x="602" y="256"/>
                  </a:lnTo>
                  <a:close/>
                  <a:moveTo>
                    <a:pt x="602" y="0"/>
                  </a:moveTo>
                  <a:lnTo>
                    <a:pt x="91" y="0"/>
                  </a:lnTo>
                  <a:lnTo>
                    <a:pt x="81" y="0"/>
                  </a:lnTo>
                  <a:lnTo>
                    <a:pt x="73" y="2"/>
                  </a:lnTo>
                  <a:lnTo>
                    <a:pt x="64" y="4"/>
                  </a:lnTo>
                  <a:lnTo>
                    <a:pt x="55" y="8"/>
                  </a:lnTo>
                  <a:lnTo>
                    <a:pt x="47" y="11"/>
                  </a:lnTo>
                  <a:lnTo>
                    <a:pt x="39" y="15"/>
                  </a:lnTo>
                  <a:lnTo>
                    <a:pt x="33" y="20"/>
                  </a:lnTo>
                  <a:lnTo>
                    <a:pt x="26" y="27"/>
                  </a:lnTo>
                  <a:lnTo>
                    <a:pt x="21" y="33"/>
                  </a:lnTo>
                  <a:lnTo>
                    <a:pt x="16" y="40"/>
                  </a:lnTo>
                  <a:lnTo>
                    <a:pt x="11" y="47"/>
                  </a:lnTo>
                  <a:lnTo>
                    <a:pt x="7" y="56"/>
                  </a:lnTo>
                  <a:lnTo>
                    <a:pt x="4" y="63"/>
                  </a:lnTo>
                  <a:lnTo>
                    <a:pt x="2" y="72"/>
                  </a:lnTo>
                  <a:lnTo>
                    <a:pt x="1" y="82"/>
                  </a:lnTo>
                  <a:lnTo>
                    <a:pt x="0" y="90"/>
                  </a:lnTo>
                  <a:lnTo>
                    <a:pt x="0" y="361"/>
                  </a:lnTo>
                  <a:lnTo>
                    <a:pt x="692" y="361"/>
                  </a:lnTo>
                  <a:lnTo>
                    <a:pt x="692" y="90"/>
                  </a:lnTo>
                  <a:lnTo>
                    <a:pt x="692" y="82"/>
                  </a:lnTo>
                  <a:lnTo>
                    <a:pt x="690" y="72"/>
                  </a:lnTo>
                  <a:lnTo>
                    <a:pt x="688" y="63"/>
                  </a:lnTo>
                  <a:lnTo>
                    <a:pt x="685" y="55"/>
                  </a:lnTo>
                  <a:lnTo>
                    <a:pt x="682" y="47"/>
                  </a:lnTo>
                  <a:lnTo>
                    <a:pt x="677" y="40"/>
                  </a:lnTo>
                  <a:lnTo>
                    <a:pt x="672" y="33"/>
                  </a:lnTo>
                  <a:lnTo>
                    <a:pt x="666" y="27"/>
                  </a:lnTo>
                  <a:lnTo>
                    <a:pt x="659" y="20"/>
                  </a:lnTo>
                  <a:lnTo>
                    <a:pt x="653" y="15"/>
                  </a:lnTo>
                  <a:lnTo>
                    <a:pt x="645" y="11"/>
                  </a:lnTo>
                  <a:lnTo>
                    <a:pt x="637" y="8"/>
                  </a:lnTo>
                  <a:lnTo>
                    <a:pt x="629" y="4"/>
                  </a:lnTo>
                  <a:lnTo>
                    <a:pt x="621" y="2"/>
                  </a:lnTo>
                  <a:lnTo>
                    <a:pt x="611" y="1"/>
                  </a:lnTo>
                  <a:lnTo>
                    <a:pt x="602" y="0"/>
                  </a:lnTo>
                  <a:lnTo>
                    <a:pt x="6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29">
              <a:extLst>
                <a:ext uri="{FF2B5EF4-FFF2-40B4-BE49-F238E27FC236}">
                  <a16:creationId xmlns:a16="http://schemas.microsoft.com/office/drawing/2014/main" id="{DE5C7B59-7E69-44D1-9A00-FDC34E2AD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9925" y="895350"/>
              <a:ext cx="106363" cy="66675"/>
            </a:xfrm>
            <a:custGeom>
              <a:avLst/>
              <a:gdLst>
                <a:gd name="T0" fmla="*/ 151 w 331"/>
                <a:gd name="T1" fmla="*/ 90 h 210"/>
                <a:gd name="T2" fmla="*/ 151 w 331"/>
                <a:gd name="T3" fmla="*/ 41 h 210"/>
                <a:gd name="T4" fmla="*/ 153 w 331"/>
                <a:gd name="T5" fmla="*/ 36 h 210"/>
                <a:gd name="T6" fmla="*/ 157 w 331"/>
                <a:gd name="T7" fmla="*/ 32 h 210"/>
                <a:gd name="T8" fmla="*/ 163 w 331"/>
                <a:gd name="T9" fmla="*/ 30 h 210"/>
                <a:gd name="T10" fmla="*/ 169 w 331"/>
                <a:gd name="T11" fmla="*/ 30 h 210"/>
                <a:gd name="T12" fmla="*/ 174 w 331"/>
                <a:gd name="T13" fmla="*/ 32 h 210"/>
                <a:gd name="T14" fmla="*/ 178 w 331"/>
                <a:gd name="T15" fmla="*/ 36 h 210"/>
                <a:gd name="T16" fmla="*/ 180 w 331"/>
                <a:gd name="T17" fmla="*/ 41 h 210"/>
                <a:gd name="T18" fmla="*/ 181 w 331"/>
                <a:gd name="T19" fmla="*/ 90 h 210"/>
                <a:gd name="T20" fmla="*/ 229 w 331"/>
                <a:gd name="T21" fmla="*/ 90 h 210"/>
                <a:gd name="T22" fmla="*/ 235 w 331"/>
                <a:gd name="T23" fmla="*/ 93 h 210"/>
                <a:gd name="T24" fmla="*/ 238 w 331"/>
                <a:gd name="T25" fmla="*/ 96 h 210"/>
                <a:gd name="T26" fmla="*/ 241 w 331"/>
                <a:gd name="T27" fmla="*/ 101 h 210"/>
                <a:gd name="T28" fmla="*/ 241 w 331"/>
                <a:gd name="T29" fmla="*/ 108 h 210"/>
                <a:gd name="T30" fmla="*/ 238 w 331"/>
                <a:gd name="T31" fmla="*/ 113 h 210"/>
                <a:gd name="T32" fmla="*/ 235 w 331"/>
                <a:gd name="T33" fmla="*/ 118 h 210"/>
                <a:gd name="T34" fmla="*/ 229 w 331"/>
                <a:gd name="T35" fmla="*/ 120 h 210"/>
                <a:gd name="T36" fmla="*/ 181 w 331"/>
                <a:gd name="T37" fmla="*/ 120 h 210"/>
                <a:gd name="T38" fmla="*/ 180 w 331"/>
                <a:gd name="T39" fmla="*/ 168 h 210"/>
                <a:gd name="T40" fmla="*/ 178 w 331"/>
                <a:gd name="T41" fmla="*/ 173 h 210"/>
                <a:gd name="T42" fmla="*/ 174 w 331"/>
                <a:gd name="T43" fmla="*/ 178 h 210"/>
                <a:gd name="T44" fmla="*/ 169 w 331"/>
                <a:gd name="T45" fmla="*/ 180 h 210"/>
                <a:gd name="T46" fmla="*/ 163 w 331"/>
                <a:gd name="T47" fmla="*/ 180 h 210"/>
                <a:gd name="T48" fmla="*/ 157 w 331"/>
                <a:gd name="T49" fmla="*/ 178 h 210"/>
                <a:gd name="T50" fmla="*/ 153 w 331"/>
                <a:gd name="T51" fmla="*/ 173 h 210"/>
                <a:gd name="T52" fmla="*/ 151 w 331"/>
                <a:gd name="T53" fmla="*/ 168 h 210"/>
                <a:gd name="T54" fmla="*/ 151 w 331"/>
                <a:gd name="T55" fmla="*/ 120 h 210"/>
                <a:gd name="T56" fmla="*/ 103 w 331"/>
                <a:gd name="T57" fmla="*/ 120 h 210"/>
                <a:gd name="T58" fmla="*/ 97 w 331"/>
                <a:gd name="T59" fmla="*/ 118 h 210"/>
                <a:gd name="T60" fmla="*/ 93 w 331"/>
                <a:gd name="T61" fmla="*/ 113 h 210"/>
                <a:gd name="T62" fmla="*/ 91 w 331"/>
                <a:gd name="T63" fmla="*/ 108 h 210"/>
                <a:gd name="T64" fmla="*/ 91 w 331"/>
                <a:gd name="T65" fmla="*/ 101 h 210"/>
                <a:gd name="T66" fmla="*/ 93 w 331"/>
                <a:gd name="T67" fmla="*/ 96 h 210"/>
                <a:gd name="T68" fmla="*/ 97 w 331"/>
                <a:gd name="T69" fmla="*/ 93 h 210"/>
                <a:gd name="T70" fmla="*/ 103 w 331"/>
                <a:gd name="T71" fmla="*/ 90 h 210"/>
                <a:gd name="T72" fmla="*/ 0 w 331"/>
                <a:gd name="T73" fmla="*/ 210 h 210"/>
                <a:gd name="T74" fmla="*/ 331 w 331"/>
                <a:gd name="T75" fmla="*/ 0 h 210"/>
                <a:gd name="T76" fmla="*/ 0 w 331"/>
                <a:gd name="T77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1" h="210">
                  <a:moveTo>
                    <a:pt x="106" y="90"/>
                  </a:moveTo>
                  <a:lnTo>
                    <a:pt x="151" y="90"/>
                  </a:lnTo>
                  <a:lnTo>
                    <a:pt x="151" y="45"/>
                  </a:lnTo>
                  <a:lnTo>
                    <a:pt x="151" y="41"/>
                  </a:lnTo>
                  <a:lnTo>
                    <a:pt x="152" y="39"/>
                  </a:lnTo>
                  <a:lnTo>
                    <a:pt x="153" y="36"/>
                  </a:lnTo>
                  <a:lnTo>
                    <a:pt x="155" y="34"/>
                  </a:lnTo>
                  <a:lnTo>
                    <a:pt x="157" y="32"/>
                  </a:lnTo>
                  <a:lnTo>
                    <a:pt x="159" y="31"/>
                  </a:lnTo>
                  <a:lnTo>
                    <a:pt x="163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1" y="31"/>
                  </a:lnTo>
                  <a:lnTo>
                    <a:pt x="174" y="32"/>
                  </a:lnTo>
                  <a:lnTo>
                    <a:pt x="177" y="34"/>
                  </a:lnTo>
                  <a:lnTo>
                    <a:pt x="178" y="36"/>
                  </a:lnTo>
                  <a:lnTo>
                    <a:pt x="180" y="39"/>
                  </a:lnTo>
                  <a:lnTo>
                    <a:pt x="180" y="41"/>
                  </a:lnTo>
                  <a:lnTo>
                    <a:pt x="181" y="45"/>
                  </a:lnTo>
                  <a:lnTo>
                    <a:pt x="181" y="90"/>
                  </a:lnTo>
                  <a:lnTo>
                    <a:pt x="226" y="90"/>
                  </a:lnTo>
                  <a:lnTo>
                    <a:pt x="229" y="90"/>
                  </a:lnTo>
                  <a:lnTo>
                    <a:pt x="231" y="91"/>
                  </a:lnTo>
                  <a:lnTo>
                    <a:pt x="235" y="93"/>
                  </a:lnTo>
                  <a:lnTo>
                    <a:pt x="237" y="94"/>
                  </a:lnTo>
                  <a:lnTo>
                    <a:pt x="238" y="96"/>
                  </a:lnTo>
                  <a:lnTo>
                    <a:pt x="240" y="99"/>
                  </a:lnTo>
                  <a:lnTo>
                    <a:pt x="241" y="101"/>
                  </a:lnTo>
                  <a:lnTo>
                    <a:pt x="241" y="105"/>
                  </a:lnTo>
                  <a:lnTo>
                    <a:pt x="241" y="108"/>
                  </a:lnTo>
                  <a:lnTo>
                    <a:pt x="240" y="111"/>
                  </a:lnTo>
                  <a:lnTo>
                    <a:pt x="238" y="113"/>
                  </a:lnTo>
                  <a:lnTo>
                    <a:pt x="237" y="115"/>
                  </a:lnTo>
                  <a:lnTo>
                    <a:pt x="235" y="118"/>
                  </a:lnTo>
                  <a:lnTo>
                    <a:pt x="231" y="119"/>
                  </a:lnTo>
                  <a:lnTo>
                    <a:pt x="229" y="120"/>
                  </a:lnTo>
                  <a:lnTo>
                    <a:pt x="226" y="120"/>
                  </a:lnTo>
                  <a:lnTo>
                    <a:pt x="181" y="120"/>
                  </a:lnTo>
                  <a:lnTo>
                    <a:pt x="181" y="165"/>
                  </a:lnTo>
                  <a:lnTo>
                    <a:pt x="180" y="168"/>
                  </a:lnTo>
                  <a:lnTo>
                    <a:pt x="180" y="171"/>
                  </a:lnTo>
                  <a:lnTo>
                    <a:pt x="178" y="173"/>
                  </a:lnTo>
                  <a:lnTo>
                    <a:pt x="177" y="175"/>
                  </a:lnTo>
                  <a:lnTo>
                    <a:pt x="174" y="178"/>
                  </a:lnTo>
                  <a:lnTo>
                    <a:pt x="171" y="179"/>
                  </a:lnTo>
                  <a:lnTo>
                    <a:pt x="169" y="180"/>
                  </a:lnTo>
                  <a:lnTo>
                    <a:pt x="166" y="180"/>
                  </a:lnTo>
                  <a:lnTo>
                    <a:pt x="163" y="180"/>
                  </a:lnTo>
                  <a:lnTo>
                    <a:pt x="159" y="179"/>
                  </a:lnTo>
                  <a:lnTo>
                    <a:pt x="157" y="178"/>
                  </a:lnTo>
                  <a:lnTo>
                    <a:pt x="155" y="175"/>
                  </a:lnTo>
                  <a:lnTo>
                    <a:pt x="153" y="173"/>
                  </a:lnTo>
                  <a:lnTo>
                    <a:pt x="152" y="171"/>
                  </a:lnTo>
                  <a:lnTo>
                    <a:pt x="151" y="168"/>
                  </a:lnTo>
                  <a:lnTo>
                    <a:pt x="151" y="165"/>
                  </a:lnTo>
                  <a:lnTo>
                    <a:pt x="151" y="120"/>
                  </a:lnTo>
                  <a:lnTo>
                    <a:pt x="106" y="120"/>
                  </a:lnTo>
                  <a:lnTo>
                    <a:pt x="103" y="120"/>
                  </a:lnTo>
                  <a:lnTo>
                    <a:pt x="99" y="119"/>
                  </a:lnTo>
                  <a:lnTo>
                    <a:pt x="97" y="118"/>
                  </a:lnTo>
                  <a:lnTo>
                    <a:pt x="95" y="115"/>
                  </a:lnTo>
                  <a:lnTo>
                    <a:pt x="93" y="113"/>
                  </a:lnTo>
                  <a:lnTo>
                    <a:pt x="92" y="111"/>
                  </a:lnTo>
                  <a:lnTo>
                    <a:pt x="91" y="108"/>
                  </a:lnTo>
                  <a:lnTo>
                    <a:pt x="91" y="105"/>
                  </a:lnTo>
                  <a:lnTo>
                    <a:pt x="91" y="101"/>
                  </a:lnTo>
                  <a:lnTo>
                    <a:pt x="92" y="99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3"/>
                  </a:lnTo>
                  <a:lnTo>
                    <a:pt x="99" y="91"/>
                  </a:lnTo>
                  <a:lnTo>
                    <a:pt x="103" y="90"/>
                  </a:lnTo>
                  <a:lnTo>
                    <a:pt x="106" y="90"/>
                  </a:lnTo>
                  <a:close/>
                  <a:moveTo>
                    <a:pt x="0" y="210"/>
                  </a:moveTo>
                  <a:lnTo>
                    <a:pt x="331" y="210"/>
                  </a:lnTo>
                  <a:lnTo>
                    <a:pt x="331" y="0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30">
              <a:extLst>
                <a:ext uri="{FF2B5EF4-FFF2-40B4-BE49-F238E27FC236}">
                  <a16:creationId xmlns:a16="http://schemas.microsoft.com/office/drawing/2014/main" id="{637193CD-D0BB-4BC3-92D6-B3448F4EA9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5813" y="895350"/>
              <a:ext cx="104775" cy="66675"/>
            </a:xfrm>
            <a:custGeom>
              <a:avLst/>
              <a:gdLst>
                <a:gd name="T0" fmla="*/ 90 w 331"/>
                <a:gd name="T1" fmla="*/ 90 h 210"/>
                <a:gd name="T2" fmla="*/ 211 w 331"/>
                <a:gd name="T3" fmla="*/ 90 h 210"/>
                <a:gd name="T4" fmla="*/ 214 w 331"/>
                <a:gd name="T5" fmla="*/ 90 h 210"/>
                <a:gd name="T6" fmla="*/ 217 w 331"/>
                <a:gd name="T7" fmla="*/ 91 h 210"/>
                <a:gd name="T8" fmla="*/ 220 w 331"/>
                <a:gd name="T9" fmla="*/ 93 h 210"/>
                <a:gd name="T10" fmla="*/ 222 w 331"/>
                <a:gd name="T11" fmla="*/ 94 h 210"/>
                <a:gd name="T12" fmla="*/ 223 w 331"/>
                <a:gd name="T13" fmla="*/ 96 h 210"/>
                <a:gd name="T14" fmla="*/ 225 w 331"/>
                <a:gd name="T15" fmla="*/ 99 h 210"/>
                <a:gd name="T16" fmla="*/ 225 w 331"/>
                <a:gd name="T17" fmla="*/ 101 h 210"/>
                <a:gd name="T18" fmla="*/ 226 w 331"/>
                <a:gd name="T19" fmla="*/ 105 h 210"/>
                <a:gd name="T20" fmla="*/ 225 w 331"/>
                <a:gd name="T21" fmla="*/ 108 h 210"/>
                <a:gd name="T22" fmla="*/ 225 w 331"/>
                <a:gd name="T23" fmla="*/ 111 h 210"/>
                <a:gd name="T24" fmla="*/ 223 w 331"/>
                <a:gd name="T25" fmla="*/ 113 h 210"/>
                <a:gd name="T26" fmla="*/ 222 w 331"/>
                <a:gd name="T27" fmla="*/ 115 h 210"/>
                <a:gd name="T28" fmla="*/ 219 w 331"/>
                <a:gd name="T29" fmla="*/ 118 h 210"/>
                <a:gd name="T30" fmla="*/ 217 w 331"/>
                <a:gd name="T31" fmla="*/ 119 h 210"/>
                <a:gd name="T32" fmla="*/ 214 w 331"/>
                <a:gd name="T33" fmla="*/ 120 h 210"/>
                <a:gd name="T34" fmla="*/ 211 w 331"/>
                <a:gd name="T35" fmla="*/ 120 h 210"/>
                <a:gd name="T36" fmla="*/ 90 w 331"/>
                <a:gd name="T37" fmla="*/ 120 h 210"/>
                <a:gd name="T38" fmla="*/ 88 w 331"/>
                <a:gd name="T39" fmla="*/ 120 h 210"/>
                <a:gd name="T40" fmla="*/ 85 w 331"/>
                <a:gd name="T41" fmla="*/ 119 h 210"/>
                <a:gd name="T42" fmla="*/ 83 w 331"/>
                <a:gd name="T43" fmla="*/ 118 h 210"/>
                <a:gd name="T44" fmla="*/ 79 w 331"/>
                <a:gd name="T45" fmla="*/ 115 h 210"/>
                <a:gd name="T46" fmla="*/ 78 w 331"/>
                <a:gd name="T47" fmla="*/ 113 h 210"/>
                <a:gd name="T48" fmla="*/ 76 w 331"/>
                <a:gd name="T49" fmla="*/ 111 h 210"/>
                <a:gd name="T50" fmla="*/ 76 w 331"/>
                <a:gd name="T51" fmla="*/ 108 h 210"/>
                <a:gd name="T52" fmla="*/ 75 w 331"/>
                <a:gd name="T53" fmla="*/ 105 h 210"/>
                <a:gd name="T54" fmla="*/ 76 w 331"/>
                <a:gd name="T55" fmla="*/ 101 h 210"/>
                <a:gd name="T56" fmla="*/ 76 w 331"/>
                <a:gd name="T57" fmla="*/ 99 h 210"/>
                <a:gd name="T58" fmla="*/ 78 w 331"/>
                <a:gd name="T59" fmla="*/ 96 h 210"/>
                <a:gd name="T60" fmla="*/ 79 w 331"/>
                <a:gd name="T61" fmla="*/ 94 h 210"/>
                <a:gd name="T62" fmla="*/ 83 w 331"/>
                <a:gd name="T63" fmla="*/ 93 h 210"/>
                <a:gd name="T64" fmla="*/ 85 w 331"/>
                <a:gd name="T65" fmla="*/ 91 h 210"/>
                <a:gd name="T66" fmla="*/ 88 w 331"/>
                <a:gd name="T67" fmla="*/ 90 h 210"/>
                <a:gd name="T68" fmla="*/ 90 w 331"/>
                <a:gd name="T69" fmla="*/ 90 h 210"/>
                <a:gd name="T70" fmla="*/ 0 w 331"/>
                <a:gd name="T71" fmla="*/ 210 h 210"/>
                <a:gd name="T72" fmla="*/ 331 w 331"/>
                <a:gd name="T73" fmla="*/ 210 h 210"/>
                <a:gd name="T74" fmla="*/ 331 w 331"/>
                <a:gd name="T75" fmla="*/ 0 h 210"/>
                <a:gd name="T76" fmla="*/ 0 w 331"/>
                <a:gd name="T77" fmla="*/ 0 h 210"/>
                <a:gd name="T78" fmla="*/ 0 w 331"/>
                <a:gd name="T79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1" h="210">
                  <a:moveTo>
                    <a:pt x="90" y="90"/>
                  </a:moveTo>
                  <a:lnTo>
                    <a:pt x="211" y="90"/>
                  </a:lnTo>
                  <a:lnTo>
                    <a:pt x="214" y="90"/>
                  </a:lnTo>
                  <a:lnTo>
                    <a:pt x="217" y="91"/>
                  </a:lnTo>
                  <a:lnTo>
                    <a:pt x="220" y="93"/>
                  </a:lnTo>
                  <a:lnTo>
                    <a:pt x="222" y="94"/>
                  </a:lnTo>
                  <a:lnTo>
                    <a:pt x="223" y="96"/>
                  </a:lnTo>
                  <a:lnTo>
                    <a:pt x="225" y="99"/>
                  </a:lnTo>
                  <a:lnTo>
                    <a:pt x="225" y="101"/>
                  </a:lnTo>
                  <a:lnTo>
                    <a:pt x="226" y="105"/>
                  </a:lnTo>
                  <a:lnTo>
                    <a:pt x="225" y="108"/>
                  </a:lnTo>
                  <a:lnTo>
                    <a:pt x="225" y="111"/>
                  </a:lnTo>
                  <a:lnTo>
                    <a:pt x="223" y="113"/>
                  </a:lnTo>
                  <a:lnTo>
                    <a:pt x="222" y="115"/>
                  </a:lnTo>
                  <a:lnTo>
                    <a:pt x="219" y="118"/>
                  </a:lnTo>
                  <a:lnTo>
                    <a:pt x="217" y="119"/>
                  </a:lnTo>
                  <a:lnTo>
                    <a:pt x="214" y="120"/>
                  </a:lnTo>
                  <a:lnTo>
                    <a:pt x="211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5" y="119"/>
                  </a:lnTo>
                  <a:lnTo>
                    <a:pt x="83" y="118"/>
                  </a:lnTo>
                  <a:lnTo>
                    <a:pt x="79" y="115"/>
                  </a:lnTo>
                  <a:lnTo>
                    <a:pt x="78" y="113"/>
                  </a:lnTo>
                  <a:lnTo>
                    <a:pt x="76" y="111"/>
                  </a:lnTo>
                  <a:lnTo>
                    <a:pt x="76" y="108"/>
                  </a:lnTo>
                  <a:lnTo>
                    <a:pt x="75" y="105"/>
                  </a:lnTo>
                  <a:lnTo>
                    <a:pt x="76" y="101"/>
                  </a:lnTo>
                  <a:lnTo>
                    <a:pt x="76" y="99"/>
                  </a:lnTo>
                  <a:lnTo>
                    <a:pt x="78" y="96"/>
                  </a:lnTo>
                  <a:lnTo>
                    <a:pt x="79" y="94"/>
                  </a:lnTo>
                  <a:lnTo>
                    <a:pt x="83" y="93"/>
                  </a:lnTo>
                  <a:lnTo>
                    <a:pt x="85" y="91"/>
                  </a:lnTo>
                  <a:lnTo>
                    <a:pt x="88" y="90"/>
                  </a:lnTo>
                  <a:lnTo>
                    <a:pt x="90" y="90"/>
                  </a:lnTo>
                  <a:close/>
                  <a:moveTo>
                    <a:pt x="0" y="210"/>
                  </a:moveTo>
                  <a:lnTo>
                    <a:pt x="331" y="210"/>
                  </a:lnTo>
                  <a:lnTo>
                    <a:pt x="331" y="0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31">
              <a:extLst>
                <a:ext uri="{FF2B5EF4-FFF2-40B4-BE49-F238E27FC236}">
                  <a16:creationId xmlns:a16="http://schemas.microsoft.com/office/drawing/2014/main" id="{1CC41827-08BC-489A-802F-D54EB4E3D7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9925" y="973138"/>
              <a:ext cx="106363" cy="85725"/>
            </a:xfrm>
            <a:custGeom>
              <a:avLst/>
              <a:gdLst>
                <a:gd name="T0" fmla="*/ 108 w 331"/>
                <a:gd name="T1" fmla="*/ 82 h 270"/>
                <a:gd name="T2" fmla="*/ 106 w 331"/>
                <a:gd name="T3" fmla="*/ 77 h 270"/>
                <a:gd name="T4" fmla="*/ 106 w 331"/>
                <a:gd name="T5" fmla="*/ 72 h 270"/>
                <a:gd name="T6" fmla="*/ 108 w 331"/>
                <a:gd name="T7" fmla="*/ 66 h 270"/>
                <a:gd name="T8" fmla="*/ 112 w 331"/>
                <a:gd name="T9" fmla="*/ 62 h 270"/>
                <a:gd name="T10" fmla="*/ 118 w 331"/>
                <a:gd name="T11" fmla="*/ 60 h 270"/>
                <a:gd name="T12" fmla="*/ 123 w 331"/>
                <a:gd name="T13" fmla="*/ 60 h 270"/>
                <a:gd name="T14" fmla="*/ 128 w 331"/>
                <a:gd name="T15" fmla="*/ 62 h 270"/>
                <a:gd name="T16" fmla="*/ 166 w 331"/>
                <a:gd name="T17" fmla="*/ 99 h 270"/>
                <a:gd name="T18" fmla="*/ 202 w 331"/>
                <a:gd name="T19" fmla="*/ 62 h 270"/>
                <a:gd name="T20" fmla="*/ 208 w 331"/>
                <a:gd name="T21" fmla="*/ 60 h 270"/>
                <a:gd name="T22" fmla="*/ 214 w 331"/>
                <a:gd name="T23" fmla="*/ 60 h 270"/>
                <a:gd name="T24" fmla="*/ 220 w 331"/>
                <a:gd name="T25" fmla="*/ 62 h 270"/>
                <a:gd name="T26" fmla="*/ 224 w 331"/>
                <a:gd name="T27" fmla="*/ 66 h 270"/>
                <a:gd name="T28" fmla="*/ 226 w 331"/>
                <a:gd name="T29" fmla="*/ 72 h 270"/>
                <a:gd name="T30" fmla="*/ 226 w 331"/>
                <a:gd name="T31" fmla="*/ 77 h 270"/>
                <a:gd name="T32" fmla="*/ 224 w 331"/>
                <a:gd name="T33" fmla="*/ 82 h 270"/>
                <a:gd name="T34" fmla="*/ 187 w 331"/>
                <a:gd name="T35" fmla="*/ 120 h 270"/>
                <a:gd name="T36" fmla="*/ 224 w 331"/>
                <a:gd name="T37" fmla="*/ 156 h 270"/>
                <a:gd name="T38" fmla="*/ 226 w 331"/>
                <a:gd name="T39" fmla="*/ 162 h 270"/>
                <a:gd name="T40" fmla="*/ 226 w 331"/>
                <a:gd name="T41" fmla="*/ 168 h 270"/>
                <a:gd name="T42" fmla="*/ 224 w 331"/>
                <a:gd name="T43" fmla="*/ 174 h 270"/>
                <a:gd name="T44" fmla="*/ 220 w 331"/>
                <a:gd name="T45" fmla="*/ 178 h 270"/>
                <a:gd name="T46" fmla="*/ 214 w 331"/>
                <a:gd name="T47" fmla="*/ 180 h 270"/>
                <a:gd name="T48" fmla="*/ 208 w 331"/>
                <a:gd name="T49" fmla="*/ 180 h 270"/>
                <a:gd name="T50" fmla="*/ 202 w 331"/>
                <a:gd name="T51" fmla="*/ 178 h 270"/>
                <a:gd name="T52" fmla="*/ 166 w 331"/>
                <a:gd name="T53" fmla="*/ 141 h 270"/>
                <a:gd name="T54" fmla="*/ 128 w 331"/>
                <a:gd name="T55" fmla="*/ 178 h 270"/>
                <a:gd name="T56" fmla="*/ 123 w 331"/>
                <a:gd name="T57" fmla="*/ 180 h 270"/>
                <a:gd name="T58" fmla="*/ 118 w 331"/>
                <a:gd name="T59" fmla="*/ 180 h 270"/>
                <a:gd name="T60" fmla="*/ 112 w 331"/>
                <a:gd name="T61" fmla="*/ 178 h 270"/>
                <a:gd name="T62" fmla="*/ 108 w 331"/>
                <a:gd name="T63" fmla="*/ 174 h 270"/>
                <a:gd name="T64" fmla="*/ 106 w 331"/>
                <a:gd name="T65" fmla="*/ 168 h 270"/>
                <a:gd name="T66" fmla="*/ 106 w 331"/>
                <a:gd name="T67" fmla="*/ 162 h 270"/>
                <a:gd name="T68" fmla="*/ 108 w 331"/>
                <a:gd name="T69" fmla="*/ 156 h 270"/>
                <a:gd name="T70" fmla="*/ 144 w 331"/>
                <a:gd name="T71" fmla="*/ 120 h 270"/>
                <a:gd name="T72" fmla="*/ 0 w 331"/>
                <a:gd name="T73" fmla="*/ 180 h 270"/>
                <a:gd name="T74" fmla="*/ 2 w 331"/>
                <a:gd name="T75" fmla="*/ 198 h 270"/>
                <a:gd name="T76" fmla="*/ 7 w 331"/>
                <a:gd name="T77" fmla="*/ 215 h 270"/>
                <a:gd name="T78" fmla="*/ 16 w 331"/>
                <a:gd name="T79" fmla="*/ 231 h 270"/>
                <a:gd name="T80" fmla="*/ 26 w 331"/>
                <a:gd name="T81" fmla="*/ 243 h 270"/>
                <a:gd name="T82" fmla="*/ 39 w 331"/>
                <a:gd name="T83" fmla="*/ 255 h 270"/>
                <a:gd name="T84" fmla="*/ 55 w 331"/>
                <a:gd name="T85" fmla="*/ 264 h 270"/>
                <a:gd name="T86" fmla="*/ 73 w 331"/>
                <a:gd name="T87" fmla="*/ 268 h 270"/>
                <a:gd name="T88" fmla="*/ 91 w 331"/>
                <a:gd name="T89" fmla="*/ 270 h 270"/>
                <a:gd name="T90" fmla="*/ 331 w 331"/>
                <a:gd name="T91" fmla="*/ 0 h 270"/>
                <a:gd name="T92" fmla="*/ 0 w 331"/>
                <a:gd name="T93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31" h="270">
                  <a:moveTo>
                    <a:pt x="110" y="86"/>
                  </a:moveTo>
                  <a:lnTo>
                    <a:pt x="108" y="82"/>
                  </a:lnTo>
                  <a:lnTo>
                    <a:pt x="107" y="80"/>
                  </a:lnTo>
                  <a:lnTo>
                    <a:pt x="106" y="77"/>
                  </a:lnTo>
                  <a:lnTo>
                    <a:pt x="106" y="75"/>
                  </a:lnTo>
                  <a:lnTo>
                    <a:pt x="106" y="72"/>
                  </a:lnTo>
                  <a:lnTo>
                    <a:pt x="107" y="69"/>
                  </a:lnTo>
                  <a:lnTo>
                    <a:pt x="108" y="66"/>
                  </a:lnTo>
                  <a:lnTo>
                    <a:pt x="110" y="64"/>
                  </a:lnTo>
                  <a:lnTo>
                    <a:pt x="112" y="62"/>
                  </a:lnTo>
                  <a:lnTo>
                    <a:pt x="114" y="61"/>
                  </a:lnTo>
                  <a:lnTo>
                    <a:pt x="118" y="60"/>
                  </a:lnTo>
                  <a:lnTo>
                    <a:pt x="121" y="60"/>
                  </a:lnTo>
                  <a:lnTo>
                    <a:pt x="123" y="60"/>
                  </a:lnTo>
                  <a:lnTo>
                    <a:pt x="126" y="61"/>
                  </a:lnTo>
                  <a:lnTo>
                    <a:pt x="128" y="62"/>
                  </a:lnTo>
                  <a:lnTo>
                    <a:pt x="132" y="64"/>
                  </a:lnTo>
                  <a:lnTo>
                    <a:pt x="166" y="99"/>
                  </a:lnTo>
                  <a:lnTo>
                    <a:pt x="200" y="64"/>
                  </a:lnTo>
                  <a:lnTo>
                    <a:pt x="202" y="62"/>
                  </a:lnTo>
                  <a:lnTo>
                    <a:pt x="206" y="61"/>
                  </a:lnTo>
                  <a:lnTo>
                    <a:pt x="208" y="60"/>
                  </a:lnTo>
                  <a:lnTo>
                    <a:pt x="211" y="60"/>
                  </a:lnTo>
                  <a:lnTo>
                    <a:pt x="214" y="60"/>
                  </a:lnTo>
                  <a:lnTo>
                    <a:pt x="216" y="61"/>
                  </a:lnTo>
                  <a:lnTo>
                    <a:pt x="220" y="62"/>
                  </a:lnTo>
                  <a:lnTo>
                    <a:pt x="222" y="64"/>
                  </a:lnTo>
                  <a:lnTo>
                    <a:pt x="224" y="66"/>
                  </a:lnTo>
                  <a:lnTo>
                    <a:pt x="225" y="69"/>
                  </a:lnTo>
                  <a:lnTo>
                    <a:pt x="226" y="72"/>
                  </a:lnTo>
                  <a:lnTo>
                    <a:pt x="226" y="75"/>
                  </a:lnTo>
                  <a:lnTo>
                    <a:pt x="226" y="77"/>
                  </a:lnTo>
                  <a:lnTo>
                    <a:pt x="225" y="80"/>
                  </a:lnTo>
                  <a:lnTo>
                    <a:pt x="224" y="82"/>
                  </a:lnTo>
                  <a:lnTo>
                    <a:pt x="222" y="86"/>
                  </a:lnTo>
                  <a:lnTo>
                    <a:pt x="187" y="120"/>
                  </a:lnTo>
                  <a:lnTo>
                    <a:pt x="222" y="154"/>
                  </a:lnTo>
                  <a:lnTo>
                    <a:pt x="224" y="156"/>
                  </a:lnTo>
                  <a:lnTo>
                    <a:pt x="225" y="160"/>
                  </a:lnTo>
                  <a:lnTo>
                    <a:pt x="226" y="162"/>
                  </a:lnTo>
                  <a:lnTo>
                    <a:pt x="226" y="165"/>
                  </a:lnTo>
                  <a:lnTo>
                    <a:pt x="226" y="168"/>
                  </a:lnTo>
                  <a:lnTo>
                    <a:pt x="225" y="170"/>
                  </a:lnTo>
                  <a:lnTo>
                    <a:pt x="224" y="174"/>
                  </a:lnTo>
                  <a:lnTo>
                    <a:pt x="222" y="176"/>
                  </a:lnTo>
                  <a:lnTo>
                    <a:pt x="220" y="178"/>
                  </a:lnTo>
                  <a:lnTo>
                    <a:pt x="216" y="179"/>
                  </a:lnTo>
                  <a:lnTo>
                    <a:pt x="214" y="180"/>
                  </a:lnTo>
                  <a:lnTo>
                    <a:pt x="211" y="180"/>
                  </a:lnTo>
                  <a:lnTo>
                    <a:pt x="208" y="180"/>
                  </a:lnTo>
                  <a:lnTo>
                    <a:pt x="206" y="179"/>
                  </a:lnTo>
                  <a:lnTo>
                    <a:pt x="202" y="178"/>
                  </a:lnTo>
                  <a:lnTo>
                    <a:pt x="200" y="176"/>
                  </a:lnTo>
                  <a:lnTo>
                    <a:pt x="166" y="141"/>
                  </a:lnTo>
                  <a:lnTo>
                    <a:pt x="132" y="176"/>
                  </a:lnTo>
                  <a:lnTo>
                    <a:pt x="128" y="178"/>
                  </a:lnTo>
                  <a:lnTo>
                    <a:pt x="126" y="179"/>
                  </a:lnTo>
                  <a:lnTo>
                    <a:pt x="123" y="180"/>
                  </a:lnTo>
                  <a:lnTo>
                    <a:pt x="121" y="180"/>
                  </a:lnTo>
                  <a:lnTo>
                    <a:pt x="118" y="180"/>
                  </a:lnTo>
                  <a:lnTo>
                    <a:pt x="114" y="179"/>
                  </a:lnTo>
                  <a:lnTo>
                    <a:pt x="112" y="178"/>
                  </a:lnTo>
                  <a:lnTo>
                    <a:pt x="110" y="176"/>
                  </a:lnTo>
                  <a:lnTo>
                    <a:pt x="108" y="174"/>
                  </a:lnTo>
                  <a:lnTo>
                    <a:pt x="107" y="170"/>
                  </a:lnTo>
                  <a:lnTo>
                    <a:pt x="106" y="168"/>
                  </a:lnTo>
                  <a:lnTo>
                    <a:pt x="106" y="165"/>
                  </a:lnTo>
                  <a:lnTo>
                    <a:pt x="106" y="162"/>
                  </a:lnTo>
                  <a:lnTo>
                    <a:pt x="107" y="160"/>
                  </a:lnTo>
                  <a:lnTo>
                    <a:pt x="108" y="156"/>
                  </a:lnTo>
                  <a:lnTo>
                    <a:pt x="110" y="154"/>
                  </a:lnTo>
                  <a:lnTo>
                    <a:pt x="144" y="120"/>
                  </a:lnTo>
                  <a:lnTo>
                    <a:pt x="110" y="86"/>
                  </a:lnTo>
                  <a:close/>
                  <a:moveTo>
                    <a:pt x="0" y="180"/>
                  </a:moveTo>
                  <a:lnTo>
                    <a:pt x="1" y="190"/>
                  </a:lnTo>
                  <a:lnTo>
                    <a:pt x="2" y="198"/>
                  </a:lnTo>
                  <a:lnTo>
                    <a:pt x="4" y="207"/>
                  </a:lnTo>
                  <a:lnTo>
                    <a:pt x="7" y="215"/>
                  </a:lnTo>
                  <a:lnTo>
                    <a:pt x="11" y="223"/>
                  </a:lnTo>
                  <a:lnTo>
                    <a:pt x="16" y="231"/>
                  </a:lnTo>
                  <a:lnTo>
                    <a:pt x="21" y="238"/>
                  </a:lnTo>
                  <a:lnTo>
                    <a:pt x="26" y="243"/>
                  </a:lnTo>
                  <a:lnTo>
                    <a:pt x="33" y="250"/>
                  </a:lnTo>
                  <a:lnTo>
                    <a:pt x="39" y="255"/>
                  </a:lnTo>
                  <a:lnTo>
                    <a:pt x="47" y="259"/>
                  </a:lnTo>
                  <a:lnTo>
                    <a:pt x="55" y="264"/>
                  </a:lnTo>
                  <a:lnTo>
                    <a:pt x="64" y="266"/>
                  </a:lnTo>
                  <a:lnTo>
                    <a:pt x="73" y="268"/>
                  </a:lnTo>
                  <a:lnTo>
                    <a:pt x="81" y="270"/>
                  </a:lnTo>
                  <a:lnTo>
                    <a:pt x="91" y="270"/>
                  </a:lnTo>
                  <a:lnTo>
                    <a:pt x="331" y="270"/>
                  </a:lnTo>
                  <a:lnTo>
                    <a:pt x="331" y="0"/>
                  </a:lnTo>
                  <a:lnTo>
                    <a:pt x="0" y="0"/>
                  </a:lnTo>
                  <a:lnTo>
                    <a:pt x="0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32">
              <a:extLst>
                <a:ext uri="{FF2B5EF4-FFF2-40B4-BE49-F238E27FC236}">
                  <a16:creationId xmlns:a16="http://schemas.microsoft.com/office/drawing/2014/main" id="{0962B9AA-DAAE-46B0-8EDF-819690072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5813" y="973138"/>
              <a:ext cx="104775" cy="85725"/>
            </a:xfrm>
            <a:custGeom>
              <a:avLst/>
              <a:gdLst>
                <a:gd name="T0" fmla="*/ 211 w 331"/>
                <a:gd name="T1" fmla="*/ 120 h 270"/>
                <a:gd name="T2" fmla="*/ 217 w 331"/>
                <a:gd name="T3" fmla="*/ 121 h 270"/>
                <a:gd name="T4" fmla="*/ 222 w 331"/>
                <a:gd name="T5" fmla="*/ 124 h 270"/>
                <a:gd name="T6" fmla="*/ 225 w 331"/>
                <a:gd name="T7" fmla="*/ 129 h 270"/>
                <a:gd name="T8" fmla="*/ 226 w 331"/>
                <a:gd name="T9" fmla="*/ 135 h 270"/>
                <a:gd name="T10" fmla="*/ 225 w 331"/>
                <a:gd name="T11" fmla="*/ 140 h 270"/>
                <a:gd name="T12" fmla="*/ 222 w 331"/>
                <a:gd name="T13" fmla="*/ 146 h 270"/>
                <a:gd name="T14" fmla="*/ 217 w 331"/>
                <a:gd name="T15" fmla="*/ 149 h 270"/>
                <a:gd name="T16" fmla="*/ 211 w 331"/>
                <a:gd name="T17" fmla="*/ 150 h 270"/>
                <a:gd name="T18" fmla="*/ 88 w 331"/>
                <a:gd name="T19" fmla="*/ 150 h 270"/>
                <a:gd name="T20" fmla="*/ 83 w 331"/>
                <a:gd name="T21" fmla="*/ 147 h 270"/>
                <a:gd name="T22" fmla="*/ 78 w 331"/>
                <a:gd name="T23" fmla="*/ 144 h 270"/>
                <a:gd name="T24" fmla="*/ 76 w 331"/>
                <a:gd name="T25" fmla="*/ 138 h 270"/>
                <a:gd name="T26" fmla="*/ 76 w 331"/>
                <a:gd name="T27" fmla="*/ 132 h 270"/>
                <a:gd name="T28" fmla="*/ 78 w 331"/>
                <a:gd name="T29" fmla="*/ 126 h 270"/>
                <a:gd name="T30" fmla="*/ 83 w 331"/>
                <a:gd name="T31" fmla="*/ 122 h 270"/>
                <a:gd name="T32" fmla="*/ 88 w 331"/>
                <a:gd name="T33" fmla="*/ 120 h 270"/>
                <a:gd name="T34" fmla="*/ 90 w 331"/>
                <a:gd name="T35" fmla="*/ 60 h 270"/>
                <a:gd name="T36" fmla="*/ 214 w 331"/>
                <a:gd name="T37" fmla="*/ 60 h 270"/>
                <a:gd name="T38" fmla="*/ 220 w 331"/>
                <a:gd name="T39" fmla="*/ 62 h 270"/>
                <a:gd name="T40" fmla="*/ 223 w 331"/>
                <a:gd name="T41" fmla="*/ 66 h 270"/>
                <a:gd name="T42" fmla="*/ 225 w 331"/>
                <a:gd name="T43" fmla="*/ 72 h 270"/>
                <a:gd name="T44" fmla="*/ 225 w 331"/>
                <a:gd name="T45" fmla="*/ 78 h 270"/>
                <a:gd name="T46" fmla="*/ 223 w 331"/>
                <a:gd name="T47" fmla="*/ 84 h 270"/>
                <a:gd name="T48" fmla="*/ 219 w 331"/>
                <a:gd name="T49" fmla="*/ 87 h 270"/>
                <a:gd name="T50" fmla="*/ 214 w 331"/>
                <a:gd name="T51" fmla="*/ 89 h 270"/>
                <a:gd name="T52" fmla="*/ 90 w 331"/>
                <a:gd name="T53" fmla="*/ 90 h 270"/>
                <a:gd name="T54" fmla="*/ 85 w 331"/>
                <a:gd name="T55" fmla="*/ 89 h 270"/>
                <a:gd name="T56" fmla="*/ 79 w 331"/>
                <a:gd name="T57" fmla="*/ 86 h 270"/>
                <a:gd name="T58" fmla="*/ 76 w 331"/>
                <a:gd name="T59" fmla="*/ 80 h 270"/>
                <a:gd name="T60" fmla="*/ 75 w 331"/>
                <a:gd name="T61" fmla="*/ 75 h 270"/>
                <a:gd name="T62" fmla="*/ 76 w 331"/>
                <a:gd name="T63" fmla="*/ 69 h 270"/>
                <a:gd name="T64" fmla="*/ 79 w 331"/>
                <a:gd name="T65" fmla="*/ 64 h 270"/>
                <a:gd name="T66" fmla="*/ 85 w 331"/>
                <a:gd name="T67" fmla="*/ 61 h 270"/>
                <a:gd name="T68" fmla="*/ 90 w 331"/>
                <a:gd name="T69" fmla="*/ 60 h 270"/>
                <a:gd name="T70" fmla="*/ 0 w 331"/>
                <a:gd name="T71" fmla="*/ 270 h 270"/>
                <a:gd name="T72" fmla="*/ 250 w 331"/>
                <a:gd name="T73" fmla="*/ 270 h 270"/>
                <a:gd name="T74" fmla="*/ 268 w 331"/>
                <a:gd name="T75" fmla="*/ 266 h 270"/>
                <a:gd name="T76" fmla="*/ 284 w 331"/>
                <a:gd name="T77" fmla="*/ 259 h 270"/>
                <a:gd name="T78" fmla="*/ 298 w 331"/>
                <a:gd name="T79" fmla="*/ 250 h 270"/>
                <a:gd name="T80" fmla="*/ 311 w 331"/>
                <a:gd name="T81" fmla="*/ 238 h 270"/>
                <a:gd name="T82" fmla="*/ 321 w 331"/>
                <a:gd name="T83" fmla="*/ 223 h 270"/>
                <a:gd name="T84" fmla="*/ 327 w 331"/>
                <a:gd name="T85" fmla="*/ 207 h 270"/>
                <a:gd name="T86" fmla="*/ 331 w 331"/>
                <a:gd name="T87" fmla="*/ 190 h 270"/>
                <a:gd name="T88" fmla="*/ 331 w 331"/>
                <a:gd name="T89" fmla="*/ 0 h 270"/>
                <a:gd name="T90" fmla="*/ 0 w 331"/>
                <a:gd name="T9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31" h="270">
                  <a:moveTo>
                    <a:pt x="90" y="120"/>
                  </a:moveTo>
                  <a:lnTo>
                    <a:pt x="211" y="120"/>
                  </a:lnTo>
                  <a:lnTo>
                    <a:pt x="214" y="120"/>
                  </a:lnTo>
                  <a:lnTo>
                    <a:pt x="217" y="121"/>
                  </a:lnTo>
                  <a:lnTo>
                    <a:pt x="220" y="122"/>
                  </a:lnTo>
                  <a:lnTo>
                    <a:pt x="222" y="124"/>
                  </a:lnTo>
                  <a:lnTo>
                    <a:pt x="223" y="126"/>
                  </a:lnTo>
                  <a:lnTo>
                    <a:pt x="225" y="129"/>
                  </a:lnTo>
                  <a:lnTo>
                    <a:pt x="225" y="132"/>
                  </a:lnTo>
                  <a:lnTo>
                    <a:pt x="226" y="135"/>
                  </a:lnTo>
                  <a:lnTo>
                    <a:pt x="225" y="138"/>
                  </a:lnTo>
                  <a:lnTo>
                    <a:pt x="225" y="140"/>
                  </a:lnTo>
                  <a:lnTo>
                    <a:pt x="223" y="144"/>
                  </a:lnTo>
                  <a:lnTo>
                    <a:pt x="222" y="146"/>
                  </a:lnTo>
                  <a:lnTo>
                    <a:pt x="219" y="148"/>
                  </a:lnTo>
                  <a:lnTo>
                    <a:pt x="217" y="149"/>
                  </a:lnTo>
                  <a:lnTo>
                    <a:pt x="214" y="150"/>
                  </a:lnTo>
                  <a:lnTo>
                    <a:pt x="211" y="150"/>
                  </a:lnTo>
                  <a:lnTo>
                    <a:pt x="90" y="150"/>
                  </a:lnTo>
                  <a:lnTo>
                    <a:pt x="88" y="150"/>
                  </a:lnTo>
                  <a:lnTo>
                    <a:pt x="85" y="149"/>
                  </a:lnTo>
                  <a:lnTo>
                    <a:pt x="83" y="147"/>
                  </a:lnTo>
                  <a:lnTo>
                    <a:pt x="79" y="146"/>
                  </a:lnTo>
                  <a:lnTo>
                    <a:pt x="78" y="144"/>
                  </a:lnTo>
                  <a:lnTo>
                    <a:pt x="76" y="140"/>
                  </a:lnTo>
                  <a:lnTo>
                    <a:pt x="76" y="138"/>
                  </a:lnTo>
                  <a:lnTo>
                    <a:pt x="75" y="135"/>
                  </a:lnTo>
                  <a:lnTo>
                    <a:pt x="76" y="132"/>
                  </a:lnTo>
                  <a:lnTo>
                    <a:pt x="76" y="129"/>
                  </a:lnTo>
                  <a:lnTo>
                    <a:pt x="78" y="126"/>
                  </a:lnTo>
                  <a:lnTo>
                    <a:pt x="79" y="124"/>
                  </a:lnTo>
                  <a:lnTo>
                    <a:pt x="83" y="122"/>
                  </a:lnTo>
                  <a:lnTo>
                    <a:pt x="85" y="121"/>
                  </a:lnTo>
                  <a:lnTo>
                    <a:pt x="88" y="120"/>
                  </a:lnTo>
                  <a:lnTo>
                    <a:pt x="90" y="120"/>
                  </a:lnTo>
                  <a:close/>
                  <a:moveTo>
                    <a:pt x="90" y="60"/>
                  </a:moveTo>
                  <a:lnTo>
                    <a:pt x="211" y="60"/>
                  </a:lnTo>
                  <a:lnTo>
                    <a:pt x="214" y="60"/>
                  </a:lnTo>
                  <a:lnTo>
                    <a:pt x="217" y="61"/>
                  </a:lnTo>
                  <a:lnTo>
                    <a:pt x="220" y="62"/>
                  </a:lnTo>
                  <a:lnTo>
                    <a:pt x="222" y="64"/>
                  </a:lnTo>
                  <a:lnTo>
                    <a:pt x="223" y="66"/>
                  </a:lnTo>
                  <a:lnTo>
                    <a:pt x="225" y="69"/>
                  </a:lnTo>
                  <a:lnTo>
                    <a:pt x="225" y="72"/>
                  </a:lnTo>
                  <a:lnTo>
                    <a:pt x="226" y="75"/>
                  </a:lnTo>
                  <a:lnTo>
                    <a:pt x="225" y="78"/>
                  </a:lnTo>
                  <a:lnTo>
                    <a:pt x="225" y="80"/>
                  </a:lnTo>
                  <a:lnTo>
                    <a:pt x="223" y="84"/>
                  </a:lnTo>
                  <a:lnTo>
                    <a:pt x="222" y="86"/>
                  </a:lnTo>
                  <a:lnTo>
                    <a:pt x="219" y="87"/>
                  </a:lnTo>
                  <a:lnTo>
                    <a:pt x="217" y="89"/>
                  </a:lnTo>
                  <a:lnTo>
                    <a:pt x="214" y="89"/>
                  </a:lnTo>
                  <a:lnTo>
                    <a:pt x="211" y="90"/>
                  </a:lnTo>
                  <a:lnTo>
                    <a:pt x="90" y="90"/>
                  </a:lnTo>
                  <a:lnTo>
                    <a:pt x="88" y="89"/>
                  </a:lnTo>
                  <a:lnTo>
                    <a:pt x="85" y="89"/>
                  </a:lnTo>
                  <a:lnTo>
                    <a:pt x="83" y="87"/>
                  </a:lnTo>
                  <a:lnTo>
                    <a:pt x="79" y="86"/>
                  </a:lnTo>
                  <a:lnTo>
                    <a:pt x="78" y="84"/>
                  </a:lnTo>
                  <a:lnTo>
                    <a:pt x="76" y="80"/>
                  </a:lnTo>
                  <a:lnTo>
                    <a:pt x="76" y="78"/>
                  </a:lnTo>
                  <a:lnTo>
                    <a:pt x="75" y="75"/>
                  </a:lnTo>
                  <a:lnTo>
                    <a:pt x="76" y="72"/>
                  </a:lnTo>
                  <a:lnTo>
                    <a:pt x="76" y="69"/>
                  </a:lnTo>
                  <a:lnTo>
                    <a:pt x="78" y="66"/>
                  </a:lnTo>
                  <a:lnTo>
                    <a:pt x="79" y="64"/>
                  </a:lnTo>
                  <a:lnTo>
                    <a:pt x="83" y="62"/>
                  </a:lnTo>
                  <a:lnTo>
                    <a:pt x="85" y="61"/>
                  </a:lnTo>
                  <a:lnTo>
                    <a:pt x="88" y="60"/>
                  </a:lnTo>
                  <a:lnTo>
                    <a:pt x="90" y="60"/>
                  </a:lnTo>
                  <a:lnTo>
                    <a:pt x="90" y="60"/>
                  </a:lnTo>
                  <a:close/>
                  <a:moveTo>
                    <a:pt x="0" y="270"/>
                  </a:moveTo>
                  <a:lnTo>
                    <a:pt x="241" y="270"/>
                  </a:lnTo>
                  <a:lnTo>
                    <a:pt x="250" y="270"/>
                  </a:lnTo>
                  <a:lnTo>
                    <a:pt x="260" y="268"/>
                  </a:lnTo>
                  <a:lnTo>
                    <a:pt x="268" y="266"/>
                  </a:lnTo>
                  <a:lnTo>
                    <a:pt x="276" y="264"/>
                  </a:lnTo>
                  <a:lnTo>
                    <a:pt x="284" y="259"/>
                  </a:lnTo>
                  <a:lnTo>
                    <a:pt x="292" y="255"/>
                  </a:lnTo>
                  <a:lnTo>
                    <a:pt x="298" y="250"/>
                  </a:lnTo>
                  <a:lnTo>
                    <a:pt x="305" y="243"/>
                  </a:lnTo>
                  <a:lnTo>
                    <a:pt x="311" y="238"/>
                  </a:lnTo>
                  <a:lnTo>
                    <a:pt x="316" y="231"/>
                  </a:lnTo>
                  <a:lnTo>
                    <a:pt x="321" y="223"/>
                  </a:lnTo>
                  <a:lnTo>
                    <a:pt x="324" y="215"/>
                  </a:lnTo>
                  <a:lnTo>
                    <a:pt x="327" y="207"/>
                  </a:lnTo>
                  <a:lnTo>
                    <a:pt x="329" y="198"/>
                  </a:lnTo>
                  <a:lnTo>
                    <a:pt x="331" y="190"/>
                  </a:lnTo>
                  <a:lnTo>
                    <a:pt x="331" y="180"/>
                  </a:lnTo>
                  <a:lnTo>
                    <a:pt x="331" y="0"/>
                  </a:lnTo>
                  <a:lnTo>
                    <a:pt x="0" y="0"/>
                  </a:lnTo>
                  <a:lnTo>
                    <a:pt x="0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58D74CDE-9215-466C-A65F-88C6021F08D5}"/>
              </a:ext>
            </a:extLst>
          </p:cNvPr>
          <p:cNvSpPr/>
          <p:nvPr/>
        </p:nvSpPr>
        <p:spPr>
          <a:xfrm rot="16200000" flipH="1">
            <a:off x="3031392" y="3398122"/>
            <a:ext cx="4635087" cy="8068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52400" dist="25400" algn="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8217AA4-5B01-4C74-81C0-F0B9128B6845}"/>
              </a:ext>
            </a:extLst>
          </p:cNvPr>
          <p:cNvSpPr/>
          <p:nvPr/>
        </p:nvSpPr>
        <p:spPr>
          <a:xfrm rot="16200000" flipH="1">
            <a:off x="3028618" y="3398121"/>
            <a:ext cx="4635094" cy="80685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dist="50800" dir="10800000" algn="r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B630BF0-C64E-4E93-A9CA-5E2A05DEE2A2}"/>
              </a:ext>
            </a:extLst>
          </p:cNvPr>
          <p:cNvSpPr/>
          <p:nvPr/>
        </p:nvSpPr>
        <p:spPr>
          <a:xfrm rot="16200000" flipH="1">
            <a:off x="2772874" y="3421309"/>
            <a:ext cx="5152128" cy="806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1" name="TextBox 47">
            <a:extLst>
              <a:ext uri="{FF2B5EF4-FFF2-40B4-BE49-F238E27FC236}">
                <a16:creationId xmlns:a16="http://schemas.microsoft.com/office/drawing/2014/main" id="{0ABCF938-7F69-41DA-A492-F98171623883}"/>
              </a:ext>
            </a:extLst>
          </p:cNvPr>
          <p:cNvSpPr txBox="1"/>
          <p:nvPr/>
        </p:nvSpPr>
        <p:spPr>
          <a:xfrm>
            <a:off x="5973593" y="1826258"/>
            <a:ext cx="3989558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en-US" sz="1400" dirty="0" err="1">
                <a:solidFill>
                  <a:schemeClr val="bg1"/>
                </a:solidFill>
              </a:rPr>
              <a:t>Pellentesque</a:t>
            </a:r>
            <a:r>
              <a:rPr lang="en-US" sz="1400" dirty="0">
                <a:solidFill>
                  <a:schemeClr val="bg1"/>
                </a:solidFill>
              </a:rPr>
              <a:t>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feugiat</a:t>
            </a:r>
            <a:r>
              <a:rPr lang="en-US" sz="1400" dirty="0">
                <a:solidFill>
                  <a:schemeClr val="bg1"/>
                </a:solidFill>
              </a:rPr>
              <a:t> mi. 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A4FE373-17BB-493F-A361-B12440813A1F}"/>
              </a:ext>
            </a:extLst>
          </p:cNvPr>
          <p:cNvSpPr/>
          <p:nvPr/>
        </p:nvSpPr>
        <p:spPr>
          <a:xfrm>
            <a:off x="10374600" y="1755645"/>
            <a:ext cx="572112" cy="5721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TextBox 47">
            <a:extLst>
              <a:ext uri="{FF2B5EF4-FFF2-40B4-BE49-F238E27FC236}">
                <a16:creationId xmlns:a16="http://schemas.microsoft.com/office/drawing/2014/main" id="{939B7CC5-439E-403C-9383-8988F3AAD7AF}"/>
              </a:ext>
            </a:extLst>
          </p:cNvPr>
          <p:cNvSpPr txBox="1"/>
          <p:nvPr/>
        </p:nvSpPr>
        <p:spPr>
          <a:xfrm>
            <a:off x="5973593" y="3016339"/>
            <a:ext cx="3989558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en-US" sz="1400" dirty="0" err="1">
                <a:solidFill>
                  <a:schemeClr val="bg1"/>
                </a:solidFill>
              </a:rPr>
              <a:t>Pellentesque</a:t>
            </a:r>
            <a:r>
              <a:rPr lang="en-US" sz="1400" dirty="0">
                <a:solidFill>
                  <a:schemeClr val="bg1"/>
                </a:solidFill>
              </a:rPr>
              <a:t>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feugiat</a:t>
            </a:r>
            <a:r>
              <a:rPr lang="en-US" sz="1400" dirty="0">
                <a:solidFill>
                  <a:schemeClr val="bg1"/>
                </a:solidFill>
              </a:rPr>
              <a:t> mi. 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5ECD4C0-D89D-49E9-AC09-4F34CDD54EDB}"/>
              </a:ext>
            </a:extLst>
          </p:cNvPr>
          <p:cNvSpPr/>
          <p:nvPr/>
        </p:nvSpPr>
        <p:spPr>
          <a:xfrm>
            <a:off x="10374600" y="2945726"/>
            <a:ext cx="572112" cy="5721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47">
            <a:extLst>
              <a:ext uri="{FF2B5EF4-FFF2-40B4-BE49-F238E27FC236}">
                <a16:creationId xmlns:a16="http://schemas.microsoft.com/office/drawing/2014/main" id="{BBF4A77D-999A-446C-A470-A09EABC1CB5F}"/>
              </a:ext>
            </a:extLst>
          </p:cNvPr>
          <p:cNvSpPr txBox="1"/>
          <p:nvPr/>
        </p:nvSpPr>
        <p:spPr>
          <a:xfrm>
            <a:off x="5973593" y="4206399"/>
            <a:ext cx="3989558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en-US" sz="1400" dirty="0" err="1">
                <a:solidFill>
                  <a:schemeClr val="bg1"/>
                </a:solidFill>
              </a:rPr>
              <a:t>Pellentesque</a:t>
            </a:r>
            <a:r>
              <a:rPr lang="en-US" sz="1400" dirty="0">
                <a:solidFill>
                  <a:schemeClr val="bg1"/>
                </a:solidFill>
              </a:rPr>
              <a:t>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feugiat</a:t>
            </a:r>
            <a:r>
              <a:rPr lang="en-US" sz="1400" dirty="0">
                <a:solidFill>
                  <a:schemeClr val="bg1"/>
                </a:solidFill>
              </a:rPr>
              <a:t> mi. 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B9C20A2B-9E5F-4699-B7E0-C92C4B4C11C6}"/>
              </a:ext>
            </a:extLst>
          </p:cNvPr>
          <p:cNvSpPr/>
          <p:nvPr/>
        </p:nvSpPr>
        <p:spPr>
          <a:xfrm>
            <a:off x="10374600" y="4135786"/>
            <a:ext cx="572112" cy="5721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47">
            <a:extLst>
              <a:ext uri="{FF2B5EF4-FFF2-40B4-BE49-F238E27FC236}">
                <a16:creationId xmlns:a16="http://schemas.microsoft.com/office/drawing/2014/main" id="{5CB8E5D9-5AB2-4AEE-973D-2AB9CE05AF2D}"/>
              </a:ext>
            </a:extLst>
          </p:cNvPr>
          <p:cNvSpPr txBox="1"/>
          <p:nvPr/>
        </p:nvSpPr>
        <p:spPr>
          <a:xfrm>
            <a:off x="5973593" y="5393965"/>
            <a:ext cx="3989558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en-US" sz="1400" dirty="0" err="1">
                <a:solidFill>
                  <a:schemeClr val="bg1"/>
                </a:solidFill>
              </a:rPr>
              <a:t>Pellentesque</a:t>
            </a:r>
            <a:r>
              <a:rPr lang="en-US" sz="1400" dirty="0">
                <a:solidFill>
                  <a:schemeClr val="bg1"/>
                </a:solidFill>
              </a:rPr>
              <a:t>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feugiat</a:t>
            </a:r>
            <a:r>
              <a:rPr lang="en-US" sz="1400" dirty="0">
                <a:solidFill>
                  <a:schemeClr val="bg1"/>
                </a:solidFill>
              </a:rPr>
              <a:t> mi. 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83DF543E-D479-4828-BA2F-2A24D956B7A2}"/>
              </a:ext>
            </a:extLst>
          </p:cNvPr>
          <p:cNvSpPr/>
          <p:nvPr/>
        </p:nvSpPr>
        <p:spPr>
          <a:xfrm>
            <a:off x="10374600" y="5323352"/>
            <a:ext cx="572112" cy="57211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3073">
            <a:extLst>
              <a:ext uri="{FF2B5EF4-FFF2-40B4-BE49-F238E27FC236}">
                <a16:creationId xmlns:a16="http://schemas.microsoft.com/office/drawing/2014/main" id="{DB30C37B-BB33-491D-A3BF-5C500776BA50}"/>
              </a:ext>
            </a:extLst>
          </p:cNvPr>
          <p:cNvSpPr>
            <a:spLocks noEditPoints="1"/>
          </p:cNvSpPr>
          <p:nvPr/>
        </p:nvSpPr>
        <p:spPr bwMode="auto">
          <a:xfrm>
            <a:off x="10517781" y="1898826"/>
            <a:ext cx="285750" cy="285750"/>
          </a:xfrm>
          <a:custGeom>
            <a:avLst/>
            <a:gdLst>
              <a:gd name="T0" fmla="*/ 620 w 720"/>
              <a:gd name="T1" fmla="*/ 289 h 719"/>
              <a:gd name="T2" fmla="*/ 600 w 720"/>
              <a:gd name="T3" fmla="*/ 278 h 719"/>
              <a:gd name="T4" fmla="*/ 636 w 720"/>
              <a:gd name="T5" fmla="*/ 145 h 719"/>
              <a:gd name="T6" fmla="*/ 695 w 720"/>
              <a:gd name="T7" fmla="*/ 114 h 719"/>
              <a:gd name="T8" fmla="*/ 680 w 720"/>
              <a:gd name="T9" fmla="*/ 209 h 719"/>
              <a:gd name="T10" fmla="*/ 645 w 720"/>
              <a:gd name="T11" fmla="*/ 270 h 719"/>
              <a:gd name="T12" fmla="*/ 425 w 720"/>
              <a:gd name="T13" fmla="*/ 278 h 719"/>
              <a:gd name="T14" fmla="*/ 416 w 720"/>
              <a:gd name="T15" fmla="*/ 280 h 719"/>
              <a:gd name="T16" fmla="*/ 298 w 720"/>
              <a:gd name="T17" fmla="*/ 282 h 719"/>
              <a:gd name="T18" fmla="*/ 261 w 720"/>
              <a:gd name="T19" fmla="*/ 160 h 719"/>
              <a:gd name="T20" fmla="*/ 332 w 720"/>
              <a:gd name="T21" fmla="*/ 150 h 719"/>
              <a:gd name="T22" fmla="*/ 364 w 720"/>
              <a:gd name="T23" fmla="*/ 101 h 719"/>
              <a:gd name="T24" fmla="*/ 462 w 720"/>
              <a:gd name="T25" fmla="*/ 158 h 719"/>
              <a:gd name="T26" fmla="*/ 49 w 720"/>
              <a:gd name="T27" fmla="*/ 236 h 719"/>
              <a:gd name="T28" fmla="*/ 29 w 720"/>
              <a:gd name="T29" fmla="*/ 170 h 719"/>
              <a:gd name="T30" fmla="*/ 24 w 720"/>
              <a:gd name="T31" fmla="*/ 72 h 719"/>
              <a:gd name="T32" fmla="*/ 90 w 720"/>
              <a:gd name="T33" fmla="*/ 177 h 719"/>
              <a:gd name="T34" fmla="*/ 129 w 720"/>
              <a:gd name="T35" fmla="*/ 298 h 719"/>
              <a:gd name="T36" fmla="*/ 91 w 720"/>
              <a:gd name="T37" fmla="*/ 284 h 719"/>
              <a:gd name="T38" fmla="*/ 719 w 720"/>
              <a:gd name="T39" fmla="*/ 69 h 719"/>
              <a:gd name="T40" fmla="*/ 712 w 720"/>
              <a:gd name="T41" fmla="*/ 50 h 719"/>
              <a:gd name="T42" fmla="*/ 644 w 720"/>
              <a:gd name="T43" fmla="*/ 21 h 719"/>
              <a:gd name="T44" fmla="*/ 632 w 720"/>
              <a:gd name="T45" fmla="*/ 0 h 719"/>
              <a:gd name="T46" fmla="*/ 77 w 720"/>
              <a:gd name="T47" fmla="*/ 13 h 719"/>
              <a:gd name="T48" fmla="*/ 12 w 720"/>
              <a:gd name="T49" fmla="*/ 48 h 719"/>
              <a:gd name="T50" fmla="*/ 0 w 720"/>
              <a:gd name="T51" fmla="*/ 66 h 719"/>
              <a:gd name="T52" fmla="*/ 6 w 720"/>
              <a:gd name="T53" fmla="*/ 177 h 719"/>
              <a:gd name="T54" fmla="*/ 29 w 720"/>
              <a:gd name="T55" fmla="*/ 250 h 719"/>
              <a:gd name="T56" fmla="*/ 73 w 720"/>
              <a:gd name="T57" fmla="*/ 302 h 719"/>
              <a:gd name="T58" fmla="*/ 130 w 720"/>
              <a:gd name="T59" fmla="*/ 322 h 719"/>
              <a:gd name="T60" fmla="*/ 195 w 720"/>
              <a:gd name="T61" fmla="*/ 379 h 719"/>
              <a:gd name="T62" fmla="*/ 288 w 720"/>
              <a:gd name="T63" fmla="*/ 441 h 719"/>
              <a:gd name="T64" fmla="*/ 312 w 720"/>
              <a:gd name="T65" fmla="*/ 476 h 719"/>
              <a:gd name="T66" fmla="*/ 316 w 720"/>
              <a:gd name="T67" fmla="*/ 529 h 719"/>
              <a:gd name="T68" fmla="*/ 299 w 720"/>
              <a:gd name="T69" fmla="*/ 596 h 719"/>
              <a:gd name="T70" fmla="*/ 262 w 720"/>
              <a:gd name="T71" fmla="*/ 628 h 719"/>
              <a:gd name="T72" fmla="*/ 204 w 720"/>
              <a:gd name="T73" fmla="*/ 635 h 719"/>
              <a:gd name="T74" fmla="*/ 192 w 720"/>
              <a:gd name="T75" fmla="*/ 707 h 719"/>
              <a:gd name="T76" fmla="*/ 515 w 720"/>
              <a:gd name="T77" fmla="*/ 719 h 719"/>
              <a:gd name="T78" fmla="*/ 527 w 720"/>
              <a:gd name="T79" fmla="*/ 647 h 719"/>
              <a:gd name="T80" fmla="*/ 501 w 720"/>
              <a:gd name="T81" fmla="*/ 635 h 719"/>
              <a:gd name="T82" fmla="*/ 445 w 720"/>
              <a:gd name="T83" fmla="*/ 618 h 719"/>
              <a:gd name="T84" fmla="*/ 412 w 720"/>
              <a:gd name="T85" fmla="*/ 577 h 719"/>
              <a:gd name="T86" fmla="*/ 401 w 720"/>
              <a:gd name="T87" fmla="*/ 511 h 719"/>
              <a:gd name="T88" fmla="*/ 410 w 720"/>
              <a:gd name="T89" fmla="*/ 470 h 719"/>
              <a:gd name="T90" fmla="*/ 443 w 720"/>
              <a:gd name="T91" fmla="*/ 431 h 719"/>
              <a:gd name="T92" fmla="*/ 537 w 720"/>
              <a:gd name="T93" fmla="*/ 367 h 719"/>
              <a:gd name="T94" fmla="*/ 601 w 720"/>
              <a:gd name="T95" fmla="*/ 321 h 719"/>
              <a:gd name="T96" fmla="*/ 653 w 720"/>
              <a:gd name="T97" fmla="*/ 295 h 719"/>
              <a:gd name="T98" fmla="*/ 696 w 720"/>
              <a:gd name="T99" fmla="*/ 233 h 719"/>
              <a:gd name="T100" fmla="*/ 718 w 720"/>
              <a:gd name="T101" fmla="*/ 141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0" h="719">
                <a:moveTo>
                  <a:pt x="645" y="270"/>
                </a:moveTo>
                <a:lnTo>
                  <a:pt x="640" y="276"/>
                </a:lnTo>
                <a:lnTo>
                  <a:pt x="633" y="280"/>
                </a:lnTo>
                <a:lnTo>
                  <a:pt x="627" y="284"/>
                </a:lnTo>
                <a:lnTo>
                  <a:pt x="620" y="289"/>
                </a:lnTo>
                <a:lnTo>
                  <a:pt x="614" y="291"/>
                </a:lnTo>
                <a:lnTo>
                  <a:pt x="606" y="295"/>
                </a:lnTo>
                <a:lnTo>
                  <a:pt x="599" y="296"/>
                </a:lnTo>
                <a:lnTo>
                  <a:pt x="590" y="298"/>
                </a:lnTo>
                <a:lnTo>
                  <a:pt x="600" y="278"/>
                </a:lnTo>
                <a:lnTo>
                  <a:pt x="609" y="257"/>
                </a:lnTo>
                <a:lnTo>
                  <a:pt x="618" y="233"/>
                </a:lnTo>
                <a:lnTo>
                  <a:pt x="625" y="207"/>
                </a:lnTo>
                <a:lnTo>
                  <a:pt x="631" y="177"/>
                </a:lnTo>
                <a:lnTo>
                  <a:pt x="636" y="145"/>
                </a:lnTo>
                <a:lnTo>
                  <a:pt x="639" y="110"/>
                </a:lnTo>
                <a:lnTo>
                  <a:pt x="643" y="72"/>
                </a:lnTo>
                <a:lnTo>
                  <a:pt x="695" y="72"/>
                </a:lnTo>
                <a:lnTo>
                  <a:pt x="695" y="90"/>
                </a:lnTo>
                <a:lnTo>
                  <a:pt x="695" y="114"/>
                </a:lnTo>
                <a:lnTo>
                  <a:pt x="694" y="140"/>
                </a:lnTo>
                <a:lnTo>
                  <a:pt x="690" y="167"/>
                </a:lnTo>
                <a:lnTo>
                  <a:pt x="687" y="182"/>
                </a:lnTo>
                <a:lnTo>
                  <a:pt x="684" y="196"/>
                </a:lnTo>
                <a:lnTo>
                  <a:pt x="680" y="209"/>
                </a:lnTo>
                <a:lnTo>
                  <a:pt x="675" y="223"/>
                </a:lnTo>
                <a:lnTo>
                  <a:pt x="669" y="236"/>
                </a:lnTo>
                <a:lnTo>
                  <a:pt x="662" y="248"/>
                </a:lnTo>
                <a:lnTo>
                  <a:pt x="655" y="259"/>
                </a:lnTo>
                <a:lnTo>
                  <a:pt x="645" y="270"/>
                </a:lnTo>
                <a:lnTo>
                  <a:pt x="645" y="270"/>
                </a:lnTo>
                <a:close/>
                <a:moveTo>
                  <a:pt x="460" y="160"/>
                </a:moveTo>
                <a:lnTo>
                  <a:pt x="402" y="205"/>
                </a:lnTo>
                <a:lnTo>
                  <a:pt x="425" y="273"/>
                </a:lnTo>
                <a:lnTo>
                  <a:pt x="425" y="278"/>
                </a:lnTo>
                <a:lnTo>
                  <a:pt x="424" y="280"/>
                </a:lnTo>
                <a:lnTo>
                  <a:pt x="421" y="282"/>
                </a:lnTo>
                <a:lnTo>
                  <a:pt x="420" y="282"/>
                </a:lnTo>
                <a:lnTo>
                  <a:pt x="418" y="282"/>
                </a:lnTo>
                <a:lnTo>
                  <a:pt x="416" y="280"/>
                </a:lnTo>
                <a:lnTo>
                  <a:pt x="360" y="235"/>
                </a:lnTo>
                <a:lnTo>
                  <a:pt x="304" y="280"/>
                </a:lnTo>
                <a:lnTo>
                  <a:pt x="303" y="282"/>
                </a:lnTo>
                <a:lnTo>
                  <a:pt x="300" y="282"/>
                </a:lnTo>
                <a:lnTo>
                  <a:pt x="298" y="282"/>
                </a:lnTo>
                <a:lnTo>
                  <a:pt x="297" y="280"/>
                </a:lnTo>
                <a:lnTo>
                  <a:pt x="294" y="278"/>
                </a:lnTo>
                <a:lnTo>
                  <a:pt x="294" y="273"/>
                </a:lnTo>
                <a:lnTo>
                  <a:pt x="317" y="205"/>
                </a:lnTo>
                <a:lnTo>
                  <a:pt x="261" y="160"/>
                </a:lnTo>
                <a:lnTo>
                  <a:pt x="259" y="158"/>
                </a:lnTo>
                <a:lnTo>
                  <a:pt x="259" y="154"/>
                </a:lnTo>
                <a:lnTo>
                  <a:pt x="261" y="151"/>
                </a:lnTo>
                <a:lnTo>
                  <a:pt x="264" y="150"/>
                </a:lnTo>
                <a:lnTo>
                  <a:pt x="332" y="150"/>
                </a:lnTo>
                <a:lnTo>
                  <a:pt x="354" y="101"/>
                </a:lnTo>
                <a:lnTo>
                  <a:pt x="356" y="97"/>
                </a:lnTo>
                <a:lnTo>
                  <a:pt x="358" y="97"/>
                </a:lnTo>
                <a:lnTo>
                  <a:pt x="362" y="97"/>
                </a:lnTo>
                <a:lnTo>
                  <a:pt x="364" y="101"/>
                </a:lnTo>
                <a:lnTo>
                  <a:pt x="388" y="150"/>
                </a:lnTo>
                <a:lnTo>
                  <a:pt x="456" y="150"/>
                </a:lnTo>
                <a:lnTo>
                  <a:pt x="460" y="151"/>
                </a:lnTo>
                <a:lnTo>
                  <a:pt x="462" y="154"/>
                </a:lnTo>
                <a:lnTo>
                  <a:pt x="462" y="158"/>
                </a:lnTo>
                <a:lnTo>
                  <a:pt x="460" y="160"/>
                </a:lnTo>
                <a:close/>
                <a:moveTo>
                  <a:pt x="72" y="270"/>
                </a:moveTo>
                <a:lnTo>
                  <a:pt x="63" y="260"/>
                </a:lnTo>
                <a:lnTo>
                  <a:pt x="55" y="248"/>
                </a:lnTo>
                <a:lnTo>
                  <a:pt x="49" y="236"/>
                </a:lnTo>
                <a:lnTo>
                  <a:pt x="43" y="225"/>
                </a:lnTo>
                <a:lnTo>
                  <a:pt x="38" y="211"/>
                </a:lnTo>
                <a:lnTo>
                  <a:pt x="35" y="198"/>
                </a:lnTo>
                <a:lnTo>
                  <a:pt x="31" y="184"/>
                </a:lnTo>
                <a:lnTo>
                  <a:pt x="29" y="170"/>
                </a:lnTo>
                <a:lnTo>
                  <a:pt x="27" y="142"/>
                </a:lnTo>
                <a:lnTo>
                  <a:pt x="24" y="116"/>
                </a:lnTo>
                <a:lnTo>
                  <a:pt x="24" y="9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78" y="72"/>
                </a:lnTo>
                <a:lnTo>
                  <a:pt x="80" y="110"/>
                </a:lnTo>
                <a:lnTo>
                  <a:pt x="85" y="145"/>
                </a:lnTo>
                <a:lnTo>
                  <a:pt x="90" y="177"/>
                </a:lnTo>
                <a:lnTo>
                  <a:pt x="96" y="207"/>
                </a:lnTo>
                <a:lnTo>
                  <a:pt x="103" y="233"/>
                </a:lnTo>
                <a:lnTo>
                  <a:pt x="111" y="257"/>
                </a:lnTo>
                <a:lnTo>
                  <a:pt x="119" y="278"/>
                </a:lnTo>
                <a:lnTo>
                  <a:pt x="129" y="298"/>
                </a:lnTo>
                <a:lnTo>
                  <a:pt x="121" y="296"/>
                </a:lnTo>
                <a:lnTo>
                  <a:pt x="112" y="295"/>
                </a:lnTo>
                <a:lnTo>
                  <a:pt x="105" y="291"/>
                </a:lnTo>
                <a:lnTo>
                  <a:pt x="98" y="289"/>
                </a:lnTo>
                <a:lnTo>
                  <a:pt x="91" y="284"/>
                </a:lnTo>
                <a:lnTo>
                  <a:pt x="84" y="280"/>
                </a:lnTo>
                <a:lnTo>
                  <a:pt x="78" y="276"/>
                </a:lnTo>
                <a:lnTo>
                  <a:pt x="72" y="270"/>
                </a:lnTo>
                <a:lnTo>
                  <a:pt x="72" y="270"/>
                </a:lnTo>
                <a:close/>
                <a:moveTo>
                  <a:pt x="719" y="69"/>
                </a:moveTo>
                <a:lnTo>
                  <a:pt x="719" y="64"/>
                </a:lnTo>
                <a:lnTo>
                  <a:pt x="719" y="60"/>
                </a:lnTo>
                <a:lnTo>
                  <a:pt x="719" y="56"/>
                </a:lnTo>
                <a:lnTo>
                  <a:pt x="715" y="52"/>
                </a:lnTo>
                <a:lnTo>
                  <a:pt x="712" y="50"/>
                </a:lnTo>
                <a:lnTo>
                  <a:pt x="707" y="48"/>
                </a:lnTo>
                <a:lnTo>
                  <a:pt x="643" y="48"/>
                </a:lnTo>
                <a:lnTo>
                  <a:pt x="644" y="39"/>
                </a:lnTo>
                <a:lnTo>
                  <a:pt x="644" y="31"/>
                </a:lnTo>
                <a:lnTo>
                  <a:pt x="644" y="21"/>
                </a:lnTo>
                <a:lnTo>
                  <a:pt x="644" y="13"/>
                </a:lnTo>
                <a:lnTo>
                  <a:pt x="643" y="8"/>
                </a:lnTo>
                <a:lnTo>
                  <a:pt x="640" y="3"/>
                </a:lnTo>
                <a:lnTo>
                  <a:pt x="637" y="1"/>
                </a:lnTo>
                <a:lnTo>
                  <a:pt x="632" y="0"/>
                </a:lnTo>
                <a:lnTo>
                  <a:pt x="88" y="0"/>
                </a:lnTo>
                <a:lnTo>
                  <a:pt x="84" y="1"/>
                </a:lnTo>
                <a:lnTo>
                  <a:pt x="80" y="3"/>
                </a:lnTo>
                <a:lnTo>
                  <a:pt x="78" y="8"/>
                </a:lnTo>
                <a:lnTo>
                  <a:pt x="77" y="13"/>
                </a:lnTo>
                <a:lnTo>
                  <a:pt x="77" y="21"/>
                </a:lnTo>
                <a:lnTo>
                  <a:pt x="77" y="31"/>
                </a:lnTo>
                <a:lnTo>
                  <a:pt x="77" y="39"/>
                </a:lnTo>
                <a:lnTo>
                  <a:pt x="77" y="48"/>
                </a:lnTo>
                <a:lnTo>
                  <a:pt x="12" y="48"/>
                </a:lnTo>
                <a:lnTo>
                  <a:pt x="8" y="50"/>
                </a:lnTo>
                <a:lnTo>
                  <a:pt x="4" y="52"/>
                </a:lnTo>
                <a:lnTo>
                  <a:pt x="2" y="56"/>
                </a:lnTo>
                <a:lnTo>
                  <a:pt x="0" y="60"/>
                </a:lnTo>
                <a:lnTo>
                  <a:pt x="0" y="66"/>
                </a:lnTo>
                <a:lnTo>
                  <a:pt x="0" y="72"/>
                </a:lnTo>
                <a:lnTo>
                  <a:pt x="0" y="94"/>
                </a:lnTo>
                <a:lnTo>
                  <a:pt x="0" y="119"/>
                </a:lnTo>
                <a:lnTo>
                  <a:pt x="3" y="147"/>
                </a:lnTo>
                <a:lnTo>
                  <a:pt x="6" y="177"/>
                </a:lnTo>
                <a:lnTo>
                  <a:pt x="9" y="192"/>
                </a:lnTo>
                <a:lnTo>
                  <a:pt x="12" y="207"/>
                </a:lnTo>
                <a:lnTo>
                  <a:pt x="17" y="222"/>
                </a:lnTo>
                <a:lnTo>
                  <a:pt x="22" y="236"/>
                </a:lnTo>
                <a:lnTo>
                  <a:pt x="29" y="250"/>
                </a:lnTo>
                <a:lnTo>
                  <a:pt x="36" y="263"/>
                </a:lnTo>
                <a:lnTo>
                  <a:pt x="44" y="276"/>
                </a:lnTo>
                <a:lnTo>
                  <a:pt x="55" y="286"/>
                </a:lnTo>
                <a:lnTo>
                  <a:pt x="63" y="295"/>
                </a:lnTo>
                <a:lnTo>
                  <a:pt x="73" y="302"/>
                </a:lnTo>
                <a:lnTo>
                  <a:pt x="84" y="308"/>
                </a:lnTo>
                <a:lnTo>
                  <a:pt x="94" y="314"/>
                </a:lnTo>
                <a:lnTo>
                  <a:pt x="106" y="317"/>
                </a:lnTo>
                <a:lnTo>
                  <a:pt x="118" y="321"/>
                </a:lnTo>
                <a:lnTo>
                  <a:pt x="130" y="322"/>
                </a:lnTo>
                <a:lnTo>
                  <a:pt x="143" y="323"/>
                </a:lnTo>
                <a:lnTo>
                  <a:pt x="156" y="340"/>
                </a:lnTo>
                <a:lnTo>
                  <a:pt x="169" y="355"/>
                </a:lnTo>
                <a:lnTo>
                  <a:pt x="182" y="368"/>
                </a:lnTo>
                <a:lnTo>
                  <a:pt x="195" y="379"/>
                </a:lnTo>
                <a:lnTo>
                  <a:pt x="222" y="398"/>
                </a:lnTo>
                <a:lnTo>
                  <a:pt x="248" y="414"/>
                </a:lnTo>
                <a:lnTo>
                  <a:pt x="262" y="423"/>
                </a:lnTo>
                <a:lnTo>
                  <a:pt x="276" y="433"/>
                </a:lnTo>
                <a:lnTo>
                  <a:pt x="288" y="441"/>
                </a:lnTo>
                <a:lnTo>
                  <a:pt x="298" y="452"/>
                </a:lnTo>
                <a:lnTo>
                  <a:pt x="303" y="456"/>
                </a:lnTo>
                <a:lnTo>
                  <a:pt x="306" y="462"/>
                </a:lnTo>
                <a:lnTo>
                  <a:pt x="310" y="470"/>
                </a:lnTo>
                <a:lnTo>
                  <a:pt x="312" y="476"/>
                </a:lnTo>
                <a:lnTo>
                  <a:pt x="314" y="484"/>
                </a:lnTo>
                <a:lnTo>
                  <a:pt x="316" y="492"/>
                </a:lnTo>
                <a:lnTo>
                  <a:pt x="317" y="500"/>
                </a:lnTo>
                <a:lnTo>
                  <a:pt x="317" y="510"/>
                </a:lnTo>
                <a:lnTo>
                  <a:pt x="316" y="529"/>
                </a:lnTo>
                <a:lnTo>
                  <a:pt x="314" y="546"/>
                </a:lnTo>
                <a:lnTo>
                  <a:pt x="312" y="561"/>
                </a:lnTo>
                <a:lnTo>
                  <a:pt x="308" y="574"/>
                </a:lnTo>
                <a:lnTo>
                  <a:pt x="305" y="586"/>
                </a:lnTo>
                <a:lnTo>
                  <a:pt x="299" y="596"/>
                </a:lnTo>
                <a:lnTo>
                  <a:pt x="293" y="605"/>
                </a:lnTo>
                <a:lnTo>
                  <a:pt x="287" y="612"/>
                </a:lnTo>
                <a:lnTo>
                  <a:pt x="279" y="618"/>
                </a:lnTo>
                <a:lnTo>
                  <a:pt x="270" y="623"/>
                </a:lnTo>
                <a:lnTo>
                  <a:pt x="262" y="628"/>
                </a:lnTo>
                <a:lnTo>
                  <a:pt x="251" y="630"/>
                </a:lnTo>
                <a:lnTo>
                  <a:pt x="241" y="633"/>
                </a:lnTo>
                <a:lnTo>
                  <a:pt x="230" y="634"/>
                </a:lnTo>
                <a:lnTo>
                  <a:pt x="217" y="635"/>
                </a:lnTo>
                <a:lnTo>
                  <a:pt x="204" y="635"/>
                </a:lnTo>
                <a:lnTo>
                  <a:pt x="199" y="636"/>
                </a:lnTo>
                <a:lnTo>
                  <a:pt x="195" y="638"/>
                </a:lnTo>
                <a:lnTo>
                  <a:pt x="193" y="642"/>
                </a:lnTo>
                <a:lnTo>
                  <a:pt x="192" y="647"/>
                </a:lnTo>
                <a:lnTo>
                  <a:pt x="192" y="707"/>
                </a:lnTo>
                <a:lnTo>
                  <a:pt x="193" y="711"/>
                </a:lnTo>
                <a:lnTo>
                  <a:pt x="195" y="716"/>
                </a:lnTo>
                <a:lnTo>
                  <a:pt x="199" y="718"/>
                </a:lnTo>
                <a:lnTo>
                  <a:pt x="204" y="719"/>
                </a:lnTo>
                <a:lnTo>
                  <a:pt x="515" y="719"/>
                </a:lnTo>
                <a:lnTo>
                  <a:pt x="520" y="718"/>
                </a:lnTo>
                <a:lnTo>
                  <a:pt x="524" y="716"/>
                </a:lnTo>
                <a:lnTo>
                  <a:pt x="526" y="711"/>
                </a:lnTo>
                <a:lnTo>
                  <a:pt x="527" y="707"/>
                </a:lnTo>
                <a:lnTo>
                  <a:pt x="527" y="647"/>
                </a:lnTo>
                <a:lnTo>
                  <a:pt x="526" y="642"/>
                </a:lnTo>
                <a:lnTo>
                  <a:pt x="524" y="638"/>
                </a:lnTo>
                <a:lnTo>
                  <a:pt x="520" y="636"/>
                </a:lnTo>
                <a:lnTo>
                  <a:pt x="515" y="635"/>
                </a:lnTo>
                <a:lnTo>
                  <a:pt x="501" y="635"/>
                </a:lnTo>
                <a:lnTo>
                  <a:pt x="488" y="634"/>
                </a:lnTo>
                <a:lnTo>
                  <a:pt x="476" y="631"/>
                </a:lnTo>
                <a:lnTo>
                  <a:pt x="464" y="628"/>
                </a:lnTo>
                <a:lnTo>
                  <a:pt x="455" y="623"/>
                </a:lnTo>
                <a:lnTo>
                  <a:pt x="445" y="618"/>
                </a:lnTo>
                <a:lnTo>
                  <a:pt x="437" y="612"/>
                </a:lnTo>
                <a:lnTo>
                  <a:pt x="429" y="605"/>
                </a:lnTo>
                <a:lnTo>
                  <a:pt x="423" y="597"/>
                </a:lnTo>
                <a:lnTo>
                  <a:pt x="417" y="587"/>
                </a:lnTo>
                <a:lnTo>
                  <a:pt x="412" y="577"/>
                </a:lnTo>
                <a:lnTo>
                  <a:pt x="408" y="566"/>
                </a:lnTo>
                <a:lnTo>
                  <a:pt x="405" y="554"/>
                </a:lnTo>
                <a:lnTo>
                  <a:pt x="402" y="541"/>
                </a:lnTo>
                <a:lnTo>
                  <a:pt x="401" y="525"/>
                </a:lnTo>
                <a:lnTo>
                  <a:pt x="401" y="511"/>
                </a:lnTo>
                <a:lnTo>
                  <a:pt x="401" y="500"/>
                </a:lnTo>
                <a:lnTo>
                  <a:pt x="402" y="492"/>
                </a:lnTo>
                <a:lnTo>
                  <a:pt x="404" y="484"/>
                </a:lnTo>
                <a:lnTo>
                  <a:pt x="406" y="476"/>
                </a:lnTo>
                <a:lnTo>
                  <a:pt x="410" y="470"/>
                </a:lnTo>
                <a:lnTo>
                  <a:pt x="412" y="462"/>
                </a:lnTo>
                <a:lnTo>
                  <a:pt x="417" y="456"/>
                </a:lnTo>
                <a:lnTo>
                  <a:pt x="420" y="451"/>
                </a:lnTo>
                <a:lnTo>
                  <a:pt x="431" y="441"/>
                </a:lnTo>
                <a:lnTo>
                  <a:pt x="443" y="431"/>
                </a:lnTo>
                <a:lnTo>
                  <a:pt x="456" y="423"/>
                </a:lnTo>
                <a:lnTo>
                  <a:pt x="471" y="414"/>
                </a:lnTo>
                <a:lnTo>
                  <a:pt x="498" y="398"/>
                </a:lnTo>
                <a:lnTo>
                  <a:pt x="524" y="379"/>
                </a:lnTo>
                <a:lnTo>
                  <a:pt x="537" y="367"/>
                </a:lnTo>
                <a:lnTo>
                  <a:pt x="550" y="354"/>
                </a:lnTo>
                <a:lnTo>
                  <a:pt x="563" y="340"/>
                </a:lnTo>
                <a:lnTo>
                  <a:pt x="575" y="323"/>
                </a:lnTo>
                <a:lnTo>
                  <a:pt x="588" y="322"/>
                </a:lnTo>
                <a:lnTo>
                  <a:pt x="601" y="321"/>
                </a:lnTo>
                <a:lnTo>
                  <a:pt x="612" y="317"/>
                </a:lnTo>
                <a:lnTo>
                  <a:pt x="624" y="314"/>
                </a:lnTo>
                <a:lnTo>
                  <a:pt x="634" y="308"/>
                </a:lnTo>
                <a:lnTo>
                  <a:pt x="644" y="302"/>
                </a:lnTo>
                <a:lnTo>
                  <a:pt x="653" y="295"/>
                </a:lnTo>
                <a:lnTo>
                  <a:pt x="663" y="286"/>
                </a:lnTo>
                <a:lnTo>
                  <a:pt x="672" y="274"/>
                </a:lnTo>
                <a:lnTo>
                  <a:pt x="682" y="261"/>
                </a:lnTo>
                <a:lnTo>
                  <a:pt x="690" y="248"/>
                </a:lnTo>
                <a:lnTo>
                  <a:pt x="696" y="233"/>
                </a:lnTo>
                <a:lnTo>
                  <a:pt x="702" y="219"/>
                </a:lnTo>
                <a:lnTo>
                  <a:pt x="707" y="203"/>
                </a:lnTo>
                <a:lnTo>
                  <a:pt x="711" y="188"/>
                </a:lnTo>
                <a:lnTo>
                  <a:pt x="713" y="171"/>
                </a:lnTo>
                <a:lnTo>
                  <a:pt x="718" y="141"/>
                </a:lnTo>
                <a:lnTo>
                  <a:pt x="719" y="113"/>
                </a:lnTo>
                <a:lnTo>
                  <a:pt x="720" y="88"/>
                </a:lnTo>
                <a:lnTo>
                  <a:pt x="719" y="69"/>
                </a:lnTo>
                <a:close/>
              </a:path>
            </a:pathLst>
          </a:custGeom>
          <a:solidFill>
            <a:srgbClr val="CE295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724">
            <a:extLst>
              <a:ext uri="{FF2B5EF4-FFF2-40B4-BE49-F238E27FC236}">
                <a16:creationId xmlns:a16="http://schemas.microsoft.com/office/drawing/2014/main" id="{DD2DB9C5-BF51-4EC7-9BB4-A353966906BB}"/>
              </a:ext>
            </a:extLst>
          </p:cNvPr>
          <p:cNvSpPr>
            <a:spLocks/>
          </p:cNvSpPr>
          <p:nvPr/>
        </p:nvSpPr>
        <p:spPr bwMode="auto">
          <a:xfrm>
            <a:off x="10521750" y="3092876"/>
            <a:ext cx="277813" cy="277813"/>
          </a:xfrm>
          <a:custGeom>
            <a:avLst/>
            <a:gdLst>
              <a:gd name="T0" fmla="*/ 782 w 873"/>
              <a:gd name="T1" fmla="*/ 436 h 873"/>
              <a:gd name="T2" fmla="*/ 779 w 873"/>
              <a:gd name="T3" fmla="*/ 428 h 873"/>
              <a:gd name="T4" fmla="*/ 773 w 873"/>
              <a:gd name="T5" fmla="*/ 423 h 873"/>
              <a:gd name="T6" fmla="*/ 451 w 873"/>
              <a:gd name="T7" fmla="*/ 421 h 873"/>
              <a:gd name="T8" fmla="*/ 711 w 873"/>
              <a:gd name="T9" fmla="*/ 180 h 873"/>
              <a:gd name="T10" fmla="*/ 718 w 873"/>
              <a:gd name="T11" fmla="*/ 176 h 873"/>
              <a:gd name="T12" fmla="*/ 721 w 873"/>
              <a:gd name="T13" fmla="*/ 168 h 873"/>
              <a:gd name="T14" fmla="*/ 721 w 873"/>
              <a:gd name="T15" fmla="*/ 12 h 873"/>
              <a:gd name="T16" fmla="*/ 718 w 873"/>
              <a:gd name="T17" fmla="*/ 4 h 873"/>
              <a:gd name="T18" fmla="*/ 711 w 873"/>
              <a:gd name="T19" fmla="*/ 0 h 873"/>
              <a:gd name="T20" fmla="*/ 163 w 873"/>
              <a:gd name="T21" fmla="*/ 0 h 873"/>
              <a:gd name="T22" fmla="*/ 155 w 873"/>
              <a:gd name="T23" fmla="*/ 4 h 873"/>
              <a:gd name="T24" fmla="*/ 151 w 873"/>
              <a:gd name="T25" fmla="*/ 12 h 873"/>
              <a:gd name="T26" fmla="*/ 151 w 873"/>
              <a:gd name="T27" fmla="*/ 168 h 873"/>
              <a:gd name="T28" fmla="*/ 155 w 873"/>
              <a:gd name="T29" fmla="*/ 176 h 873"/>
              <a:gd name="T30" fmla="*/ 163 w 873"/>
              <a:gd name="T31" fmla="*/ 180 h 873"/>
              <a:gd name="T32" fmla="*/ 421 w 873"/>
              <a:gd name="T33" fmla="*/ 421 h 873"/>
              <a:gd name="T34" fmla="*/ 99 w 873"/>
              <a:gd name="T35" fmla="*/ 423 h 873"/>
              <a:gd name="T36" fmla="*/ 93 w 873"/>
              <a:gd name="T37" fmla="*/ 428 h 873"/>
              <a:gd name="T38" fmla="*/ 90 w 873"/>
              <a:gd name="T39" fmla="*/ 436 h 873"/>
              <a:gd name="T40" fmla="*/ 11 w 873"/>
              <a:gd name="T41" fmla="*/ 663 h 873"/>
              <a:gd name="T42" fmla="*/ 4 w 873"/>
              <a:gd name="T43" fmla="*/ 667 h 873"/>
              <a:gd name="T44" fmla="*/ 0 w 873"/>
              <a:gd name="T45" fmla="*/ 675 h 873"/>
              <a:gd name="T46" fmla="*/ 0 w 873"/>
              <a:gd name="T47" fmla="*/ 861 h 873"/>
              <a:gd name="T48" fmla="*/ 4 w 873"/>
              <a:gd name="T49" fmla="*/ 869 h 873"/>
              <a:gd name="T50" fmla="*/ 11 w 873"/>
              <a:gd name="T51" fmla="*/ 873 h 873"/>
              <a:gd name="T52" fmla="*/ 198 w 873"/>
              <a:gd name="T53" fmla="*/ 873 h 873"/>
              <a:gd name="T54" fmla="*/ 205 w 873"/>
              <a:gd name="T55" fmla="*/ 869 h 873"/>
              <a:gd name="T56" fmla="*/ 210 w 873"/>
              <a:gd name="T57" fmla="*/ 861 h 873"/>
              <a:gd name="T58" fmla="*/ 210 w 873"/>
              <a:gd name="T59" fmla="*/ 675 h 873"/>
              <a:gd name="T60" fmla="*/ 205 w 873"/>
              <a:gd name="T61" fmla="*/ 667 h 873"/>
              <a:gd name="T62" fmla="*/ 198 w 873"/>
              <a:gd name="T63" fmla="*/ 663 h 873"/>
              <a:gd name="T64" fmla="*/ 120 w 873"/>
              <a:gd name="T65" fmla="*/ 451 h 873"/>
              <a:gd name="T66" fmla="*/ 346 w 873"/>
              <a:gd name="T67" fmla="*/ 662 h 873"/>
              <a:gd name="T68" fmla="*/ 337 w 873"/>
              <a:gd name="T69" fmla="*/ 665 h 873"/>
              <a:gd name="T70" fmla="*/ 332 w 873"/>
              <a:gd name="T71" fmla="*/ 671 h 873"/>
              <a:gd name="T72" fmla="*/ 331 w 873"/>
              <a:gd name="T73" fmla="*/ 858 h 873"/>
              <a:gd name="T74" fmla="*/ 333 w 873"/>
              <a:gd name="T75" fmla="*/ 867 h 873"/>
              <a:gd name="T76" fmla="*/ 340 w 873"/>
              <a:gd name="T77" fmla="*/ 872 h 873"/>
              <a:gd name="T78" fmla="*/ 526 w 873"/>
              <a:gd name="T79" fmla="*/ 873 h 873"/>
              <a:gd name="T80" fmla="*/ 535 w 873"/>
              <a:gd name="T81" fmla="*/ 871 h 873"/>
              <a:gd name="T82" fmla="*/ 540 w 873"/>
              <a:gd name="T83" fmla="*/ 863 h 873"/>
              <a:gd name="T84" fmla="*/ 541 w 873"/>
              <a:gd name="T85" fmla="*/ 677 h 873"/>
              <a:gd name="T86" fmla="*/ 539 w 873"/>
              <a:gd name="T87" fmla="*/ 669 h 873"/>
              <a:gd name="T88" fmla="*/ 533 w 873"/>
              <a:gd name="T89" fmla="*/ 664 h 873"/>
              <a:gd name="T90" fmla="*/ 451 w 873"/>
              <a:gd name="T91" fmla="*/ 662 h 873"/>
              <a:gd name="T92" fmla="*/ 752 w 873"/>
              <a:gd name="T93" fmla="*/ 662 h 873"/>
              <a:gd name="T94" fmla="*/ 671 w 873"/>
              <a:gd name="T95" fmla="*/ 664 h 873"/>
              <a:gd name="T96" fmla="*/ 664 w 873"/>
              <a:gd name="T97" fmla="*/ 669 h 873"/>
              <a:gd name="T98" fmla="*/ 662 w 873"/>
              <a:gd name="T99" fmla="*/ 678 h 873"/>
              <a:gd name="T100" fmla="*/ 663 w 873"/>
              <a:gd name="T101" fmla="*/ 863 h 873"/>
              <a:gd name="T102" fmla="*/ 669 w 873"/>
              <a:gd name="T103" fmla="*/ 871 h 873"/>
              <a:gd name="T104" fmla="*/ 677 w 873"/>
              <a:gd name="T105" fmla="*/ 873 h 873"/>
              <a:gd name="T106" fmla="*/ 864 w 873"/>
              <a:gd name="T107" fmla="*/ 872 h 873"/>
              <a:gd name="T108" fmla="*/ 870 w 873"/>
              <a:gd name="T109" fmla="*/ 867 h 873"/>
              <a:gd name="T110" fmla="*/ 873 w 873"/>
              <a:gd name="T111" fmla="*/ 858 h 873"/>
              <a:gd name="T112" fmla="*/ 871 w 873"/>
              <a:gd name="T113" fmla="*/ 671 h 873"/>
              <a:gd name="T114" fmla="*/ 866 w 873"/>
              <a:gd name="T115" fmla="*/ 665 h 873"/>
              <a:gd name="T116" fmla="*/ 858 w 873"/>
              <a:gd name="T117" fmla="*/ 662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73" h="873">
                <a:moveTo>
                  <a:pt x="858" y="662"/>
                </a:moveTo>
                <a:lnTo>
                  <a:pt x="782" y="662"/>
                </a:lnTo>
                <a:lnTo>
                  <a:pt x="782" y="436"/>
                </a:lnTo>
                <a:lnTo>
                  <a:pt x="782" y="433"/>
                </a:lnTo>
                <a:lnTo>
                  <a:pt x="781" y="431"/>
                </a:lnTo>
                <a:lnTo>
                  <a:pt x="779" y="428"/>
                </a:lnTo>
                <a:lnTo>
                  <a:pt x="778" y="426"/>
                </a:lnTo>
                <a:lnTo>
                  <a:pt x="776" y="424"/>
                </a:lnTo>
                <a:lnTo>
                  <a:pt x="773" y="423"/>
                </a:lnTo>
                <a:lnTo>
                  <a:pt x="771" y="421"/>
                </a:lnTo>
                <a:lnTo>
                  <a:pt x="767" y="421"/>
                </a:lnTo>
                <a:lnTo>
                  <a:pt x="451" y="421"/>
                </a:lnTo>
                <a:lnTo>
                  <a:pt x="451" y="180"/>
                </a:lnTo>
                <a:lnTo>
                  <a:pt x="707" y="180"/>
                </a:lnTo>
                <a:lnTo>
                  <a:pt x="711" y="180"/>
                </a:lnTo>
                <a:lnTo>
                  <a:pt x="713" y="179"/>
                </a:lnTo>
                <a:lnTo>
                  <a:pt x="716" y="178"/>
                </a:lnTo>
                <a:lnTo>
                  <a:pt x="718" y="176"/>
                </a:lnTo>
                <a:lnTo>
                  <a:pt x="719" y="174"/>
                </a:lnTo>
                <a:lnTo>
                  <a:pt x="721" y="172"/>
                </a:lnTo>
                <a:lnTo>
                  <a:pt x="721" y="168"/>
                </a:lnTo>
                <a:lnTo>
                  <a:pt x="722" y="165"/>
                </a:lnTo>
                <a:lnTo>
                  <a:pt x="722" y="15"/>
                </a:lnTo>
                <a:lnTo>
                  <a:pt x="721" y="12"/>
                </a:lnTo>
                <a:lnTo>
                  <a:pt x="721" y="10"/>
                </a:lnTo>
                <a:lnTo>
                  <a:pt x="719" y="6"/>
                </a:lnTo>
                <a:lnTo>
                  <a:pt x="718" y="4"/>
                </a:lnTo>
                <a:lnTo>
                  <a:pt x="716" y="2"/>
                </a:lnTo>
                <a:lnTo>
                  <a:pt x="713" y="1"/>
                </a:lnTo>
                <a:lnTo>
                  <a:pt x="711" y="0"/>
                </a:lnTo>
                <a:lnTo>
                  <a:pt x="707" y="0"/>
                </a:lnTo>
                <a:lnTo>
                  <a:pt x="165" y="0"/>
                </a:lnTo>
                <a:lnTo>
                  <a:pt x="163" y="0"/>
                </a:lnTo>
                <a:lnTo>
                  <a:pt x="159" y="1"/>
                </a:lnTo>
                <a:lnTo>
                  <a:pt x="157" y="2"/>
                </a:lnTo>
                <a:lnTo>
                  <a:pt x="155" y="4"/>
                </a:lnTo>
                <a:lnTo>
                  <a:pt x="153" y="6"/>
                </a:lnTo>
                <a:lnTo>
                  <a:pt x="152" y="10"/>
                </a:lnTo>
                <a:lnTo>
                  <a:pt x="151" y="12"/>
                </a:lnTo>
                <a:lnTo>
                  <a:pt x="150" y="15"/>
                </a:lnTo>
                <a:lnTo>
                  <a:pt x="150" y="165"/>
                </a:lnTo>
                <a:lnTo>
                  <a:pt x="151" y="168"/>
                </a:lnTo>
                <a:lnTo>
                  <a:pt x="152" y="172"/>
                </a:lnTo>
                <a:lnTo>
                  <a:pt x="153" y="174"/>
                </a:lnTo>
                <a:lnTo>
                  <a:pt x="155" y="176"/>
                </a:lnTo>
                <a:lnTo>
                  <a:pt x="157" y="178"/>
                </a:lnTo>
                <a:lnTo>
                  <a:pt x="159" y="179"/>
                </a:lnTo>
                <a:lnTo>
                  <a:pt x="163" y="180"/>
                </a:lnTo>
                <a:lnTo>
                  <a:pt x="165" y="180"/>
                </a:lnTo>
                <a:lnTo>
                  <a:pt x="421" y="180"/>
                </a:lnTo>
                <a:lnTo>
                  <a:pt x="421" y="421"/>
                </a:lnTo>
                <a:lnTo>
                  <a:pt x="105" y="421"/>
                </a:lnTo>
                <a:lnTo>
                  <a:pt x="101" y="421"/>
                </a:lnTo>
                <a:lnTo>
                  <a:pt x="99" y="423"/>
                </a:lnTo>
                <a:lnTo>
                  <a:pt x="96" y="424"/>
                </a:lnTo>
                <a:lnTo>
                  <a:pt x="94" y="426"/>
                </a:lnTo>
                <a:lnTo>
                  <a:pt x="93" y="428"/>
                </a:lnTo>
                <a:lnTo>
                  <a:pt x="91" y="431"/>
                </a:lnTo>
                <a:lnTo>
                  <a:pt x="91" y="433"/>
                </a:lnTo>
                <a:lnTo>
                  <a:pt x="90" y="436"/>
                </a:lnTo>
                <a:lnTo>
                  <a:pt x="90" y="662"/>
                </a:lnTo>
                <a:lnTo>
                  <a:pt x="15" y="662"/>
                </a:lnTo>
                <a:lnTo>
                  <a:pt x="11" y="663"/>
                </a:lnTo>
                <a:lnTo>
                  <a:pt x="9" y="664"/>
                </a:lnTo>
                <a:lnTo>
                  <a:pt x="6" y="665"/>
                </a:lnTo>
                <a:lnTo>
                  <a:pt x="4" y="667"/>
                </a:lnTo>
                <a:lnTo>
                  <a:pt x="2" y="669"/>
                </a:lnTo>
                <a:lnTo>
                  <a:pt x="1" y="671"/>
                </a:lnTo>
                <a:lnTo>
                  <a:pt x="0" y="675"/>
                </a:lnTo>
                <a:lnTo>
                  <a:pt x="0" y="678"/>
                </a:lnTo>
                <a:lnTo>
                  <a:pt x="0" y="858"/>
                </a:lnTo>
                <a:lnTo>
                  <a:pt x="0" y="861"/>
                </a:lnTo>
                <a:lnTo>
                  <a:pt x="1" y="863"/>
                </a:lnTo>
                <a:lnTo>
                  <a:pt x="2" y="867"/>
                </a:lnTo>
                <a:lnTo>
                  <a:pt x="4" y="869"/>
                </a:lnTo>
                <a:lnTo>
                  <a:pt x="6" y="871"/>
                </a:lnTo>
                <a:lnTo>
                  <a:pt x="9" y="872"/>
                </a:lnTo>
                <a:lnTo>
                  <a:pt x="11" y="873"/>
                </a:lnTo>
                <a:lnTo>
                  <a:pt x="15" y="873"/>
                </a:lnTo>
                <a:lnTo>
                  <a:pt x="196" y="873"/>
                </a:lnTo>
                <a:lnTo>
                  <a:pt x="198" y="873"/>
                </a:lnTo>
                <a:lnTo>
                  <a:pt x="201" y="872"/>
                </a:lnTo>
                <a:lnTo>
                  <a:pt x="203" y="871"/>
                </a:lnTo>
                <a:lnTo>
                  <a:pt x="205" y="869"/>
                </a:lnTo>
                <a:lnTo>
                  <a:pt x="208" y="867"/>
                </a:lnTo>
                <a:lnTo>
                  <a:pt x="209" y="863"/>
                </a:lnTo>
                <a:lnTo>
                  <a:pt x="210" y="861"/>
                </a:lnTo>
                <a:lnTo>
                  <a:pt x="211" y="858"/>
                </a:lnTo>
                <a:lnTo>
                  <a:pt x="211" y="677"/>
                </a:lnTo>
                <a:lnTo>
                  <a:pt x="210" y="675"/>
                </a:lnTo>
                <a:lnTo>
                  <a:pt x="209" y="671"/>
                </a:lnTo>
                <a:lnTo>
                  <a:pt x="208" y="669"/>
                </a:lnTo>
                <a:lnTo>
                  <a:pt x="205" y="667"/>
                </a:lnTo>
                <a:lnTo>
                  <a:pt x="203" y="665"/>
                </a:lnTo>
                <a:lnTo>
                  <a:pt x="201" y="664"/>
                </a:lnTo>
                <a:lnTo>
                  <a:pt x="198" y="663"/>
                </a:lnTo>
                <a:lnTo>
                  <a:pt x="196" y="663"/>
                </a:lnTo>
                <a:lnTo>
                  <a:pt x="120" y="662"/>
                </a:lnTo>
                <a:lnTo>
                  <a:pt x="120" y="451"/>
                </a:lnTo>
                <a:lnTo>
                  <a:pt x="421" y="451"/>
                </a:lnTo>
                <a:lnTo>
                  <a:pt x="421" y="662"/>
                </a:lnTo>
                <a:lnTo>
                  <a:pt x="346" y="662"/>
                </a:lnTo>
                <a:lnTo>
                  <a:pt x="343" y="663"/>
                </a:lnTo>
                <a:lnTo>
                  <a:pt x="340" y="664"/>
                </a:lnTo>
                <a:lnTo>
                  <a:pt x="337" y="665"/>
                </a:lnTo>
                <a:lnTo>
                  <a:pt x="335" y="667"/>
                </a:lnTo>
                <a:lnTo>
                  <a:pt x="333" y="669"/>
                </a:lnTo>
                <a:lnTo>
                  <a:pt x="332" y="671"/>
                </a:lnTo>
                <a:lnTo>
                  <a:pt x="331" y="675"/>
                </a:lnTo>
                <a:lnTo>
                  <a:pt x="331" y="678"/>
                </a:lnTo>
                <a:lnTo>
                  <a:pt x="331" y="858"/>
                </a:lnTo>
                <a:lnTo>
                  <a:pt x="331" y="861"/>
                </a:lnTo>
                <a:lnTo>
                  <a:pt x="332" y="863"/>
                </a:lnTo>
                <a:lnTo>
                  <a:pt x="333" y="867"/>
                </a:lnTo>
                <a:lnTo>
                  <a:pt x="335" y="869"/>
                </a:lnTo>
                <a:lnTo>
                  <a:pt x="337" y="871"/>
                </a:lnTo>
                <a:lnTo>
                  <a:pt x="340" y="872"/>
                </a:lnTo>
                <a:lnTo>
                  <a:pt x="343" y="873"/>
                </a:lnTo>
                <a:lnTo>
                  <a:pt x="346" y="873"/>
                </a:lnTo>
                <a:lnTo>
                  <a:pt x="526" y="873"/>
                </a:lnTo>
                <a:lnTo>
                  <a:pt x="529" y="873"/>
                </a:lnTo>
                <a:lnTo>
                  <a:pt x="533" y="872"/>
                </a:lnTo>
                <a:lnTo>
                  <a:pt x="535" y="871"/>
                </a:lnTo>
                <a:lnTo>
                  <a:pt x="537" y="869"/>
                </a:lnTo>
                <a:lnTo>
                  <a:pt x="539" y="867"/>
                </a:lnTo>
                <a:lnTo>
                  <a:pt x="540" y="863"/>
                </a:lnTo>
                <a:lnTo>
                  <a:pt x="541" y="861"/>
                </a:lnTo>
                <a:lnTo>
                  <a:pt x="541" y="858"/>
                </a:lnTo>
                <a:lnTo>
                  <a:pt x="541" y="677"/>
                </a:lnTo>
                <a:lnTo>
                  <a:pt x="541" y="675"/>
                </a:lnTo>
                <a:lnTo>
                  <a:pt x="540" y="671"/>
                </a:lnTo>
                <a:lnTo>
                  <a:pt x="539" y="669"/>
                </a:lnTo>
                <a:lnTo>
                  <a:pt x="537" y="667"/>
                </a:lnTo>
                <a:lnTo>
                  <a:pt x="535" y="665"/>
                </a:lnTo>
                <a:lnTo>
                  <a:pt x="533" y="664"/>
                </a:lnTo>
                <a:lnTo>
                  <a:pt x="529" y="663"/>
                </a:lnTo>
                <a:lnTo>
                  <a:pt x="526" y="663"/>
                </a:lnTo>
                <a:lnTo>
                  <a:pt x="451" y="662"/>
                </a:lnTo>
                <a:lnTo>
                  <a:pt x="451" y="451"/>
                </a:lnTo>
                <a:lnTo>
                  <a:pt x="752" y="451"/>
                </a:lnTo>
                <a:lnTo>
                  <a:pt x="752" y="662"/>
                </a:lnTo>
                <a:lnTo>
                  <a:pt x="677" y="662"/>
                </a:lnTo>
                <a:lnTo>
                  <a:pt x="674" y="663"/>
                </a:lnTo>
                <a:lnTo>
                  <a:pt x="671" y="664"/>
                </a:lnTo>
                <a:lnTo>
                  <a:pt x="669" y="665"/>
                </a:lnTo>
                <a:lnTo>
                  <a:pt x="667" y="667"/>
                </a:lnTo>
                <a:lnTo>
                  <a:pt x="664" y="669"/>
                </a:lnTo>
                <a:lnTo>
                  <a:pt x="663" y="671"/>
                </a:lnTo>
                <a:lnTo>
                  <a:pt x="662" y="675"/>
                </a:lnTo>
                <a:lnTo>
                  <a:pt x="662" y="678"/>
                </a:lnTo>
                <a:lnTo>
                  <a:pt x="662" y="858"/>
                </a:lnTo>
                <a:lnTo>
                  <a:pt x="662" y="861"/>
                </a:lnTo>
                <a:lnTo>
                  <a:pt x="663" y="863"/>
                </a:lnTo>
                <a:lnTo>
                  <a:pt x="664" y="867"/>
                </a:lnTo>
                <a:lnTo>
                  <a:pt x="667" y="869"/>
                </a:lnTo>
                <a:lnTo>
                  <a:pt x="669" y="871"/>
                </a:lnTo>
                <a:lnTo>
                  <a:pt x="671" y="872"/>
                </a:lnTo>
                <a:lnTo>
                  <a:pt x="674" y="873"/>
                </a:lnTo>
                <a:lnTo>
                  <a:pt x="677" y="873"/>
                </a:lnTo>
                <a:lnTo>
                  <a:pt x="858" y="873"/>
                </a:lnTo>
                <a:lnTo>
                  <a:pt x="861" y="873"/>
                </a:lnTo>
                <a:lnTo>
                  <a:pt x="864" y="872"/>
                </a:lnTo>
                <a:lnTo>
                  <a:pt x="866" y="871"/>
                </a:lnTo>
                <a:lnTo>
                  <a:pt x="868" y="869"/>
                </a:lnTo>
                <a:lnTo>
                  <a:pt x="870" y="867"/>
                </a:lnTo>
                <a:lnTo>
                  <a:pt x="871" y="863"/>
                </a:lnTo>
                <a:lnTo>
                  <a:pt x="873" y="861"/>
                </a:lnTo>
                <a:lnTo>
                  <a:pt x="873" y="858"/>
                </a:lnTo>
                <a:lnTo>
                  <a:pt x="873" y="677"/>
                </a:lnTo>
                <a:lnTo>
                  <a:pt x="873" y="675"/>
                </a:lnTo>
                <a:lnTo>
                  <a:pt x="871" y="671"/>
                </a:lnTo>
                <a:lnTo>
                  <a:pt x="870" y="669"/>
                </a:lnTo>
                <a:lnTo>
                  <a:pt x="868" y="667"/>
                </a:lnTo>
                <a:lnTo>
                  <a:pt x="866" y="665"/>
                </a:lnTo>
                <a:lnTo>
                  <a:pt x="864" y="664"/>
                </a:lnTo>
                <a:lnTo>
                  <a:pt x="861" y="663"/>
                </a:lnTo>
                <a:lnTo>
                  <a:pt x="858" y="662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18F6A58-01C2-4B8A-97EE-31A198442337}"/>
              </a:ext>
            </a:extLst>
          </p:cNvPr>
          <p:cNvGrpSpPr/>
          <p:nvPr/>
        </p:nvGrpSpPr>
        <p:grpSpPr>
          <a:xfrm>
            <a:off x="10516987" y="4297223"/>
            <a:ext cx="287338" cy="249238"/>
            <a:chOff x="2598738" y="2530475"/>
            <a:chExt cx="287338" cy="249238"/>
          </a:xfrm>
          <a:solidFill>
            <a:srgbClr val="7F7F7F"/>
          </a:solidFill>
        </p:grpSpPr>
        <p:sp>
          <p:nvSpPr>
            <p:cNvPr id="72" name="Freeform 527">
              <a:extLst>
                <a:ext uri="{FF2B5EF4-FFF2-40B4-BE49-F238E27FC236}">
                  <a16:creationId xmlns:a16="http://schemas.microsoft.com/office/drawing/2014/main" id="{9A958697-9F7E-46A0-A31A-A67FAB2A3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2625725"/>
              <a:ext cx="123825" cy="134938"/>
            </a:xfrm>
            <a:custGeom>
              <a:avLst/>
              <a:gdLst>
                <a:gd name="T0" fmla="*/ 187 w 391"/>
                <a:gd name="T1" fmla="*/ 0 h 421"/>
                <a:gd name="T2" fmla="*/ 172 w 391"/>
                <a:gd name="T3" fmla="*/ 19 h 421"/>
                <a:gd name="T4" fmla="*/ 155 w 391"/>
                <a:gd name="T5" fmla="*/ 36 h 421"/>
                <a:gd name="T6" fmla="*/ 135 w 391"/>
                <a:gd name="T7" fmla="*/ 52 h 421"/>
                <a:gd name="T8" fmla="*/ 113 w 391"/>
                <a:gd name="T9" fmla="*/ 65 h 421"/>
                <a:gd name="T10" fmla="*/ 91 w 391"/>
                <a:gd name="T11" fmla="*/ 76 h 421"/>
                <a:gd name="T12" fmla="*/ 67 w 391"/>
                <a:gd name="T13" fmla="*/ 83 h 421"/>
                <a:gd name="T14" fmla="*/ 41 w 391"/>
                <a:gd name="T15" fmla="*/ 89 h 421"/>
                <a:gd name="T16" fmla="*/ 15 w 391"/>
                <a:gd name="T17" fmla="*/ 90 h 421"/>
                <a:gd name="T18" fmla="*/ 0 w 391"/>
                <a:gd name="T19" fmla="*/ 89 h 421"/>
                <a:gd name="T20" fmla="*/ 1 w 391"/>
                <a:gd name="T21" fmla="*/ 410 h 421"/>
                <a:gd name="T22" fmla="*/ 3 w 391"/>
                <a:gd name="T23" fmla="*/ 415 h 421"/>
                <a:gd name="T24" fmla="*/ 6 w 391"/>
                <a:gd name="T25" fmla="*/ 418 h 421"/>
                <a:gd name="T26" fmla="*/ 11 w 391"/>
                <a:gd name="T27" fmla="*/ 421 h 421"/>
                <a:gd name="T28" fmla="*/ 77 w 391"/>
                <a:gd name="T29" fmla="*/ 421 h 421"/>
                <a:gd name="T30" fmla="*/ 75 w 391"/>
                <a:gd name="T31" fmla="*/ 406 h 421"/>
                <a:gd name="T32" fmla="*/ 77 w 391"/>
                <a:gd name="T33" fmla="*/ 385 h 421"/>
                <a:gd name="T34" fmla="*/ 83 w 391"/>
                <a:gd name="T35" fmla="*/ 366 h 421"/>
                <a:gd name="T36" fmla="*/ 93 w 391"/>
                <a:gd name="T37" fmla="*/ 347 h 421"/>
                <a:gd name="T38" fmla="*/ 106 w 391"/>
                <a:gd name="T39" fmla="*/ 331 h 421"/>
                <a:gd name="T40" fmla="*/ 122 w 391"/>
                <a:gd name="T41" fmla="*/ 318 h 421"/>
                <a:gd name="T42" fmla="*/ 139 w 391"/>
                <a:gd name="T43" fmla="*/ 309 h 421"/>
                <a:gd name="T44" fmla="*/ 159 w 391"/>
                <a:gd name="T45" fmla="*/ 303 h 421"/>
                <a:gd name="T46" fmla="*/ 181 w 391"/>
                <a:gd name="T47" fmla="*/ 301 h 421"/>
                <a:gd name="T48" fmla="*/ 201 w 391"/>
                <a:gd name="T49" fmla="*/ 303 h 421"/>
                <a:gd name="T50" fmla="*/ 222 w 391"/>
                <a:gd name="T51" fmla="*/ 309 h 421"/>
                <a:gd name="T52" fmla="*/ 240 w 391"/>
                <a:gd name="T53" fmla="*/ 318 h 421"/>
                <a:gd name="T54" fmla="*/ 255 w 391"/>
                <a:gd name="T55" fmla="*/ 331 h 421"/>
                <a:gd name="T56" fmla="*/ 268 w 391"/>
                <a:gd name="T57" fmla="*/ 347 h 421"/>
                <a:gd name="T58" fmla="*/ 277 w 391"/>
                <a:gd name="T59" fmla="*/ 366 h 421"/>
                <a:gd name="T60" fmla="*/ 284 w 391"/>
                <a:gd name="T61" fmla="*/ 385 h 421"/>
                <a:gd name="T62" fmla="*/ 286 w 391"/>
                <a:gd name="T63" fmla="*/ 406 h 421"/>
                <a:gd name="T64" fmla="*/ 285 w 391"/>
                <a:gd name="T65" fmla="*/ 421 h 421"/>
                <a:gd name="T66" fmla="*/ 379 w 391"/>
                <a:gd name="T67" fmla="*/ 420 h 421"/>
                <a:gd name="T68" fmla="*/ 385 w 391"/>
                <a:gd name="T69" fmla="*/ 418 h 421"/>
                <a:gd name="T70" fmla="*/ 389 w 391"/>
                <a:gd name="T71" fmla="*/ 415 h 421"/>
                <a:gd name="T72" fmla="*/ 391 w 391"/>
                <a:gd name="T73" fmla="*/ 410 h 421"/>
                <a:gd name="T74" fmla="*/ 391 w 391"/>
                <a:gd name="T75" fmla="*/ 15 h 421"/>
                <a:gd name="T76" fmla="*/ 390 w 391"/>
                <a:gd name="T77" fmla="*/ 8 h 421"/>
                <a:gd name="T78" fmla="*/ 387 w 391"/>
                <a:gd name="T79" fmla="*/ 4 h 421"/>
                <a:gd name="T80" fmla="*/ 382 w 391"/>
                <a:gd name="T81" fmla="*/ 1 h 421"/>
                <a:gd name="T82" fmla="*/ 376 w 391"/>
                <a:gd name="T83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91" h="421">
                  <a:moveTo>
                    <a:pt x="376" y="0"/>
                  </a:moveTo>
                  <a:lnTo>
                    <a:pt x="187" y="0"/>
                  </a:lnTo>
                  <a:lnTo>
                    <a:pt x="180" y="9"/>
                  </a:lnTo>
                  <a:lnTo>
                    <a:pt x="172" y="19"/>
                  </a:lnTo>
                  <a:lnTo>
                    <a:pt x="164" y="28"/>
                  </a:lnTo>
                  <a:lnTo>
                    <a:pt x="155" y="36"/>
                  </a:lnTo>
                  <a:lnTo>
                    <a:pt x="145" y="45"/>
                  </a:lnTo>
                  <a:lnTo>
                    <a:pt x="135" y="52"/>
                  </a:lnTo>
                  <a:lnTo>
                    <a:pt x="125" y="59"/>
                  </a:lnTo>
                  <a:lnTo>
                    <a:pt x="113" y="65"/>
                  </a:lnTo>
                  <a:lnTo>
                    <a:pt x="103" y="71"/>
                  </a:lnTo>
                  <a:lnTo>
                    <a:pt x="91" y="76"/>
                  </a:lnTo>
                  <a:lnTo>
                    <a:pt x="79" y="80"/>
                  </a:lnTo>
                  <a:lnTo>
                    <a:pt x="67" y="83"/>
                  </a:lnTo>
                  <a:lnTo>
                    <a:pt x="54" y="87"/>
                  </a:lnTo>
                  <a:lnTo>
                    <a:pt x="41" y="89"/>
                  </a:lnTo>
                  <a:lnTo>
                    <a:pt x="29" y="90"/>
                  </a:lnTo>
                  <a:lnTo>
                    <a:pt x="15" y="90"/>
                  </a:lnTo>
                  <a:lnTo>
                    <a:pt x="7" y="90"/>
                  </a:lnTo>
                  <a:lnTo>
                    <a:pt x="0" y="89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8"/>
                  </a:lnTo>
                  <a:lnTo>
                    <a:pt x="9" y="420"/>
                  </a:lnTo>
                  <a:lnTo>
                    <a:pt x="11" y="421"/>
                  </a:lnTo>
                  <a:lnTo>
                    <a:pt x="15" y="421"/>
                  </a:lnTo>
                  <a:lnTo>
                    <a:pt x="77" y="421"/>
                  </a:lnTo>
                  <a:lnTo>
                    <a:pt x="76" y="414"/>
                  </a:lnTo>
                  <a:lnTo>
                    <a:pt x="75" y="406"/>
                  </a:lnTo>
                  <a:lnTo>
                    <a:pt x="76" y="396"/>
                  </a:lnTo>
                  <a:lnTo>
                    <a:pt x="77" y="385"/>
                  </a:lnTo>
                  <a:lnTo>
                    <a:pt x="80" y="375"/>
                  </a:lnTo>
                  <a:lnTo>
                    <a:pt x="83" y="366"/>
                  </a:lnTo>
                  <a:lnTo>
                    <a:pt x="88" y="356"/>
                  </a:lnTo>
                  <a:lnTo>
                    <a:pt x="93" y="347"/>
                  </a:lnTo>
                  <a:lnTo>
                    <a:pt x="99" y="339"/>
                  </a:lnTo>
                  <a:lnTo>
                    <a:pt x="106" y="331"/>
                  </a:lnTo>
                  <a:lnTo>
                    <a:pt x="113" y="325"/>
                  </a:lnTo>
                  <a:lnTo>
                    <a:pt x="122" y="318"/>
                  </a:lnTo>
                  <a:lnTo>
                    <a:pt x="130" y="313"/>
                  </a:lnTo>
                  <a:lnTo>
                    <a:pt x="139" y="309"/>
                  </a:lnTo>
                  <a:lnTo>
                    <a:pt x="150" y="305"/>
                  </a:lnTo>
                  <a:lnTo>
                    <a:pt x="159" y="303"/>
                  </a:lnTo>
                  <a:lnTo>
                    <a:pt x="170" y="301"/>
                  </a:lnTo>
                  <a:lnTo>
                    <a:pt x="181" y="301"/>
                  </a:lnTo>
                  <a:lnTo>
                    <a:pt x="192" y="301"/>
                  </a:lnTo>
                  <a:lnTo>
                    <a:pt x="201" y="303"/>
                  </a:lnTo>
                  <a:lnTo>
                    <a:pt x="212" y="305"/>
                  </a:lnTo>
                  <a:lnTo>
                    <a:pt x="222" y="309"/>
                  </a:lnTo>
                  <a:lnTo>
                    <a:pt x="230" y="313"/>
                  </a:lnTo>
                  <a:lnTo>
                    <a:pt x="240" y="318"/>
                  </a:lnTo>
                  <a:lnTo>
                    <a:pt x="247" y="325"/>
                  </a:lnTo>
                  <a:lnTo>
                    <a:pt x="255" y="331"/>
                  </a:lnTo>
                  <a:lnTo>
                    <a:pt x="261" y="339"/>
                  </a:lnTo>
                  <a:lnTo>
                    <a:pt x="268" y="347"/>
                  </a:lnTo>
                  <a:lnTo>
                    <a:pt x="273" y="356"/>
                  </a:lnTo>
                  <a:lnTo>
                    <a:pt x="277" y="366"/>
                  </a:lnTo>
                  <a:lnTo>
                    <a:pt x="282" y="375"/>
                  </a:lnTo>
                  <a:lnTo>
                    <a:pt x="284" y="385"/>
                  </a:lnTo>
                  <a:lnTo>
                    <a:pt x="285" y="396"/>
                  </a:lnTo>
                  <a:lnTo>
                    <a:pt x="286" y="406"/>
                  </a:lnTo>
                  <a:lnTo>
                    <a:pt x="286" y="414"/>
                  </a:lnTo>
                  <a:lnTo>
                    <a:pt x="285" y="421"/>
                  </a:lnTo>
                  <a:lnTo>
                    <a:pt x="376" y="421"/>
                  </a:lnTo>
                  <a:lnTo>
                    <a:pt x="379" y="420"/>
                  </a:lnTo>
                  <a:lnTo>
                    <a:pt x="382" y="420"/>
                  </a:lnTo>
                  <a:lnTo>
                    <a:pt x="385" y="418"/>
                  </a:lnTo>
                  <a:lnTo>
                    <a:pt x="387" y="417"/>
                  </a:lnTo>
                  <a:lnTo>
                    <a:pt x="389" y="415"/>
                  </a:lnTo>
                  <a:lnTo>
                    <a:pt x="390" y="412"/>
                  </a:lnTo>
                  <a:lnTo>
                    <a:pt x="391" y="410"/>
                  </a:lnTo>
                  <a:lnTo>
                    <a:pt x="391" y="406"/>
                  </a:lnTo>
                  <a:lnTo>
                    <a:pt x="391" y="15"/>
                  </a:lnTo>
                  <a:lnTo>
                    <a:pt x="391" y="12"/>
                  </a:lnTo>
                  <a:lnTo>
                    <a:pt x="390" y="8"/>
                  </a:lnTo>
                  <a:lnTo>
                    <a:pt x="389" y="6"/>
                  </a:lnTo>
                  <a:lnTo>
                    <a:pt x="387" y="4"/>
                  </a:lnTo>
                  <a:lnTo>
                    <a:pt x="385" y="2"/>
                  </a:lnTo>
                  <a:lnTo>
                    <a:pt x="382" y="1"/>
                  </a:lnTo>
                  <a:lnTo>
                    <a:pt x="379" y="0"/>
                  </a:lnTo>
                  <a:lnTo>
                    <a:pt x="376" y="0"/>
                  </a:lnTo>
                  <a:lnTo>
                    <a:pt x="3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8">
              <a:extLst>
                <a:ext uri="{FF2B5EF4-FFF2-40B4-BE49-F238E27FC236}">
                  <a16:creationId xmlns:a16="http://schemas.microsoft.com/office/drawing/2014/main" id="{83F5CED5-EC59-44A7-BB1E-6DAA3AFE7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738" y="2692400"/>
              <a:ext cx="47625" cy="9525"/>
            </a:xfrm>
            <a:custGeom>
              <a:avLst/>
              <a:gdLst>
                <a:gd name="T0" fmla="*/ 136 w 151"/>
                <a:gd name="T1" fmla="*/ 0 h 30"/>
                <a:gd name="T2" fmla="*/ 15 w 151"/>
                <a:gd name="T3" fmla="*/ 0 h 30"/>
                <a:gd name="T4" fmla="*/ 12 w 151"/>
                <a:gd name="T5" fmla="*/ 1 h 30"/>
                <a:gd name="T6" fmla="*/ 9 w 151"/>
                <a:gd name="T7" fmla="*/ 1 h 30"/>
                <a:gd name="T8" fmla="*/ 7 w 151"/>
                <a:gd name="T9" fmla="*/ 3 h 30"/>
                <a:gd name="T10" fmla="*/ 5 w 151"/>
                <a:gd name="T11" fmla="*/ 4 h 30"/>
                <a:gd name="T12" fmla="*/ 3 w 151"/>
                <a:gd name="T13" fmla="*/ 6 h 30"/>
                <a:gd name="T14" fmla="*/ 2 w 151"/>
                <a:gd name="T15" fmla="*/ 10 h 30"/>
                <a:gd name="T16" fmla="*/ 0 w 151"/>
                <a:gd name="T17" fmla="*/ 13 h 30"/>
                <a:gd name="T18" fmla="*/ 0 w 151"/>
                <a:gd name="T19" fmla="*/ 15 h 30"/>
                <a:gd name="T20" fmla="*/ 0 w 151"/>
                <a:gd name="T21" fmla="*/ 18 h 30"/>
                <a:gd name="T22" fmla="*/ 2 w 151"/>
                <a:gd name="T23" fmla="*/ 21 h 30"/>
                <a:gd name="T24" fmla="*/ 3 w 151"/>
                <a:gd name="T25" fmla="*/ 24 h 30"/>
                <a:gd name="T26" fmla="*/ 5 w 151"/>
                <a:gd name="T27" fmla="*/ 26 h 30"/>
                <a:gd name="T28" fmla="*/ 7 w 151"/>
                <a:gd name="T29" fmla="*/ 28 h 30"/>
                <a:gd name="T30" fmla="*/ 9 w 151"/>
                <a:gd name="T31" fmla="*/ 29 h 30"/>
                <a:gd name="T32" fmla="*/ 12 w 151"/>
                <a:gd name="T33" fmla="*/ 30 h 30"/>
                <a:gd name="T34" fmla="*/ 15 w 151"/>
                <a:gd name="T35" fmla="*/ 30 h 30"/>
                <a:gd name="T36" fmla="*/ 136 w 151"/>
                <a:gd name="T37" fmla="*/ 30 h 30"/>
                <a:gd name="T38" fmla="*/ 139 w 151"/>
                <a:gd name="T39" fmla="*/ 30 h 30"/>
                <a:gd name="T40" fmla="*/ 142 w 151"/>
                <a:gd name="T41" fmla="*/ 29 h 30"/>
                <a:gd name="T42" fmla="*/ 144 w 151"/>
                <a:gd name="T43" fmla="*/ 28 h 30"/>
                <a:gd name="T44" fmla="*/ 146 w 151"/>
                <a:gd name="T45" fmla="*/ 26 h 30"/>
                <a:gd name="T46" fmla="*/ 148 w 151"/>
                <a:gd name="T47" fmla="*/ 24 h 30"/>
                <a:gd name="T48" fmla="*/ 150 w 151"/>
                <a:gd name="T49" fmla="*/ 21 h 30"/>
                <a:gd name="T50" fmla="*/ 151 w 151"/>
                <a:gd name="T51" fmla="*/ 18 h 30"/>
                <a:gd name="T52" fmla="*/ 151 w 151"/>
                <a:gd name="T53" fmla="*/ 15 h 30"/>
                <a:gd name="T54" fmla="*/ 151 w 151"/>
                <a:gd name="T55" fmla="*/ 13 h 30"/>
                <a:gd name="T56" fmla="*/ 150 w 151"/>
                <a:gd name="T57" fmla="*/ 10 h 30"/>
                <a:gd name="T58" fmla="*/ 148 w 151"/>
                <a:gd name="T59" fmla="*/ 8 h 30"/>
                <a:gd name="T60" fmla="*/ 146 w 151"/>
                <a:gd name="T61" fmla="*/ 4 h 30"/>
                <a:gd name="T62" fmla="*/ 144 w 151"/>
                <a:gd name="T63" fmla="*/ 3 h 30"/>
                <a:gd name="T64" fmla="*/ 142 w 151"/>
                <a:gd name="T65" fmla="*/ 1 h 30"/>
                <a:gd name="T66" fmla="*/ 139 w 151"/>
                <a:gd name="T67" fmla="*/ 1 h 30"/>
                <a:gd name="T68" fmla="*/ 136 w 15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30">
                  <a:moveTo>
                    <a:pt x="136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36" y="30"/>
                  </a:lnTo>
                  <a:lnTo>
                    <a:pt x="139" y="30"/>
                  </a:lnTo>
                  <a:lnTo>
                    <a:pt x="142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50" y="21"/>
                  </a:lnTo>
                  <a:lnTo>
                    <a:pt x="151" y="18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0" y="10"/>
                  </a:lnTo>
                  <a:lnTo>
                    <a:pt x="148" y="8"/>
                  </a:lnTo>
                  <a:lnTo>
                    <a:pt x="146" y="4"/>
                  </a:lnTo>
                  <a:lnTo>
                    <a:pt x="144" y="3"/>
                  </a:lnTo>
                  <a:lnTo>
                    <a:pt x="142" y="1"/>
                  </a:lnTo>
                  <a:lnTo>
                    <a:pt x="139" y="1"/>
                  </a:lnTo>
                  <a:lnTo>
                    <a:pt x="1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29">
              <a:extLst>
                <a:ext uri="{FF2B5EF4-FFF2-40B4-BE49-F238E27FC236}">
                  <a16:creationId xmlns:a16="http://schemas.microsoft.com/office/drawing/2014/main" id="{67D92154-D809-4A24-ADBA-A184552F2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7788" y="2711450"/>
              <a:ext cx="28575" cy="11113"/>
            </a:xfrm>
            <a:custGeom>
              <a:avLst/>
              <a:gdLst>
                <a:gd name="T0" fmla="*/ 76 w 91"/>
                <a:gd name="T1" fmla="*/ 0 h 31"/>
                <a:gd name="T2" fmla="*/ 16 w 91"/>
                <a:gd name="T3" fmla="*/ 0 h 31"/>
                <a:gd name="T4" fmla="*/ 12 w 91"/>
                <a:gd name="T5" fmla="*/ 1 h 31"/>
                <a:gd name="T6" fmla="*/ 10 w 91"/>
                <a:gd name="T7" fmla="*/ 1 h 31"/>
                <a:gd name="T8" fmla="*/ 7 w 91"/>
                <a:gd name="T9" fmla="*/ 3 h 31"/>
                <a:gd name="T10" fmla="*/ 5 w 91"/>
                <a:gd name="T11" fmla="*/ 5 h 31"/>
                <a:gd name="T12" fmla="*/ 3 w 91"/>
                <a:gd name="T13" fmla="*/ 8 h 31"/>
                <a:gd name="T14" fmla="*/ 2 w 91"/>
                <a:gd name="T15" fmla="*/ 10 h 31"/>
                <a:gd name="T16" fmla="*/ 0 w 91"/>
                <a:gd name="T17" fmla="*/ 13 h 31"/>
                <a:gd name="T18" fmla="*/ 0 w 91"/>
                <a:gd name="T19" fmla="*/ 15 h 31"/>
                <a:gd name="T20" fmla="*/ 0 w 91"/>
                <a:gd name="T21" fmla="*/ 18 h 31"/>
                <a:gd name="T22" fmla="*/ 2 w 91"/>
                <a:gd name="T23" fmla="*/ 22 h 31"/>
                <a:gd name="T24" fmla="*/ 3 w 91"/>
                <a:gd name="T25" fmla="*/ 24 h 31"/>
                <a:gd name="T26" fmla="*/ 5 w 91"/>
                <a:gd name="T27" fmla="*/ 26 h 31"/>
                <a:gd name="T28" fmla="*/ 7 w 91"/>
                <a:gd name="T29" fmla="*/ 28 h 31"/>
                <a:gd name="T30" fmla="*/ 10 w 91"/>
                <a:gd name="T31" fmla="*/ 29 h 31"/>
                <a:gd name="T32" fmla="*/ 12 w 91"/>
                <a:gd name="T33" fmla="*/ 30 h 31"/>
                <a:gd name="T34" fmla="*/ 16 w 91"/>
                <a:gd name="T35" fmla="*/ 31 h 31"/>
                <a:gd name="T36" fmla="*/ 76 w 91"/>
                <a:gd name="T37" fmla="*/ 31 h 31"/>
                <a:gd name="T38" fmla="*/ 79 w 91"/>
                <a:gd name="T39" fmla="*/ 30 h 31"/>
                <a:gd name="T40" fmla="*/ 82 w 91"/>
                <a:gd name="T41" fmla="*/ 29 h 31"/>
                <a:gd name="T42" fmla="*/ 84 w 91"/>
                <a:gd name="T43" fmla="*/ 28 h 31"/>
                <a:gd name="T44" fmla="*/ 86 w 91"/>
                <a:gd name="T45" fmla="*/ 26 h 31"/>
                <a:gd name="T46" fmla="*/ 88 w 91"/>
                <a:gd name="T47" fmla="*/ 24 h 31"/>
                <a:gd name="T48" fmla="*/ 90 w 91"/>
                <a:gd name="T49" fmla="*/ 22 h 31"/>
                <a:gd name="T50" fmla="*/ 91 w 91"/>
                <a:gd name="T51" fmla="*/ 18 h 31"/>
                <a:gd name="T52" fmla="*/ 91 w 91"/>
                <a:gd name="T53" fmla="*/ 15 h 31"/>
                <a:gd name="T54" fmla="*/ 91 w 91"/>
                <a:gd name="T55" fmla="*/ 13 h 31"/>
                <a:gd name="T56" fmla="*/ 90 w 91"/>
                <a:gd name="T57" fmla="*/ 10 h 31"/>
                <a:gd name="T58" fmla="*/ 88 w 91"/>
                <a:gd name="T59" fmla="*/ 8 h 31"/>
                <a:gd name="T60" fmla="*/ 86 w 91"/>
                <a:gd name="T61" fmla="*/ 5 h 31"/>
                <a:gd name="T62" fmla="*/ 84 w 91"/>
                <a:gd name="T63" fmla="*/ 3 h 31"/>
                <a:gd name="T64" fmla="*/ 82 w 91"/>
                <a:gd name="T65" fmla="*/ 2 h 31"/>
                <a:gd name="T66" fmla="*/ 79 w 91"/>
                <a:gd name="T67" fmla="*/ 1 h 31"/>
                <a:gd name="T68" fmla="*/ 76 w 91"/>
                <a:gd name="T69" fmla="*/ 0 h 31"/>
                <a:gd name="T70" fmla="*/ 76 w 91"/>
                <a:gd name="T7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" h="31">
                  <a:moveTo>
                    <a:pt x="76" y="0"/>
                  </a:moveTo>
                  <a:lnTo>
                    <a:pt x="16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8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6" y="31"/>
                  </a:lnTo>
                  <a:lnTo>
                    <a:pt x="76" y="31"/>
                  </a:lnTo>
                  <a:lnTo>
                    <a:pt x="79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90" y="22"/>
                  </a:lnTo>
                  <a:lnTo>
                    <a:pt x="91" y="18"/>
                  </a:lnTo>
                  <a:lnTo>
                    <a:pt x="91" y="15"/>
                  </a:lnTo>
                  <a:lnTo>
                    <a:pt x="91" y="13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2" y="2"/>
                  </a:lnTo>
                  <a:lnTo>
                    <a:pt x="79" y="1"/>
                  </a:lnTo>
                  <a:lnTo>
                    <a:pt x="76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30">
              <a:extLst>
                <a:ext uri="{FF2B5EF4-FFF2-40B4-BE49-F238E27FC236}">
                  <a16:creationId xmlns:a16="http://schemas.microsoft.com/office/drawing/2014/main" id="{C331234E-9EA9-4C57-9933-731231499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313" y="273208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1 w 60"/>
                <a:gd name="T5" fmla="*/ 0 h 30"/>
                <a:gd name="T6" fmla="*/ 9 w 60"/>
                <a:gd name="T7" fmla="*/ 1 h 30"/>
                <a:gd name="T8" fmla="*/ 6 w 60"/>
                <a:gd name="T9" fmla="*/ 2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7 h 30"/>
                <a:gd name="T22" fmla="*/ 1 w 60"/>
                <a:gd name="T23" fmla="*/ 21 h 30"/>
                <a:gd name="T24" fmla="*/ 2 w 60"/>
                <a:gd name="T25" fmla="*/ 23 h 30"/>
                <a:gd name="T26" fmla="*/ 4 w 60"/>
                <a:gd name="T27" fmla="*/ 26 h 30"/>
                <a:gd name="T28" fmla="*/ 6 w 60"/>
                <a:gd name="T29" fmla="*/ 27 h 30"/>
                <a:gd name="T30" fmla="*/ 9 w 60"/>
                <a:gd name="T31" fmla="*/ 29 h 30"/>
                <a:gd name="T32" fmla="*/ 11 w 60"/>
                <a:gd name="T33" fmla="*/ 29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29 h 30"/>
                <a:gd name="T40" fmla="*/ 51 w 60"/>
                <a:gd name="T41" fmla="*/ 29 h 30"/>
                <a:gd name="T42" fmla="*/ 53 w 60"/>
                <a:gd name="T43" fmla="*/ 27 h 30"/>
                <a:gd name="T44" fmla="*/ 55 w 60"/>
                <a:gd name="T45" fmla="*/ 26 h 30"/>
                <a:gd name="T46" fmla="*/ 57 w 60"/>
                <a:gd name="T47" fmla="*/ 23 h 30"/>
                <a:gd name="T48" fmla="*/ 59 w 60"/>
                <a:gd name="T49" fmla="*/ 21 h 30"/>
                <a:gd name="T50" fmla="*/ 60 w 60"/>
                <a:gd name="T51" fmla="*/ 17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7 w 60"/>
                <a:gd name="T59" fmla="*/ 7 h 30"/>
                <a:gd name="T60" fmla="*/ 55 w 60"/>
                <a:gd name="T61" fmla="*/ 5 h 30"/>
                <a:gd name="T62" fmla="*/ 53 w 60"/>
                <a:gd name="T63" fmla="*/ 2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3" y="27"/>
                  </a:lnTo>
                  <a:lnTo>
                    <a:pt x="55" y="26"/>
                  </a:lnTo>
                  <a:lnTo>
                    <a:pt x="57" y="23"/>
                  </a:lnTo>
                  <a:lnTo>
                    <a:pt x="59" y="21"/>
                  </a:lnTo>
                  <a:lnTo>
                    <a:pt x="60" y="17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31">
              <a:extLst>
                <a:ext uri="{FF2B5EF4-FFF2-40B4-BE49-F238E27FC236}">
                  <a16:creationId xmlns:a16="http://schemas.microsoft.com/office/drawing/2014/main" id="{6ADA05A3-1293-46DC-8224-3676BC286D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3500" y="2530475"/>
              <a:ext cx="114300" cy="114300"/>
            </a:xfrm>
            <a:custGeom>
              <a:avLst/>
              <a:gdLst>
                <a:gd name="T0" fmla="*/ 167 w 362"/>
                <a:gd name="T1" fmla="*/ 103 h 362"/>
                <a:gd name="T2" fmla="*/ 169 w 362"/>
                <a:gd name="T3" fmla="*/ 98 h 362"/>
                <a:gd name="T4" fmla="*/ 172 w 362"/>
                <a:gd name="T5" fmla="*/ 94 h 362"/>
                <a:gd name="T6" fmla="*/ 177 w 362"/>
                <a:gd name="T7" fmla="*/ 92 h 362"/>
                <a:gd name="T8" fmla="*/ 184 w 362"/>
                <a:gd name="T9" fmla="*/ 92 h 362"/>
                <a:gd name="T10" fmla="*/ 189 w 362"/>
                <a:gd name="T11" fmla="*/ 94 h 362"/>
                <a:gd name="T12" fmla="*/ 193 w 362"/>
                <a:gd name="T13" fmla="*/ 98 h 362"/>
                <a:gd name="T14" fmla="*/ 196 w 362"/>
                <a:gd name="T15" fmla="*/ 103 h 362"/>
                <a:gd name="T16" fmla="*/ 196 w 362"/>
                <a:gd name="T17" fmla="*/ 181 h 362"/>
                <a:gd name="T18" fmla="*/ 244 w 362"/>
                <a:gd name="T19" fmla="*/ 182 h 362"/>
                <a:gd name="T20" fmla="*/ 249 w 362"/>
                <a:gd name="T21" fmla="*/ 184 h 362"/>
                <a:gd name="T22" fmla="*/ 254 w 362"/>
                <a:gd name="T23" fmla="*/ 188 h 362"/>
                <a:gd name="T24" fmla="*/ 256 w 362"/>
                <a:gd name="T25" fmla="*/ 193 h 362"/>
                <a:gd name="T26" fmla="*/ 256 w 362"/>
                <a:gd name="T27" fmla="*/ 199 h 362"/>
                <a:gd name="T28" fmla="*/ 254 w 362"/>
                <a:gd name="T29" fmla="*/ 204 h 362"/>
                <a:gd name="T30" fmla="*/ 249 w 362"/>
                <a:gd name="T31" fmla="*/ 208 h 362"/>
                <a:gd name="T32" fmla="*/ 244 w 362"/>
                <a:gd name="T33" fmla="*/ 211 h 362"/>
                <a:gd name="T34" fmla="*/ 181 w 362"/>
                <a:gd name="T35" fmla="*/ 212 h 362"/>
                <a:gd name="T36" fmla="*/ 175 w 362"/>
                <a:gd name="T37" fmla="*/ 211 h 362"/>
                <a:gd name="T38" fmla="*/ 170 w 362"/>
                <a:gd name="T39" fmla="*/ 206 h 362"/>
                <a:gd name="T40" fmla="*/ 167 w 362"/>
                <a:gd name="T41" fmla="*/ 202 h 362"/>
                <a:gd name="T42" fmla="*/ 166 w 362"/>
                <a:gd name="T43" fmla="*/ 197 h 362"/>
                <a:gd name="T44" fmla="*/ 181 w 362"/>
                <a:gd name="T45" fmla="*/ 362 h 362"/>
                <a:gd name="T46" fmla="*/ 217 w 362"/>
                <a:gd name="T47" fmla="*/ 359 h 362"/>
                <a:gd name="T48" fmla="*/ 251 w 362"/>
                <a:gd name="T49" fmla="*/ 348 h 362"/>
                <a:gd name="T50" fmla="*/ 281 w 362"/>
                <a:gd name="T51" fmla="*/ 331 h 362"/>
                <a:gd name="T52" fmla="*/ 308 w 362"/>
                <a:gd name="T53" fmla="*/ 309 h 362"/>
                <a:gd name="T54" fmla="*/ 331 w 362"/>
                <a:gd name="T55" fmla="*/ 282 h 362"/>
                <a:gd name="T56" fmla="*/ 347 w 362"/>
                <a:gd name="T57" fmla="*/ 251 h 362"/>
                <a:gd name="T58" fmla="*/ 358 w 362"/>
                <a:gd name="T59" fmla="*/ 217 h 362"/>
                <a:gd name="T60" fmla="*/ 362 w 362"/>
                <a:gd name="T61" fmla="*/ 182 h 362"/>
                <a:gd name="T62" fmla="*/ 358 w 362"/>
                <a:gd name="T63" fmla="*/ 145 h 362"/>
                <a:gd name="T64" fmla="*/ 347 w 362"/>
                <a:gd name="T65" fmla="*/ 111 h 362"/>
                <a:gd name="T66" fmla="*/ 331 w 362"/>
                <a:gd name="T67" fmla="*/ 80 h 362"/>
                <a:gd name="T68" fmla="*/ 308 w 362"/>
                <a:gd name="T69" fmla="*/ 53 h 362"/>
                <a:gd name="T70" fmla="*/ 281 w 362"/>
                <a:gd name="T71" fmla="*/ 31 h 362"/>
                <a:gd name="T72" fmla="*/ 251 w 362"/>
                <a:gd name="T73" fmla="*/ 14 h 362"/>
                <a:gd name="T74" fmla="*/ 217 w 362"/>
                <a:gd name="T75" fmla="*/ 5 h 362"/>
                <a:gd name="T76" fmla="*/ 181 w 362"/>
                <a:gd name="T77" fmla="*/ 0 h 362"/>
                <a:gd name="T78" fmla="*/ 144 w 362"/>
                <a:gd name="T79" fmla="*/ 5 h 362"/>
                <a:gd name="T80" fmla="*/ 111 w 362"/>
                <a:gd name="T81" fmla="*/ 14 h 362"/>
                <a:gd name="T82" fmla="*/ 80 w 362"/>
                <a:gd name="T83" fmla="*/ 31 h 362"/>
                <a:gd name="T84" fmla="*/ 53 w 362"/>
                <a:gd name="T85" fmla="*/ 53 h 362"/>
                <a:gd name="T86" fmla="*/ 32 w 362"/>
                <a:gd name="T87" fmla="*/ 80 h 362"/>
                <a:gd name="T88" fmla="*/ 14 w 362"/>
                <a:gd name="T89" fmla="*/ 111 h 362"/>
                <a:gd name="T90" fmla="*/ 4 w 362"/>
                <a:gd name="T91" fmla="*/ 145 h 362"/>
                <a:gd name="T92" fmla="*/ 0 w 362"/>
                <a:gd name="T93" fmla="*/ 182 h 362"/>
                <a:gd name="T94" fmla="*/ 4 w 362"/>
                <a:gd name="T95" fmla="*/ 217 h 362"/>
                <a:gd name="T96" fmla="*/ 14 w 362"/>
                <a:gd name="T97" fmla="*/ 251 h 362"/>
                <a:gd name="T98" fmla="*/ 32 w 362"/>
                <a:gd name="T99" fmla="*/ 282 h 362"/>
                <a:gd name="T100" fmla="*/ 53 w 362"/>
                <a:gd name="T101" fmla="*/ 309 h 362"/>
                <a:gd name="T102" fmla="*/ 80 w 362"/>
                <a:gd name="T103" fmla="*/ 331 h 362"/>
                <a:gd name="T104" fmla="*/ 111 w 362"/>
                <a:gd name="T105" fmla="*/ 348 h 362"/>
                <a:gd name="T106" fmla="*/ 144 w 362"/>
                <a:gd name="T107" fmla="*/ 359 h 362"/>
                <a:gd name="T108" fmla="*/ 181 w 362"/>
                <a:gd name="T109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362">
                  <a:moveTo>
                    <a:pt x="166" y="105"/>
                  </a:moveTo>
                  <a:lnTo>
                    <a:pt x="167" y="103"/>
                  </a:lnTo>
                  <a:lnTo>
                    <a:pt x="167" y="100"/>
                  </a:lnTo>
                  <a:lnTo>
                    <a:pt x="169" y="98"/>
                  </a:lnTo>
                  <a:lnTo>
                    <a:pt x="170" y="95"/>
                  </a:lnTo>
                  <a:lnTo>
                    <a:pt x="172" y="94"/>
                  </a:lnTo>
                  <a:lnTo>
                    <a:pt x="175" y="92"/>
                  </a:lnTo>
                  <a:lnTo>
                    <a:pt x="177" y="92"/>
                  </a:lnTo>
                  <a:lnTo>
                    <a:pt x="181" y="90"/>
                  </a:lnTo>
                  <a:lnTo>
                    <a:pt x="184" y="92"/>
                  </a:lnTo>
                  <a:lnTo>
                    <a:pt x="187" y="92"/>
                  </a:lnTo>
                  <a:lnTo>
                    <a:pt x="189" y="94"/>
                  </a:lnTo>
                  <a:lnTo>
                    <a:pt x="191" y="95"/>
                  </a:lnTo>
                  <a:lnTo>
                    <a:pt x="193" y="98"/>
                  </a:lnTo>
                  <a:lnTo>
                    <a:pt x="195" y="100"/>
                  </a:lnTo>
                  <a:lnTo>
                    <a:pt x="196" y="103"/>
                  </a:lnTo>
                  <a:lnTo>
                    <a:pt x="196" y="105"/>
                  </a:lnTo>
                  <a:lnTo>
                    <a:pt x="196" y="181"/>
                  </a:lnTo>
                  <a:lnTo>
                    <a:pt x="241" y="181"/>
                  </a:lnTo>
                  <a:lnTo>
                    <a:pt x="244" y="182"/>
                  </a:lnTo>
                  <a:lnTo>
                    <a:pt x="247" y="183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8"/>
                  </a:lnTo>
                  <a:lnTo>
                    <a:pt x="255" y="190"/>
                  </a:lnTo>
                  <a:lnTo>
                    <a:pt x="256" y="193"/>
                  </a:lnTo>
                  <a:lnTo>
                    <a:pt x="256" y="197"/>
                  </a:lnTo>
                  <a:lnTo>
                    <a:pt x="256" y="199"/>
                  </a:lnTo>
                  <a:lnTo>
                    <a:pt x="255" y="202"/>
                  </a:lnTo>
                  <a:lnTo>
                    <a:pt x="254" y="204"/>
                  </a:lnTo>
                  <a:lnTo>
                    <a:pt x="251" y="206"/>
                  </a:lnTo>
                  <a:lnTo>
                    <a:pt x="249" y="208"/>
                  </a:lnTo>
                  <a:lnTo>
                    <a:pt x="247" y="211"/>
                  </a:lnTo>
                  <a:lnTo>
                    <a:pt x="244" y="211"/>
                  </a:lnTo>
                  <a:lnTo>
                    <a:pt x="241" y="212"/>
                  </a:lnTo>
                  <a:lnTo>
                    <a:pt x="181" y="212"/>
                  </a:lnTo>
                  <a:lnTo>
                    <a:pt x="177" y="211"/>
                  </a:lnTo>
                  <a:lnTo>
                    <a:pt x="175" y="211"/>
                  </a:lnTo>
                  <a:lnTo>
                    <a:pt x="172" y="208"/>
                  </a:lnTo>
                  <a:lnTo>
                    <a:pt x="170" y="206"/>
                  </a:lnTo>
                  <a:lnTo>
                    <a:pt x="169" y="204"/>
                  </a:lnTo>
                  <a:lnTo>
                    <a:pt x="167" y="202"/>
                  </a:lnTo>
                  <a:lnTo>
                    <a:pt x="167" y="199"/>
                  </a:lnTo>
                  <a:lnTo>
                    <a:pt x="166" y="197"/>
                  </a:lnTo>
                  <a:lnTo>
                    <a:pt x="166" y="105"/>
                  </a:lnTo>
                  <a:close/>
                  <a:moveTo>
                    <a:pt x="181" y="362"/>
                  </a:moveTo>
                  <a:lnTo>
                    <a:pt x="200" y="361"/>
                  </a:lnTo>
                  <a:lnTo>
                    <a:pt x="217" y="359"/>
                  </a:lnTo>
                  <a:lnTo>
                    <a:pt x="234" y="353"/>
                  </a:lnTo>
                  <a:lnTo>
                    <a:pt x="251" y="348"/>
                  </a:lnTo>
                  <a:lnTo>
                    <a:pt x="268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1" y="282"/>
                  </a:lnTo>
                  <a:lnTo>
                    <a:pt x="339" y="267"/>
                  </a:lnTo>
                  <a:lnTo>
                    <a:pt x="347" y="251"/>
                  </a:lnTo>
                  <a:lnTo>
                    <a:pt x="353" y="235"/>
                  </a:lnTo>
                  <a:lnTo>
                    <a:pt x="358" y="217"/>
                  </a:lnTo>
                  <a:lnTo>
                    <a:pt x="361" y="200"/>
                  </a:lnTo>
                  <a:lnTo>
                    <a:pt x="362" y="182"/>
                  </a:lnTo>
                  <a:lnTo>
                    <a:pt x="361" y="162"/>
                  </a:lnTo>
                  <a:lnTo>
                    <a:pt x="358" y="145"/>
                  </a:lnTo>
                  <a:lnTo>
                    <a:pt x="353" y="127"/>
                  </a:lnTo>
                  <a:lnTo>
                    <a:pt x="347" y="111"/>
                  </a:lnTo>
                  <a:lnTo>
                    <a:pt x="339" y="95"/>
                  </a:lnTo>
                  <a:lnTo>
                    <a:pt x="331" y="80"/>
                  </a:lnTo>
                  <a:lnTo>
                    <a:pt x="320" y="66"/>
                  </a:lnTo>
                  <a:lnTo>
                    <a:pt x="308" y="53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8" y="22"/>
                  </a:lnTo>
                  <a:lnTo>
                    <a:pt x="251" y="14"/>
                  </a:lnTo>
                  <a:lnTo>
                    <a:pt x="234" y="9"/>
                  </a:lnTo>
                  <a:lnTo>
                    <a:pt x="217" y="5"/>
                  </a:lnTo>
                  <a:lnTo>
                    <a:pt x="200" y="1"/>
                  </a:lnTo>
                  <a:lnTo>
                    <a:pt x="181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7" y="9"/>
                  </a:lnTo>
                  <a:lnTo>
                    <a:pt x="111" y="14"/>
                  </a:lnTo>
                  <a:lnTo>
                    <a:pt x="95" y="22"/>
                  </a:lnTo>
                  <a:lnTo>
                    <a:pt x="80" y="31"/>
                  </a:lnTo>
                  <a:lnTo>
                    <a:pt x="66" y="42"/>
                  </a:lnTo>
                  <a:lnTo>
                    <a:pt x="53" y="53"/>
                  </a:lnTo>
                  <a:lnTo>
                    <a:pt x="41" y="66"/>
                  </a:lnTo>
                  <a:lnTo>
                    <a:pt x="32" y="80"/>
                  </a:lnTo>
                  <a:lnTo>
                    <a:pt x="22" y="95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4" y="145"/>
                  </a:lnTo>
                  <a:lnTo>
                    <a:pt x="2" y="162"/>
                  </a:lnTo>
                  <a:lnTo>
                    <a:pt x="0" y="182"/>
                  </a:lnTo>
                  <a:lnTo>
                    <a:pt x="2" y="200"/>
                  </a:lnTo>
                  <a:lnTo>
                    <a:pt x="4" y="217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2" y="267"/>
                  </a:lnTo>
                  <a:lnTo>
                    <a:pt x="32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6" y="320"/>
                  </a:lnTo>
                  <a:lnTo>
                    <a:pt x="80" y="331"/>
                  </a:lnTo>
                  <a:lnTo>
                    <a:pt x="95" y="340"/>
                  </a:lnTo>
                  <a:lnTo>
                    <a:pt x="111" y="348"/>
                  </a:lnTo>
                  <a:lnTo>
                    <a:pt x="127" y="353"/>
                  </a:lnTo>
                  <a:lnTo>
                    <a:pt x="144" y="359"/>
                  </a:lnTo>
                  <a:lnTo>
                    <a:pt x="162" y="361"/>
                  </a:lnTo>
                  <a:lnTo>
                    <a:pt x="181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32">
              <a:extLst>
                <a:ext uri="{FF2B5EF4-FFF2-40B4-BE49-F238E27FC236}">
                  <a16:creationId xmlns:a16="http://schemas.microsoft.com/office/drawing/2014/main" id="{FA4D6B7E-6F35-4229-B442-5A4006567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9225" y="2732088"/>
              <a:ext cx="47625" cy="47625"/>
            </a:xfrm>
            <a:custGeom>
              <a:avLst/>
              <a:gdLst>
                <a:gd name="T0" fmla="*/ 67 w 150"/>
                <a:gd name="T1" fmla="*/ 0 h 150"/>
                <a:gd name="T2" fmla="*/ 52 w 150"/>
                <a:gd name="T3" fmla="*/ 3 h 150"/>
                <a:gd name="T4" fmla="*/ 38 w 150"/>
                <a:gd name="T5" fmla="*/ 9 h 150"/>
                <a:gd name="T6" fmla="*/ 27 w 150"/>
                <a:gd name="T7" fmla="*/ 17 h 150"/>
                <a:gd name="T8" fmla="*/ 17 w 150"/>
                <a:gd name="T9" fmla="*/ 27 h 150"/>
                <a:gd name="T10" fmla="*/ 8 w 150"/>
                <a:gd name="T11" fmla="*/ 39 h 150"/>
                <a:gd name="T12" fmla="*/ 3 w 150"/>
                <a:gd name="T13" fmla="*/ 53 h 150"/>
                <a:gd name="T14" fmla="*/ 0 w 150"/>
                <a:gd name="T15" fmla="*/ 68 h 150"/>
                <a:gd name="T16" fmla="*/ 0 w 150"/>
                <a:gd name="T17" fmla="*/ 83 h 150"/>
                <a:gd name="T18" fmla="*/ 3 w 150"/>
                <a:gd name="T19" fmla="*/ 98 h 150"/>
                <a:gd name="T20" fmla="*/ 8 w 150"/>
                <a:gd name="T21" fmla="*/ 111 h 150"/>
                <a:gd name="T22" fmla="*/ 17 w 150"/>
                <a:gd name="T23" fmla="*/ 123 h 150"/>
                <a:gd name="T24" fmla="*/ 27 w 150"/>
                <a:gd name="T25" fmla="*/ 133 h 150"/>
                <a:gd name="T26" fmla="*/ 38 w 150"/>
                <a:gd name="T27" fmla="*/ 141 h 150"/>
                <a:gd name="T28" fmla="*/ 52 w 150"/>
                <a:gd name="T29" fmla="*/ 147 h 150"/>
                <a:gd name="T30" fmla="*/ 67 w 150"/>
                <a:gd name="T31" fmla="*/ 150 h 150"/>
                <a:gd name="T32" fmla="*/ 82 w 150"/>
                <a:gd name="T33" fmla="*/ 150 h 150"/>
                <a:gd name="T34" fmla="*/ 97 w 150"/>
                <a:gd name="T35" fmla="*/ 147 h 150"/>
                <a:gd name="T36" fmla="*/ 110 w 150"/>
                <a:gd name="T37" fmla="*/ 141 h 150"/>
                <a:gd name="T38" fmla="*/ 122 w 150"/>
                <a:gd name="T39" fmla="*/ 133 h 150"/>
                <a:gd name="T40" fmla="*/ 133 w 150"/>
                <a:gd name="T41" fmla="*/ 123 h 150"/>
                <a:gd name="T42" fmla="*/ 140 w 150"/>
                <a:gd name="T43" fmla="*/ 111 h 150"/>
                <a:gd name="T44" fmla="*/ 147 w 150"/>
                <a:gd name="T45" fmla="*/ 98 h 150"/>
                <a:gd name="T46" fmla="*/ 150 w 150"/>
                <a:gd name="T47" fmla="*/ 83 h 150"/>
                <a:gd name="T48" fmla="*/ 150 w 150"/>
                <a:gd name="T49" fmla="*/ 68 h 150"/>
                <a:gd name="T50" fmla="*/ 147 w 150"/>
                <a:gd name="T51" fmla="*/ 53 h 150"/>
                <a:gd name="T52" fmla="*/ 140 w 150"/>
                <a:gd name="T53" fmla="*/ 39 h 150"/>
                <a:gd name="T54" fmla="*/ 133 w 150"/>
                <a:gd name="T55" fmla="*/ 27 h 150"/>
                <a:gd name="T56" fmla="*/ 122 w 150"/>
                <a:gd name="T57" fmla="*/ 17 h 150"/>
                <a:gd name="T58" fmla="*/ 110 w 150"/>
                <a:gd name="T59" fmla="*/ 9 h 150"/>
                <a:gd name="T60" fmla="*/ 97 w 150"/>
                <a:gd name="T61" fmla="*/ 3 h 150"/>
                <a:gd name="T62" fmla="*/ 82 w 150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0" h="150"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5" y="6"/>
                  </a:lnTo>
                  <a:lnTo>
                    <a:pt x="38" y="9"/>
                  </a:lnTo>
                  <a:lnTo>
                    <a:pt x="32" y="13"/>
                  </a:lnTo>
                  <a:lnTo>
                    <a:pt x="27" y="17"/>
                  </a:lnTo>
                  <a:lnTo>
                    <a:pt x="21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8" y="39"/>
                  </a:lnTo>
                  <a:lnTo>
                    <a:pt x="5" y="45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5" y="104"/>
                  </a:lnTo>
                  <a:lnTo>
                    <a:pt x="8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1" y="128"/>
                  </a:lnTo>
                  <a:lnTo>
                    <a:pt x="27" y="133"/>
                  </a:lnTo>
                  <a:lnTo>
                    <a:pt x="32" y="138"/>
                  </a:lnTo>
                  <a:lnTo>
                    <a:pt x="38" y="141"/>
                  </a:lnTo>
                  <a:lnTo>
                    <a:pt x="45" y="144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0"/>
                  </a:lnTo>
                  <a:lnTo>
                    <a:pt x="82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4" y="144"/>
                  </a:lnTo>
                  <a:lnTo>
                    <a:pt x="110" y="141"/>
                  </a:lnTo>
                  <a:lnTo>
                    <a:pt x="117" y="138"/>
                  </a:lnTo>
                  <a:lnTo>
                    <a:pt x="122" y="133"/>
                  </a:lnTo>
                  <a:lnTo>
                    <a:pt x="127" y="128"/>
                  </a:lnTo>
                  <a:lnTo>
                    <a:pt x="133" y="123"/>
                  </a:lnTo>
                  <a:lnTo>
                    <a:pt x="137" y="117"/>
                  </a:lnTo>
                  <a:lnTo>
                    <a:pt x="140" y="111"/>
                  </a:lnTo>
                  <a:lnTo>
                    <a:pt x="144" y="104"/>
                  </a:lnTo>
                  <a:lnTo>
                    <a:pt x="147" y="98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8"/>
                  </a:lnTo>
                  <a:lnTo>
                    <a:pt x="148" y="60"/>
                  </a:lnTo>
                  <a:lnTo>
                    <a:pt x="147" y="53"/>
                  </a:lnTo>
                  <a:lnTo>
                    <a:pt x="144" y="45"/>
                  </a:lnTo>
                  <a:lnTo>
                    <a:pt x="140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7" y="22"/>
                  </a:lnTo>
                  <a:lnTo>
                    <a:pt x="122" y="17"/>
                  </a:lnTo>
                  <a:lnTo>
                    <a:pt x="117" y="13"/>
                  </a:lnTo>
                  <a:lnTo>
                    <a:pt x="110" y="9"/>
                  </a:lnTo>
                  <a:lnTo>
                    <a:pt x="104" y="6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33">
              <a:extLst>
                <a:ext uri="{FF2B5EF4-FFF2-40B4-BE49-F238E27FC236}">
                  <a16:creationId xmlns:a16="http://schemas.microsoft.com/office/drawing/2014/main" id="{6D3DD28D-52F5-4B38-8390-DDA8AD25B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2654300"/>
              <a:ext cx="96838" cy="106363"/>
            </a:xfrm>
            <a:custGeom>
              <a:avLst/>
              <a:gdLst>
                <a:gd name="T0" fmla="*/ 30 w 301"/>
                <a:gd name="T1" fmla="*/ 30 h 331"/>
                <a:gd name="T2" fmla="*/ 250 w 301"/>
                <a:gd name="T3" fmla="*/ 150 h 331"/>
                <a:gd name="T4" fmla="*/ 301 w 301"/>
                <a:gd name="T5" fmla="*/ 165 h 331"/>
                <a:gd name="T6" fmla="*/ 300 w 301"/>
                <a:gd name="T7" fmla="*/ 161 h 331"/>
                <a:gd name="T8" fmla="*/ 300 w 301"/>
                <a:gd name="T9" fmla="*/ 160 h 331"/>
                <a:gd name="T10" fmla="*/ 297 w 301"/>
                <a:gd name="T11" fmla="*/ 155 h 331"/>
                <a:gd name="T12" fmla="*/ 297 w 301"/>
                <a:gd name="T13" fmla="*/ 155 h 331"/>
                <a:gd name="T14" fmla="*/ 144 w 301"/>
                <a:gd name="T15" fmla="*/ 2 h 331"/>
                <a:gd name="T16" fmla="*/ 138 w 301"/>
                <a:gd name="T17" fmla="*/ 0 h 331"/>
                <a:gd name="T18" fmla="*/ 15 w 301"/>
                <a:gd name="T19" fmla="*/ 0 h 331"/>
                <a:gd name="T20" fmla="*/ 10 w 301"/>
                <a:gd name="T21" fmla="*/ 1 h 331"/>
                <a:gd name="T22" fmla="*/ 4 w 301"/>
                <a:gd name="T23" fmla="*/ 4 h 331"/>
                <a:gd name="T24" fmla="*/ 1 w 301"/>
                <a:gd name="T25" fmla="*/ 10 h 331"/>
                <a:gd name="T26" fmla="*/ 0 w 301"/>
                <a:gd name="T27" fmla="*/ 15 h 331"/>
                <a:gd name="T28" fmla="*/ 0 w 301"/>
                <a:gd name="T29" fmla="*/ 316 h 331"/>
                <a:gd name="T30" fmla="*/ 1 w 301"/>
                <a:gd name="T31" fmla="*/ 322 h 331"/>
                <a:gd name="T32" fmla="*/ 4 w 301"/>
                <a:gd name="T33" fmla="*/ 327 h 331"/>
                <a:gd name="T34" fmla="*/ 10 w 301"/>
                <a:gd name="T35" fmla="*/ 330 h 331"/>
                <a:gd name="T36" fmla="*/ 15 w 301"/>
                <a:gd name="T37" fmla="*/ 331 h 331"/>
                <a:gd name="T38" fmla="*/ 31 w 301"/>
                <a:gd name="T39" fmla="*/ 324 h 331"/>
                <a:gd name="T40" fmla="*/ 31 w 301"/>
                <a:gd name="T41" fmla="*/ 306 h 331"/>
                <a:gd name="T42" fmla="*/ 35 w 301"/>
                <a:gd name="T43" fmla="*/ 285 h 331"/>
                <a:gd name="T44" fmla="*/ 43 w 301"/>
                <a:gd name="T45" fmla="*/ 266 h 331"/>
                <a:gd name="T46" fmla="*/ 55 w 301"/>
                <a:gd name="T47" fmla="*/ 249 h 331"/>
                <a:gd name="T48" fmla="*/ 69 w 301"/>
                <a:gd name="T49" fmla="*/ 235 h 331"/>
                <a:gd name="T50" fmla="*/ 86 w 301"/>
                <a:gd name="T51" fmla="*/ 223 h 331"/>
                <a:gd name="T52" fmla="*/ 104 w 301"/>
                <a:gd name="T53" fmla="*/ 215 h 331"/>
                <a:gd name="T54" fmla="*/ 126 w 301"/>
                <a:gd name="T55" fmla="*/ 211 h 331"/>
                <a:gd name="T56" fmla="*/ 147 w 301"/>
                <a:gd name="T57" fmla="*/ 211 h 331"/>
                <a:gd name="T58" fmla="*/ 167 w 301"/>
                <a:gd name="T59" fmla="*/ 215 h 331"/>
                <a:gd name="T60" fmla="*/ 186 w 301"/>
                <a:gd name="T61" fmla="*/ 223 h 331"/>
                <a:gd name="T62" fmla="*/ 203 w 301"/>
                <a:gd name="T63" fmla="*/ 235 h 331"/>
                <a:gd name="T64" fmla="*/ 217 w 301"/>
                <a:gd name="T65" fmla="*/ 249 h 331"/>
                <a:gd name="T66" fmla="*/ 229 w 301"/>
                <a:gd name="T67" fmla="*/ 266 h 331"/>
                <a:gd name="T68" fmla="*/ 236 w 301"/>
                <a:gd name="T69" fmla="*/ 285 h 331"/>
                <a:gd name="T70" fmla="*/ 240 w 301"/>
                <a:gd name="T71" fmla="*/ 306 h 331"/>
                <a:gd name="T72" fmla="*/ 241 w 301"/>
                <a:gd name="T73" fmla="*/ 324 h 331"/>
                <a:gd name="T74" fmla="*/ 286 w 301"/>
                <a:gd name="T75" fmla="*/ 331 h 331"/>
                <a:gd name="T76" fmla="*/ 292 w 301"/>
                <a:gd name="T77" fmla="*/ 330 h 331"/>
                <a:gd name="T78" fmla="*/ 297 w 301"/>
                <a:gd name="T79" fmla="*/ 327 h 331"/>
                <a:gd name="T80" fmla="*/ 300 w 301"/>
                <a:gd name="T81" fmla="*/ 322 h 331"/>
                <a:gd name="T82" fmla="*/ 301 w 301"/>
                <a:gd name="T83" fmla="*/ 316 h 331"/>
                <a:gd name="T84" fmla="*/ 301 w 301"/>
                <a:gd name="T85" fmla="*/ 16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" h="331">
                  <a:moveTo>
                    <a:pt x="30" y="150"/>
                  </a:moveTo>
                  <a:lnTo>
                    <a:pt x="30" y="30"/>
                  </a:lnTo>
                  <a:lnTo>
                    <a:pt x="130" y="30"/>
                  </a:lnTo>
                  <a:lnTo>
                    <a:pt x="250" y="150"/>
                  </a:lnTo>
                  <a:lnTo>
                    <a:pt x="30" y="150"/>
                  </a:lnTo>
                  <a:close/>
                  <a:moveTo>
                    <a:pt x="301" y="165"/>
                  </a:moveTo>
                  <a:lnTo>
                    <a:pt x="300" y="163"/>
                  </a:lnTo>
                  <a:lnTo>
                    <a:pt x="300" y="161"/>
                  </a:lnTo>
                  <a:lnTo>
                    <a:pt x="300" y="160"/>
                  </a:lnTo>
                  <a:lnTo>
                    <a:pt x="300" y="160"/>
                  </a:lnTo>
                  <a:lnTo>
                    <a:pt x="298" y="156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147" y="4"/>
                  </a:lnTo>
                  <a:lnTo>
                    <a:pt x="144" y="2"/>
                  </a:lnTo>
                  <a:lnTo>
                    <a:pt x="142" y="1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65"/>
                  </a:lnTo>
                  <a:lnTo>
                    <a:pt x="0" y="316"/>
                  </a:lnTo>
                  <a:lnTo>
                    <a:pt x="1" y="320"/>
                  </a:lnTo>
                  <a:lnTo>
                    <a:pt x="1" y="322"/>
                  </a:lnTo>
                  <a:lnTo>
                    <a:pt x="3" y="325"/>
                  </a:lnTo>
                  <a:lnTo>
                    <a:pt x="4" y="327"/>
                  </a:lnTo>
                  <a:lnTo>
                    <a:pt x="7" y="328"/>
                  </a:lnTo>
                  <a:lnTo>
                    <a:pt x="10" y="330"/>
                  </a:lnTo>
                  <a:lnTo>
                    <a:pt x="12" y="331"/>
                  </a:lnTo>
                  <a:lnTo>
                    <a:pt x="15" y="331"/>
                  </a:lnTo>
                  <a:lnTo>
                    <a:pt x="31" y="331"/>
                  </a:lnTo>
                  <a:lnTo>
                    <a:pt x="31" y="324"/>
                  </a:lnTo>
                  <a:lnTo>
                    <a:pt x="30" y="316"/>
                  </a:lnTo>
                  <a:lnTo>
                    <a:pt x="31" y="306"/>
                  </a:lnTo>
                  <a:lnTo>
                    <a:pt x="32" y="295"/>
                  </a:lnTo>
                  <a:lnTo>
                    <a:pt x="35" y="285"/>
                  </a:lnTo>
                  <a:lnTo>
                    <a:pt x="39" y="276"/>
                  </a:lnTo>
                  <a:lnTo>
                    <a:pt x="43" y="266"/>
                  </a:lnTo>
                  <a:lnTo>
                    <a:pt x="48" y="257"/>
                  </a:lnTo>
                  <a:lnTo>
                    <a:pt x="55" y="249"/>
                  </a:lnTo>
                  <a:lnTo>
                    <a:pt x="61" y="241"/>
                  </a:lnTo>
                  <a:lnTo>
                    <a:pt x="69" y="235"/>
                  </a:lnTo>
                  <a:lnTo>
                    <a:pt x="77" y="228"/>
                  </a:lnTo>
                  <a:lnTo>
                    <a:pt x="86" y="223"/>
                  </a:lnTo>
                  <a:lnTo>
                    <a:pt x="94" y="219"/>
                  </a:lnTo>
                  <a:lnTo>
                    <a:pt x="104" y="215"/>
                  </a:lnTo>
                  <a:lnTo>
                    <a:pt x="115" y="213"/>
                  </a:lnTo>
                  <a:lnTo>
                    <a:pt x="126" y="211"/>
                  </a:lnTo>
                  <a:lnTo>
                    <a:pt x="136" y="211"/>
                  </a:lnTo>
                  <a:lnTo>
                    <a:pt x="147" y="211"/>
                  </a:lnTo>
                  <a:lnTo>
                    <a:pt x="157" y="213"/>
                  </a:lnTo>
                  <a:lnTo>
                    <a:pt x="167" y="215"/>
                  </a:lnTo>
                  <a:lnTo>
                    <a:pt x="177" y="219"/>
                  </a:lnTo>
                  <a:lnTo>
                    <a:pt x="186" y="223"/>
                  </a:lnTo>
                  <a:lnTo>
                    <a:pt x="194" y="228"/>
                  </a:lnTo>
                  <a:lnTo>
                    <a:pt x="203" y="235"/>
                  </a:lnTo>
                  <a:lnTo>
                    <a:pt x="210" y="241"/>
                  </a:lnTo>
                  <a:lnTo>
                    <a:pt x="217" y="249"/>
                  </a:lnTo>
                  <a:lnTo>
                    <a:pt x="223" y="257"/>
                  </a:lnTo>
                  <a:lnTo>
                    <a:pt x="229" y="266"/>
                  </a:lnTo>
                  <a:lnTo>
                    <a:pt x="233" y="276"/>
                  </a:lnTo>
                  <a:lnTo>
                    <a:pt x="236" y="285"/>
                  </a:lnTo>
                  <a:lnTo>
                    <a:pt x="239" y="295"/>
                  </a:lnTo>
                  <a:lnTo>
                    <a:pt x="240" y="306"/>
                  </a:lnTo>
                  <a:lnTo>
                    <a:pt x="241" y="316"/>
                  </a:lnTo>
                  <a:lnTo>
                    <a:pt x="241" y="324"/>
                  </a:lnTo>
                  <a:lnTo>
                    <a:pt x="240" y="331"/>
                  </a:lnTo>
                  <a:lnTo>
                    <a:pt x="286" y="331"/>
                  </a:lnTo>
                  <a:lnTo>
                    <a:pt x="290" y="330"/>
                  </a:lnTo>
                  <a:lnTo>
                    <a:pt x="292" y="330"/>
                  </a:lnTo>
                  <a:lnTo>
                    <a:pt x="295" y="328"/>
                  </a:lnTo>
                  <a:lnTo>
                    <a:pt x="297" y="327"/>
                  </a:lnTo>
                  <a:lnTo>
                    <a:pt x="299" y="325"/>
                  </a:lnTo>
                  <a:lnTo>
                    <a:pt x="300" y="322"/>
                  </a:lnTo>
                  <a:lnTo>
                    <a:pt x="301" y="320"/>
                  </a:lnTo>
                  <a:lnTo>
                    <a:pt x="301" y="316"/>
                  </a:lnTo>
                  <a:lnTo>
                    <a:pt x="301" y="165"/>
                  </a:lnTo>
                  <a:lnTo>
                    <a:pt x="301" y="165"/>
                  </a:lnTo>
                  <a:lnTo>
                    <a:pt x="301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34">
              <a:extLst>
                <a:ext uri="{FF2B5EF4-FFF2-40B4-BE49-F238E27FC236}">
                  <a16:creationId xmlns:a16="http://schemas.microsoft.com/office/drawing/2014/main" id="{2D77E4FC-731D-463A-A8FC-DC45F2A0E1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8288" y="2732088"/>
              <a:ext cx="49213" cy="47625"/>
            </a:xfrm>
            <a:custGeom>
              <a:avLst/>
              <a:gdLst>
                <a:gd name="T0" fmla="*/ 68 w 151"/>
                <a:gd name="T1" fmla="*/ 0 h 150"/>
                <a:gd name="T2" fmla="*/ 54 w 151"/>
                <a:gd name="T3" fmla="*/ 3 h 150"/>
                <a:gd name="T4" fmla="*/ 40 w 151"/>
                <a:gd name="T5" fmla="*/ 9 h 150"/>
                <a:gd name="T6" fmla="*/ 28 w 151"/>
                <a:gd name="T7" fmla="*/ 17 h 150"/>
                <a:gd name="T8" fmla="*/ 17 w 151"/>
                <a:gd name="T9" fmla="*/ 27 h 150"/>
                <a:gd name="T10" fmla="*/ 10 w 151"/>
                <a:gd name="T11" fmla="*/ 39 h 150"/>
                <a:gd name="T12" fmla="*/ 4 w 151"/>
                <a:gd name="T13" fmla="*/ 53 h 150"/>
                <a:gd name="T14" fmla="*/ 1 w 151"/>
                <a:gd name="T15" fmla="*/ 68 h 150"/>
                <a:gd name="T16" fmla="*/ 1 w 151"/>
                <a:gd name="T17" fmla="*/ 83 h 150"/>
                <a:gd name="T18" fmla="*/ 4 w 151"/>
                <a:gd name="T19" fmla="*/ 98 h 150"/>
                <a:gd name="T20" fmla="*/ 10 w 151"/>
                <a:gd name="T21" fmla="*/ 111 h 150"/>
                <a:gd name="T22" fmla="*/ 17 w 151"/>
                <a:gd name="T23" fmla="*/ 123 h 150"/>
                <a:gd name="T24" fmla="*/ 28 w 151"/>
                <a:gd name="T25" fmla="*/ 133 h 150"/>
                <a:gd name="T26" fmla="*/ 40 w 151"/>
                <a:gd name="T27" fmla="*/ 141 h 150"/>
                <a:gd name="T28" fmla="*/ 54 w 151"/>
                <a:gd name="T29" fmla="*/ 147 h 150"/>
                <a:gd name="T30" fmla="*/ 68 w 151"/>
                <a:gd name="T31" fmla="*/ 150 h 150"/>
                <a:gd name="T32" fmla="*/ 84 w 151"/>
                <a:gd name="T33" fmla="*/ 150 h 150"/>
                <a:gd name="T34" fmla="*/ 98 w 151"/>
                <a:gd name="T35" fmla="*/ 147 h 150"/>
                <a:gd name="T36" fmla="*/ 112 w 151"/>
                <a:gd name="T37" fmla="*/ 141 h 150"/>
                <a:gd name="T38" fmla="*/ 124 w 151"/>
                <a:gd name="T39" fmla="*/ 133 h 150"/>
                <a:gd name="T40" fmla="*/ 134 w 151"/>
                <a:gd name="T41" fmla="*/ 123 h 150"/>
                <a:gd name="T42" fmla="*/ 142 w 151"/>
                <a:gd name="T43" fmla="*/ 111 h 150"/>
                <a:gd name="T44" fmla="*/ 148 w 151"/>
                <a:gd name="T45" fmla="*/ 98 h 150"/>
                <a:gd name="T46" fmla="*/ 150 w 151"/>
                <a:gd name="T47" fmla="*/ 83 h 150"/>
                <a:gd name="T48" fmla="*/ 150 w 151"/>
                <a:gd name="T49" fmla="*/ 68 h 150"/>
                <a:gd name="T50" fmla="*/ 148 w 151"/>
                <a:gd name="T51" fmla="*/ 53 h 150"/>
                <a:gd name="T52" fmla="*/ 142 w 151"/>
                <a:gd name="T53" fmla="*/ 39 h 150"/>
                <a:gd name="T54" fmla="*/ 134 w 151"/>
                <a:gd name="T55" fmla="*/ 27 h 150"/>
                <a:gd name="T56" fmla="*/ 124 w 151"/>
                <a:gd name="T57" fmla="*/ 17 h 150"/>
                <a:gd name="T58" fmla="*/ 112 w 151"/>
                <a:gd name="T59" fmla="*/ 9 h 150"/>
                <a:gd name="T60" fmla="*/ 98 w 151"/>
                <a:gd name="T61" fmla="*/ 3 h 150"/>
                <a:gd name="T62" fmla="*/ 84 w 151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150">
                  <a:moveTo>
                    <a:pt x="76" y="0"/>
                  </a:moveTo>
                  <a:lnTo>
                    <a:pt x="68" y="0"/>
                  </a:lnTo>
                  <a:lnTo>
                    <a:pt x="60" y="1"/>
                  </a:lnTo>
                  <a:lnTo>
                    <a:pt x="54" y="3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5"/>
                  </a:lnTo>
                  <a:lnTo>
                    <a:pt x="4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0"/>
                  </a:lnTo>
                  <a:lnTo>
                    <a:pt x="4" y="98"/>
                  </a:lnTo>
                  <a:lnTo>
                    <a:pt x="7" y="104"/>
                  </a:lnTo>
                  <a:lnTo>
                    <a:pt x="10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3"/>
                  </a:lnTo>
                  <a:lnTo>
                    <a:pt x="33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0"/>
                  </a:lnTo>
                  <a:lnTo>
                    <a:pt x="84" y="150"/>
                  </a:lnTo>
                  <a:lnTo>
                    <a:pt x="91" y="149"/>
                  </a:lnTo>
                  <a:lnTo>
                    <a:pt x="98" y="147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3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7"/>
                  </a:lnTo>
                  <a:lnTo>
                    <a:pt x="142" y="111"/>
                  </a:lnTo>
                  <a:lnTo>
                    <a:pt x="145" y="104"/>
                  </a:lnTo>
                  <a:lnTo>
                    <a:pt x="148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5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3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3"/>
                  </a:lnTo>
                  <a:lnTo>
                    <a:pt x="91" y="1"/>
                  </a:lnTo>
                  <a:lnTo>
                    <a:pt x="84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B0D6CB8-AC72-4E61-ACE6-A612058C5428}"/>
              </a:ext>
            </a:extLst>
          </p:cNvPr>
          <p:cNvGrpSpPr/>
          <p:nvPr/>
        </p:nvGrpSpPr>
        <p:grpSpPr>
          <a:xfrm>
            <a:off x="10517781" y="5490346"/>
            <a:ext cx="285750" cy="238125"/>
            <a:chOff x="9883775" y="857250"/>
            <a:chExt cx="285750" cy="238125"/>
          </a:xfrm>
          <a:solidFill>
            <a:srgbClr val="A6A6A6"/>
          </a:solidFill>
        </p:grpSpPr>
        <p:sp>
          <p:nvSpPr>
            <p:cNvPr id="81" name="Freeform 4137">
              <a:extLst>
                <a:ext uri="{FF2B5EF4-FFF2-40B4-BE49-F238E27FC236}">
                  <a16:creationId xmlns:a16="http://schemas.microsoft.com/office/drawing/2014/main" id="{187AEF94-AB0E-44BE-B416-0EAC34227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3775" y="857250"/>
              <a:ext cx="285750" cy="180975"/>
            </a:xfrm>
            <a:custGeom>
              <a:avLst/>
              <a:gdLst>
                <a:gd name="T0" fmla="*/ 790 w 901"/>
                <a:gd name="T1" fmla="*/ 0 h 571"/>
                <a:gd name="T2" fmla="*/ 777 w 901"/>
                <a:gd name="T3" fmla="*/ 2 h 571"/>
                <a:gd name="T4" fmla="*/ 767 w 901"/>
                <a:gd name="T5" fmla="*/ 8 h 571"/>
                <a:gd name="T6" fmla="*/ 760 w 901"/>
                <a:gd name="T7" fmla="*/ 18 h 571"/>
                <a:gd name="T8" fmla="*/ 755 w 901"/>
                <a:gd name="T9" fmla="*/ 30 h 571"/>
                <a:gd name="T10" fmla="*/ 744 w 901"/>
                <a:gd name="T11" fmla="*/ 122 h 571"/>
                <a:gd name="T12" fmla="*/ 742 w 901"/>
                <a:gd name="T13" fmla="*/ 136 h 571"/>
                <a:gd name="T14" fmla="*/ 735 w 901"/>
                <a:gd name="T15" fmla="*/ 147 h 571"/>
                <a:gd name="T16" fmla="*/ 723 w 901"/>
                <a:gd name="T17" fmla="*/ 150 h 571"/>
                <a:gd name="T18" fmla="*/ 62 w 901"/>
                <a:gd name="T19" fmla="*/ 151 h 571"/>
                <a:gd name="T20" fmla="*/ 46 w 901"/>
                <a:gd name="T21" fmla="*/ 156 h 571"/>
                <a:gd name="T22" fmla="*/ 31 w 901"/>
                <a:gd name="T23" fmla="*/ 164 h 571"/>
                <a:gd name="T24" fmla="*/ 19 w 901"/>
                <a:gd name="T25" fmla="*/ 175 h 571"/>
                <a:gd name="T26" fmla="*/ 9 w 901"/>
                <a:gd name="T27" fmla="*/ 188 h 571"/>
                <a:gd name="T28" fmla="*/ 3 w 901"/>
                <a:gd name="T29" fmla="*/ 203 h 571"/>
                <a:gd name="T30" fmla="*/ 0 w 901"/>
                <a:gd name="T31" fmla="*/ 220 h 571"/>
                <a:gd name="T32" fmla="*/ 1 w 901"/>
                <a:gd name="T33" fmla="*/ 237 h 571"/>
                <a:gd name="T34" fmla="*/ 62 w 901"/>
                <a:gd name="T35" fmla="*/ 434 h 571"/>
                <a:gd name="T36" fmla="*/ 72 w 901"/>
                <a:gd name="T37" fmla="*/ 453 h 571"/>
                <a:gd name="T38" fmla="*/ 87 w 901"/>
                <a:gd name="T39" fmla="*/ 468 h 571"/>
                <a:gd name="T40" fmla="*/ 106 w 901"/>
                <a:gd name="T41" fmla="*/ 478 h 571"/>
                <a:gd name="T42" fmla="*/ 127 w 901"/>
                <a:gd name="T43" fmla="*/ 481 h 571"/>
                <a:gd name="T44" fmla="*/ 136 w 901"/>
                <a:gd name="T45" fmla="*/ 481 h 571"/>
                <a:gd name="T46" fmla="*/ 680 w 901"/>
                <a:gd name="T47" fmla="*/ 482 h 571"/>
                <a:gd name="T48" fmla="*/ 686 w 901"/>
                <a:gd name="T49" fmla="*/ 489 h 571"/>
                <a:gd name="T50" fmla="*/ 690 w 901"/>
                <a:gd name="T51" fmla="*/ 501 h 571"/>
                <a:gd name="T52" fmla="*/ 691 w 901"/>
                <a:gd name="T53" fmla="*/ 516 h 571"/>
                <a:gd name="T54" fmla="*/ 689 w 901"/>
                <a:gd name="T55" fmla="*/ 525 h 571"/>
                <a:gd name="T56" fmla="*/ 685 w 901"/>
                <a:gd name="T57" fmla="*/ 533 h 571"/>
                <a:gd name="T58" fmla="*/ 678 w 901"/>
                <a:gd name="T59" fmla="*/ 538 h 571"/>
                <a:gd name="T60" fmla="*/ 148 w 901"/>
                <a:gd name="T61" fmla="*/ 541 h 571"/>
                <a:gd name="T62" fmla="*/ 141 w 901"/>
                <a:gd name="T63" fmla="*/ 542 h 571"/>
                <a:gd name="T64" fmla="*/ 137 w 901"/>
                <a:gd name="T65" fmla="*/ 545 h 571"/>
                <a:gd name="T66" fmla="*/ 134 w 901"/>
                <a:gd name="T67" fmla="*/ 550 h 571"/>
                <a:gd name="T68" fmla="*/ 133 w 901"/>
                <a:gd name="T69" fmla="*/ 556 h 571"/>
                <a:gd name="T70" fmla="*/ 134 w 901"/>
                <a:gd name="T71" fmla="*/ 562 h 571"/>
                <a:gd name="T72" fmla="*/ 137 w 901"/>
                <a:gd name="T73" fmla="*/ 567 h 571"/>
                <a:gd name="T74" fmla="*/ 141 w 901"/>
                <a:gd name="T75" fmla="*/ 570 h 571"/>
                <a:gd name="T76" fmla="*/ 148 w 901"/>
                <a:gd name="T77" fmla="*/ 571 h 571"/>
                <a:gd name="T78" fmla="*/ 685 w 901"/>
                <a:gd name="T79" fmla="*/ 569 h 571"/>
                <a:gd name="T80" fmla="*/ 701 w 901"/>
                <a:gd name="T81" fmla="*/ 558 h 571"/>
                <a:gd name="T82" fmla="*/ 713 w 901"/>
                <a:gd name="T83" fmla="*/ 545 h 571"/>
                <a:gd name="T84" fmla="*/ 719 w 901"/>
                <a:gd name="T85" fmla="*/ 530 h 571"/>
                <a:gd name="T86" fmla="*/ 721 w 901"/>
                <a:gd name="T87" fmla="*/ 511 h 571"/>
                <a:gd name="T88" fmla="*/ 720 w 901"/>
                <a:gd name="T89" fmla="*/ 499 h 571"/>
                <a:gd name="T90" fmla="*/ 772 w 901"/>
                <a:gd name="T91" fmla="*/ 138 h 571"/>
                <a:gd name="T92" fmla="*/ 785 w 901"/>
                <a:gd name="T93" fmla="*/ 33 h 571"/>
                <a:gd name="T94" fmla="*/ 790 w 901"/>
                <a:gd name="T95" fmla="*/ 30 h 571"/>
                <a:gd name="T96" fmla="*/ 889 w 901"/>
                <a:gd name="T97" fmla="*/ 30 h 571"/>
                <a:gd name="T98" fmla="*/ 895 w 901"/>
                <a:gd name="T99" fmla="*/ 28 h 571"/>
                <a:gd name="T100" fmla="*/ 899 w 901"/>
                <a:gd name="T101" fmla="*/ 23 h 571"/>
                <a:gd name="T102" fmla="*/ 901 w 901"/>
                <a:gd name="T103" fmla="*/ 18 h 571"/>
                <a:gd name="T104" fmla="*/ 901 w 901"/>
                <a:gd name="T105" fmla="*/ 12 h 571"/>
                <a:gd name="T106" fmla="*/ 899 w 901"/>
                <a:gd name="T107" fmla="*/ 6 h 571"/>
                <a:gd name="T108" fmla="*/ 895 w 901"/>
                <a:gd name="T109" fmla="*/ 3 h 571"/>
                <a:gd name="T110" fmla="*/ 889 w 901"/>
                <a:gd name="T111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1" h="571">
                  <a:moveTo>
                    <a:pt x="886" y="0"/>
                  </a:moveTo>
                  <a:lnTo>
                    <a:pt x="790" y="0"/>
                  </a:lnTo>
                  <a:lnTo>
                    <a:pt x="783" y="1"/>
                  </a:lnTo>
                  <a:lnTo>
                    <a:pt x="777" y="2"/>
                  </a:lnTo>
                  <a:lnTo>
                    <a:pt x="772" y="5"/>
                  </a:lnTo>
                  <a:lnTo>
                    <a:pt x="767" y="8"/>
                  </a:lnTo>
                  <a:lnTo>
                    <a:pt x="763" y="13"/>
                  </a:lnTo>
                  <a:lnTo>
                    <a:pt x="760" y="18"/>
                  </a:lnTo>
                  <a:lnTo>
                    <a:pt x="757" y="23"/>
                  </a:lnTo>
                  <a:lnTo>
                    <a:pt x="755" y="30"/>
                  </a:lnTo>
                  <a:lnTo>
                    <a:pt x="744" y="121"/>
                  </a:lnTo>
                  <a:lnTo>
                    <a:pt x="744" y="122"/>
                  </a:lnTo>
                  <a:lnTo>
                    <a:pt x="744" y="122"/>
                  </a:lnTo>
                  <a:lnTo>
                    <a:pt x="742" y="136"/>
                  </a:lnTo>
                  <a:lnTo>
                    <a:pt x="738" y="142"/>
                  </a:lnTo>
                  <a:lnTo>
                    <a:pt x="735" y="147"/>
                  </a:lnTo>
                  <a:lnTo>
                    <a:pt x="730" y="149"/>
                  </a:lnTo>
                  <a:lnTo>
                    <a:pt x="723" y="150"/>
                  </a:lnTo>
                  <a:lnTo>
                    <a:pt x="71" y="150"/>
                  </a:lnTo>
                  <a:lnTo>
                    <a:pt x="62" y="151"/>
                  </a:lnTo>
                  <a:lnTo>
                    <a:pt x="53" y="153"/>
                  </a:lnTo>
                  <a:lnTo>
                    <a:pt x="46" y="156"/>
                  </a:lnTo>
                  <a:lnTo>
                    <a:pt x="38" y="160"/>
                  </a:lnTo>
                  <a:lnTo>
                    <a:pt x="31" y="164"/>
                  </a:lnTo>
                  <a:lnTo>
                    <a:pt x="24" y="169"/>
                  </a:lnTo>
                  <a:lnTo>
                    <a:pt x="19" y="175"/>
                  </a:lnTo>
                  <a:lnTo>
                    <a:pt x="14" y="181"/>
                  </a:lnTo>
                  <a:lnTo>
                    <a:pt x="9" y="188"/>
                  </a:lnTo>
                  <a:lnTo>
                    <a:pt x="5" y="196"/>
                  </a:lnTo>
                  <a:lnTo>
                    <a:pt x="3" y="203"/>
                  </a:lnTo>
                  <a:lnTo>
                    <a:pt x="1" y="212"/>
                  </a:lnTo>
                  <a:lnTo>
                    <a:pt x="0" y="220"/>
                  </a:lnTo>
                  <a:lnTo>
                    <a:pt x="0" y="228"/>
                  </a:lnTo>
                  <a:lnTo>
                    <a:pt x="1" y="237"/>
                  </a:lnTo>
                  <a:lnTo>
                    <a:pt x="3" y="244"/>
                  </a:lnTo>
                  <a:lnTo>
                    <a:pt x="62" y="434"/>
                  </a:lnTo>
                  <a:lnTo>
                    <a:pt x="66" y="444"/>
                  </a:lnTo>
                  <a:lnTo>
                    <a:pt x="72" y="453"/>
                  </a:lnTo>
                  <a:lnTo>
                    <a:pt x="79" y="461"/>
                  </a:lnTo>
                  <a:lnTo>
                    <a:pt x="87" y="468"/>
                  </a:lnTo>
                  <a:lnTo>
                    <a:pt x="96" y="474"/>
                  </a:lnTo>
                  <a:lnTo>
                    <a:pt x="106" y="478"/>
                  </a:lnTo>
                  <a:lnTo>
                    <a:pt x="117" y="480"/>
                  </a:lnTo>
                  <a:lnTo>
                    <a:pt x="127" y="481"/>
                  </a:lnTo>
                  <a:lnTo>
                    <a:pt x="132" y="481"/>
                  </a:lnTo>
                  <a:lnTo>
                    <a:pt x="136" y="481"/>
                  </a:lnTo>
                  <a:lnTo>
                    <a:pt x="676" y="481"/>
                  </a:lnTo>
                  <a:lnTo>
                    <a:pt x="680" y="482"/>
                  </a:lnTo>
                  <a:lnTo>
                    <a:pt x="684" y="485"/>
                  </a:lnTo>
                  <a:lnTo>
                    <a:pt x="686" y="489"/>
                  </a:lnTo>
                  <a:lnTo>
                    <a:pt x="688" y="492"/>
                  </a:lnTo>
                  <a:lnTo>
                    <a:pt x="690" y="501"/>
                  </a:lnTo>
                  <a:lnTo>
                    <a:pt x="691" y="511"/>
                  </a:lnTo>
                  <a:lnTo>
                    <a:pt x="691" y="516"/>
                  </a:lnTo>
                  <a:lnTo>
                    <a:pt x="690" y="521"/>
                  </a:lnTo>
                  <a:lnTo>
                    <a:pt x="689" y="525"/>
                  </a:lnTo>
                  <a:lnTo>
                    <a:pt x="687" y="529"/>
                  </a:lnTo>
                  <a:lnTo>
                    <a:pt x="685" y="533"/>
                  </a:lnTo>
                  <a:lnTo>
                    <a:pt x="682" y="536"/>
                  </a:lnTo>
                  <a:lnTo>
                    <a:pt x="678" y="538"/>
                  </a:lnTo>
                  <a:lnTo>
                    <a:pt x="674" y="541"/>
                  </a:lnTo>
                  <a:lnTo>
                    <a:pt x="148" y="541"/>
                  </a:lnTo>
                  <a:lnTo>
                    <a:pt x="145" y="541"/>
                  </a:lnTo>
                  <a:lnTo>
                    <a:pt x="141" y="542"/>
                  </a:lnTo>
                  <a:lnTo>
                    <a:pt x="139" y="543"/>
                  </a:lnTo>
                  <a:lnTo>
                    <a:pt x="137" y="545"/>
                  </a:lnTo>
                  <a:lnTo>
                    <a:pt x="135" y="548"/>
                  </a:lnTo>
                  <a:lnTo>
                    <a:pt x="134" y="550"/>
                  </a:lnTo>
                  <a:lnTo>
                    <a:pt x="133" y="553"/>
                  </a:lnTo>
                  <a:lnTo>
                    <a:pt x="133" y="556"/>
                  </a:lnTo>
                  <a:lnTo>
                    <a:pt x="133" y="559"/>
                  </a:lnTo>
                  <a:lnTo>
                    <a:pt x="134" y="562"/>
                  </a:lnTo>
                  <a:lnTo>
                    <a:pt x="135" y="565"/>
                  </a:lnTo>
                  <a:lnTo>
                    <a:pt x="137" y="567"/>
                  </a:lnTo>
                  <a:lnTo>
                    <a:pt x="139" y="568"/>
                  </a:lnTo>
                  <a:lnTo>
                    <a:pt x="141" y="570"/>
                  </a:lnTo>
                  <a:lnTo>
                    <a:pt x="145" y="571"/>
                  </a:lnTo>
                  <a:lnTo>
                    <a:pt x="148" y="571"/>
                  </a:lnTo>
                  <a:lnTo>
                    <a:pt x="682" y="571"/>
                  </a:lnTo>
                  <a:lnTo>
                    <a:pt x="685" y="569"/>
                  </a:lnTo>
                  <a:lnTo>
                    <a:pt x="693" y="565"/>
                  </a:lnTo>
                  <a:lnTo>
                    <a:pt x="701" y="558"/>
                  </a:lnTo>
                  <a:lnTo>
                    <a:pt x="707" y="553"/>
                  </a:lnTo>
                  <a:lnTo>
                    <a:pt x="713" y="545"/>
                  </a:lnTo>
                  <a:lnTo>
                    <a:pt x="716" y="538"/>
                  </a:lnTo>
                  <a:lnTo>
                    <a:pt x="719" y="530"/>
                  </a:lnTo>
                  <a:lnTo>
                    <a:pt x="720" y="521"/>
                  </a:lnTo>
                  <a:lnTo>
                    <a:pt x="721" y="511"/>
                  </a:lnTo>
                  <a:lnTo>
                    <a:pt x="721" y="505"/>
                  </a:lnTo>
                  <a:lnTo>
                    <a:pt x="720" y="499"/>
                  </a:lnTo>
                  <a:lnTo>
                    <a:pt x="772" y="141"/>
                  </a:lnTo>
                  <a:lnTo>
                    <a:pt x="772" y="138"/>
                  </a:lnTo>
                  <a:lnTo>
                    <a:pt x="773" y="135"/>
                  </a:lnTo>
                  <a:lnTo>
                    <a:pt x="785" y="33"/>
                  </a:lnTo>
                  <a:lnTo>
                    <a:pt x="787" y="31"/>
                  </a:lnTo>
                  <a:lnTo>
                    <a:pt x="790" y="30"/>
                  </a:lnTo>
                  <a:lnTo>
                    <a:pt x="886" y="30"/>
                  </a:lnTo>
                  <a:lnTo>
                    <a:pt x="889" y="30"/>
                  </a:lnTo>
                  <a:lnTo>
                    <a:pt x="892" y="29"/>
                  </a:lnTo>
                  <a:lnTo>
                    <a:pt x="895" y="28"/>
                  </a:lnTo>
                  <a:lnTo>
                    <a:pt x="897" y="26"/>
                  </a:lnTo>
                  <a:lnTo>
                    <a:pt x="899" y="23"/>
                  </a:lnTo>
                  <a:lnTo>
                    <a:pt x="900" y="21"/>
                  </a:lnTo>
                  <a:lnTo>
                    <a:pt x="901" y="18"/>
                  </a:lnTo>
                  <a:lnTo>
                    <a:pt x="901" y="15"/>
                  </a:lnTo>
                  <a:lnTo>
                    <a:pt x="901" y="12"/>
                  </a:lnTo>
                  <a:lnTo>
                    <a:pt x="900" y="9"/>
                  </a:lnTo>
                  <a:lnTo>
                    <a:pt x="899" y="6"/>
                  </a:lnTo>
                  <a:lnTo>
                    <a:pt x="897" y="4"/>
                  </a:lnTo>
                  <a:lnTo>
                    <a:pt x="895" y="3"/>
                  </a:lnTo>
                  <a:lnTo>
                    <a:pt x="892" y="1"/>
                  </a:lnTo>
                  <a:lnTo>
                    <a:pt x="889" y="0"/>
                  </a:lnTo>
                  <a:lnTo>
                    <a:pt x="8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4138">
              <a:extLst>
                <a:ext uri="{FF2B5EF4-FFF2-40B4-BE49-F238E27FC236}">
                  <a16:creationId xmlns:a16="http://schemas.microsoft.com/office/drawing/2014/main" id="{19BF56AF-F100-47D7-B763-6CDB88A2F1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0" y="1047750"/>
              <a:ext cx="47625" cy="47625"/>
            </a:xfrm>
            <a:custGeom>
              <a:avLst/>
              <a:gdLst>
                <a:gd name="T0" fmla="*/ 68 w 150"/>
                <a:gd name="T1" fmla="*/ 0 h 150"/>
                <a:gd name="T2" fmla="*/ 53 w 150"/>
                <a:gd name="T3" fmla="*/ 3 h 150"/>
                <a:gd name="T4" fmla="*/ 39 w 150"/>
                <a:gd name="T5" fmla="*/ 9 h 150"/>
                <a:gd name="T6" fmla="*/ 27 w 150"/>
                <a:gd name="T7" fmla="*/ 17 h 150"/>
                <a:gd name="T8" fmla="*/ 17 w 150"/>
                <a:gd name="T9" fmla="*/ 27 h 150"/>
                <a:gd name="T10" fmla="*/ 9 w 150"/>
                <a:gd name="T11" fmla="*/ 40 h 150"/>
                <a:gd name="T12" fmla="*/ 3 w 150"/>
                <a:gd name="T13" fmla="*/ 53 h 150"/>
                <a:gd name="T14" fmla="*/ 0 w 150"/>
                <a:gd name="T15" fmla="*/ 68 h 150"/>
                <a:gd name="T16" fmla="*/ 0 w 150"/>
                <a:gd name="T17" fmla="*/ 83 h 150"/>
                <a:gd name="T18" fmla="*/ 3 w 150"/>
                <a:gd name="T19" fmla="*/ 98 h 150"/>
                <a:gd name="T20" fmla="*/ 9 w 150"/>
                <a:gd name="T21" fmla="*/ 111 h 150"/>
                <a:gd name="T22" fmla="*/ 17 w 150"/>
                <a:gd name="T23" fmla="*/ 122 h 150"/>
                <a:gd name="T24" fmla="*/ 27 w 150"/>
                <a:gd name="T25" fmla="*/ 133 h 150"/>
                <a:gd name="T26" fmla="*/ 39 w 150"/>
                <a:gd name="T27" fmla="*/ 142 h 150"/>
                <a:gd name="T28" fmla="*/ 53 w 150"/>
                <a:gd name="T29" fmla="*/ 147 h 150"/>
                <a:gd name="T30" fmla="*/ 68 w 150"/>
                <a:gd name="T31" fmla="*/ 150 h 150"/>
                <a:gd name="T32" fmla="*/ 83 w 150"/>
                <a:gd name="T33" fmla="*/ 150 h 150"/>
                <a:gd name="T34" fmla="*/ 97 w 150"/>
                <a:gd name="T35" fmla="*/ 147 h 150"/>
                <a:gd name="T36" fmla="*/ 111 w 150"/>
                <a:gd name="T37" fmla="*/ 142 h 150"/>
                <a:gd name="T38" fmla="*/ 122 w 150"/>
                <a:gd name="T39" fmla="*/ 133 h 150"/>
                <a:gd name="T40" fmla="*/ 133 w 150"/>
                <a:gd name="T41" fmla="*/ 122 h 150"/>
                <a:gd name="T42" fmla="*/ 141 w 150"/>
                <a:gd name="T43" fmla="*/ 111 h 150"/>
                <a:gd name="T44" fmla="*/ 147 w 150"/>
                <a:gd name="T45" fmla="*/ 98 h 150"/>
                <a:gd name="T46" fmla="*/ 149 w 150"/>
                <a:gd name="T47" fmla="*/ 83 h 150"/>
                <a:gd name="T48" fmla="*/ 149 w 150"/>
                <a:gd name="T49" fmla="*/ 68 h 150"/>
                <a:gd name="T50" fmla="*/ 147 w 150"/>
                <a:gd name="T51" fmla="*/ 53 h 150"/>
                <a:gd name="T52" fmla="*/ 141 w 150"/>
                <a:gd name="T53" fmla="*/ 40 h 150"/>
                <a:gd name="T54" fmla="*/ 133 w 150"/>
                <a:gd name="T55" fmla="*/ 27 h 150"/>
                <a:gd name="T56" fmla="*/ 122 w 150"/>
                <a:gd name="T57" fmla="*/ 17 h 150"/>
                <a:gd name="T58" fmla="*/ 111 w 150"/>
                <a:gd name="T59" fmla="*/ 9 h 150"/>
                <a:gd name="T60" fmla="*/ 97 w 150"/>
                <a:gd name="T61" fmla="*/ 3 h 150"/>
                <a:gd name="T62" fmla="*/ 83 w 150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0" h="150">
                  <a:moveTo>
                    <a:pt x="75" y="0"/>
                  </a:moveTo>
                  <a:lnTo>
                    <a:pt x="68" y="0"/>
                  </a:lnTo>
                  <a:lnTo>
                    <a:pt x="60" y="1"/>
                  </a:lnTo>
                  <a:lnTo>
                    <a:pt x="53" y="3"/>
                  </a:lnTo>
                  <a:lnTo>
                    <a:pt x="45" y="6"/>
                  </a:lnTo>
                  <a:lnTo>
                    <a:pt x="39" y="9"/>
                  </a:lnTo>
                  <a:lnTo>
                    <a:pt x="33" y="13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40"/>
                  </a:lnTo>
                  <a:lnTo>
                    <a:pt x="5" y="46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5" y="104"/>
                  </a:lnTo>
                  <a:lnTo>
                    <a:pt x="9" y="111"/>
                  </a:lnTo>
                  <a:lnTo>
                    <a:pt x="13" y="117"/>
                  </a:lnTo>
                  <a:lnTo>
                    <a:pt x="17" y="122"/>
                  </a:lnTo>
                  <a:lnTo>
                    <a:pt x="22" y="128"/>
                  </a:lnTo>
                  <a:lnTo>
                    <a:pt x="27" y="133"/>
                  </a:lnTo>
                  <a:lnTo>
                    <a:pt x="33" y="137"/>
                  </a:lnTo>
                  <a:lnTo>
                    <a:pt x="39" y="142"/>
                  </a:lnTo>
                  <a:lnTo>
                    <a:pt x="45" y="145"/>
                  </a:lnTo>
                  <a:lnTo>
                    <a:pt x="53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5" y="150"/>
                  </a:lnTo>
                  <a:lnTo>
                    <a:pt x="83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4" y="145"/>
                  </a:lnTo>
                  <a:lnTo>
                    <a:pt x="111" y="142"/>
                  </a:lnTo>
                  <a:lnTo>
                    <a:pt x="117" y="137"/>
                  </a:lnTo>
                  <a:lnTo>
                    <a:pt x="122" y="133"/>
                  </a:lnTo>
                  <a:lnTo>
                    <a:pt x="128" y="128"/>
                  </a:lnTo>
                  <a:lnTo>
                    <a:pt x="133" y="122"/>
                  </a:lnTo>
                  <a:lnTo>
                    <a:pt x="137" y="117"/>
                  </a:lnTo>
                  <a:lnTo>
                    <a:pt x="141" y="111"/>
                  </a:lnTo>
                  <a:lnTo>
                    <a:pt x="144" y="104"/>
                  </a:lnTo>
                  <a:lnTo>
                    <a:pt x="147" y="98"/>
                  </a:lnTo>
                  <a:lnTo>
                    <a:pt x="148" y="90"/>
                  </a:lnTo>
                  <a:lnTo>
                    <a:pt x="149" y="83"/>
                  </a:lnTo>
                  <a:lnTo>
                    <a:pt x="150" y="75"/>
                  </a:lnTo>
                  <a:lnTo>
                    <a:pt x="149" y="68"/>
                  </a:lnTo>
                  <a:lnTo>
                    <a:pt x="148" y="60"/>
                  </a:lnTo>
                  <a:lnTo>
                    <a:pt x="147" y="53"/>
                  </a:lnTo>
                  <a:lnTo>
                    <a:pt x="144" y="46"/>
                  </a:lnTo>
                  <a:lnTo>
                    <a:pt x="141" y="40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2" y="17"/>
                  </a:lnTo>
                  <a:lnTo>
                    <a:pt x="117" y="13"/>
                  </a:lnTo>
                  <a:lnTo>
                    <a:pt x="111" y="9"/>
                  </a:lnTo>
                  <a:lnTo>
                    <a:pt x="104" y="6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3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4139">
              <a:extLst>
                <a:ext uri="{FF2B5EF4-FFF2-40B4-BE49-F238E27FC236}">
                  <a16:creationId xmlns:a16="http://schemas.microsoft.com/office/drawing/2014/main" id="{699A622B-60CB-4367-A225-15A778D10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1400" y="1047750"/>
              <a:ext cx="47625" cy="47625"/>
            </a:xfrm>
            <a:custGeom>
              <a:avLst/>
              <a:gdLst>
                <a:gd name="T0" fmla="*/ 67 w 150"/>
                <a:gd name="T1" fmla="*/ 0 h 150"/>
                <a:gd name="T2" fmla="*/ 52 w 150"/>
                <a:gd name="T3" fmla="*/ 3 h 150"/>
                <a:gd name="T4" fmla="*/ 40 w 150"/>
                <a:gd name="T5" fmla="*/ 9 h 150"/>
                <a:gd name="T6" fmla="*/ 28 w 150"/>
                <a:gd name="T7" fmla="*/ 17 h 150"/>
                <a:gd name="T8" fmla="*/ 17 w 150"/>
                <a:gd name="T9" fmla="*/ 27 h 150"/>
                <a:gd name="T10" fmla="*/ 10 w 150"/>
                <a:gd name="T11" fmla="*/ 40 h 150"/>
                <a:gd name="T12" fmla="*/ 3 w 150"/>
                <a:gd name="T13" fmla="*/ 53 h 150"/>
                <a:gd name="T14" fmla="*/ 0 w 150"/>
                <a:gd name="T15" fmla="*/ 68 h 150"/>
                <a:gd name="T16" fmla="*/ 0 w 150"/>
                <a:gd name="T17" fmla="*/ 83 h 150"/>
                <a:gd name="T18" fmla="*/ 3 w 150"/>
                <a:gd name="T19" fmla="*/ 98 h 150"/>
                <a:gd name="T20" fmla="*/ 10 w 150"/>
                <a:gd name="T21" fmla="*/ 111 h 150"/>
                <a:gd name="T22" fmla="*/ 17 w 150"/>
                <a:gd name="T23" fmla="*/ 122 h 150"/>
                <a:gd name="T24" fmla="*/ 28 w 150"/>
                <a:gd name="T25" fmla="*/ 133 h 150"/>
                <a:gd name="T26" fmla="*/ 40 w 150"/>
                <a:gd name="T27" fmla="*/ 142 h 150"/>
                <a:gd name="T28" fmla="*/ 52 w 150"/>
                <a:gd name="T29" fmla="*/ 147 h 150"/>
                <a:gd name="T30" fmla="*/ 67 w 150"/>
                <a:gd name="T31" fmla="*/ 150 h 150"/>
                <a:gd name="T32" fmla="*/ 82 w 150"/>
                <a:gd name="T33" fmla="*/ 150 h 150"/>
                <a:gd name="T34" fmla="*/ 97 w 150"/>
                <a:gd name="T35" fmla="*/ 147 h 150"/>
                <a:gd name="T36" fmla="*/ 111 w 150"/>
                <a:gd name="T37" fmla="*/ 142 h 150"/>
                <a:gd name="T38" fmla="*/ 123 w 150"/>
                <a:gd name="T39" fmla="*/ 133 h 150"/>
                <a:gd name="T40" fmla="*/ 133 w 150"/>
                <a:gd name="T41" fmla="*/ 122 h 150"/>
                <a:gd name="T42" fmla="*/ 141 w 150"/>
                <a:gd name="T43" fmla="*/ 111 h 150"/>
                <a:gd name="T44" fmla="*/ 147 w 150"/>
                <a:gd name="T45" fmla="*/ 98 h 150"/>
                <a:gd name="T46" fmla="*/ 150 w 150"/>
                <a:gd name="T47" fmla="*/ 83 h 150"/>
                <a:gd name="T48" fmla="*/ 150 w 150"/>
                <a:gd name="T49" fmla="*/ 68 h 150"/>
                <a:gd name="T50" fmla="*/ 147 w 150"/>
                <a:gd name="T51" fmla="*/ 53 h 150"/>
                <a:gd name="T52" fmla="*/ 141 w 150"/>
                <a:gd name="T53" fmla="*/ 40 h 150"/>
                <a:gd name="T54" fmla="*/ 133 w 150"/>
                <a:gd name="T55" fmla="*/ 27 h 150"/>
                <a:gd name="T56" fmla="*/ 123 w 150"/>
                <a:gd name="T57" fmla="*/ 17 h 150"/>
                <a:gd name="T58" fmla="*/ 111 w 150"/>
                <a:gd name="T59" fmla="*/ 9 h 150"/>
                <a:gd name="T60" fmla="*/ 97 w 150"/>
                <a:gd name="T61" fmla="*/ 3 h 150"/>
                <a:gd name="T62" fmla="*/ 82 w 150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0" h="150"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40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6" y="104"/>
                  </a:lnTo>
                  <a:lnTo>
                    <a:pt x="10" y="111"/>
                  </a:lnTo>
                  <a:lnTo>
                    <a:pt x="13" y="117"/>
                  </a:lnTo>
                  <a:lnTo>
                    <a:pt x="17" y="122"/>
                  </a:lnTo>
                  <a:lnTo>
                    <a:pt x="22" y="128"/>
                  </a:lnTo>
                  <a:lnTo>
                    <a:pt x="28" y="133"/>
                  </a:lnTo>
                  <a:lnTo>
                    <a:pt x="33" y="137"/>
                  </a:lnTo>
                  <a:lnTo>
                    <a:pt x="40" y="142"/>
                  </a:lnTo>
                  <a:lnTo>
                    <a:pt x="46" y="145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0"/>
                  </a:lnTo>
                  <a:lnTo>
                    <a:pt x="82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4" y="145"/>
                  </a:lnTo>
                  <a:lnTo>
                    <a:pt x="111" y="142"/>
                  </a:lnTo>
                  <a:lnTo>
                    <a:pt x="117" y="137"/>
                  </a:lnTo>
                  <a:lnTo>
                    <a:pt x="123" y="133"/>
                  </a:lnTo>
                  <a:lnTo>
                    <a:pt x="128" y="128"/>
                  </a:lnTo>
                  <a:lnTo>
                    <a:pt x="133" y="122"/>
                  </a:lnTo>
                  <a:lnTo>
                    <a:pt x="137" y="117"/>
                  </a:lnTo>
                  <a:lnTo>
                    <a:pt x="141" y="111"/>
                  </a:lnTo>
                  <a:lnTo>
                    <a:pt x="145" y="104"/>
                  </a:lnTo>
                  <a:lnTo>
                    <a:pt x="147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7" y="53"/>
                  </a:lnTo>
                  <a:lnTo>
                    <a:pt x="145" y="46"/>
                  </a:lnTo>
                  <a:lnTo>
                    <a:pt x="141" y="40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3"/>
                  </a:lnTo>
                  <a:lnTo>
                    <a:pt x="111" y="9"/>
                  </a:lnTo>
                  <a:lnTo>
                    <a:pt x="104" y="6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779299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E1446D9-F8CB-4162-A16E-ADD89D2B521B}"/>
              </a:ext>
            </a:extLst>
          </p:cNvPr>
          <p:cNvSpPr/>
          <p:nvPr/>
        </p:nvSpPr>
        <p:spPr>
          <a:xfrm>
            <a:off x="0" y="2127250"/>
            <a:ext cx="12192000" cy="412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9" name="Picture 8" descr="A picture containing person, table, sitting, indoor&#10;&#10;Description automatically generated">
            <a:extLst>
              <a:ext uri="{FF2B5EF4-FFF2-40B4-BE49-F238E27FC236}">
                <a16:creationId xmlns:a16="http://schemas.microsoft.com/office/drawing/2014/main" id="{E6545A39-C9BF-4827-8215-256BA37EFD9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016" b="12184"/>
          <a:stretch/>
        </p:blipFill>
        <p:spPr>
          <a:xfrm>
            <a:off x="533400" y="0"/>
            <a:ext cx="11125200" cy="36195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873C830-976B-4D28-B46F-70E14429427B}"/>
              </a:ext>
            </a:extLst>
          </p:cNvPr>
          <p:cNvSpPr/>
          <p:nvPr/>
        </p:nvSpPr>
        <p:spPr>
          <a:xfrm>
            <a:off x="533400" y="2127250"/>
            <a:ext cx="11125200" cy="149225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D9987DA-5214-4928-8694-A1494247F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943" y="2428875"/>
            <a:ext cx="3835400" cy="88900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What We Do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CE1B379-360B-4443-8E27-50F79277F4F3}"/>
              </a:ext>
            </a:extLst>
          </p:cNvPr>
          <p:cNvSpPr txBox="1"/>
          <p:nvPr/>
        </p:nvSpPr>
        <p:spPr>
          <a:xfrm>
            <a:off x="5986236" y="2442488"/>
            <a:ext cx="530859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Lorem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ipsum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dolor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sit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amet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,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consectetur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adipiscing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elit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,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sed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do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eiusmod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tempor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incididunt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ut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labore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et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dolore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magna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 </a:t>
            </a:r>
            <a:r>
              <a:rPr lang="da-DK" sz="1400" dirty="0" err="1">
                <a:solidFill>
                  <a:schemeClr val="bg1"/>
                </a:solidFill>
                <a:cs typeface="Segoe UI Light" panose="020B0502040204020203" pitchFamily="34" charset="0"/>
              </a:rPr>
              <a:t>aliqua</a:t>
            </a: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. Ut enim ad minim veniam, quis nostrud exercitation ullamco laboris nisi ut aliquip ex ea commodo consequat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DDCCB96-CA62-406C-ADF1-6820248DC468}"/>
              </a:ext>
            </a:extLst>
          </p:cNvPr>
          <p:cNvSpPr txBox="1"/>
          <p:nvPr/>
        </p:nvSpPr>
        <p:spPr>
          <a:xfrm>
            <a:off x="533401" y="4817221"/>
            <a:ext cx="2950028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7EEB47-479E-4E60-8D0F-F9E35224BFE4}"/>
              </a:ext>
            </a:extLst>
          </p:cNvPr>
          <p:cNvSpPr txBox="1"/>
          <p:nvPr/>
        </p:nvSpPr>
        <p:spPr>
          <a:xfrm>
            <a:off x="1135743" y="4302898"/>
            <a:ext cx="234768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rPr>
              <a:t>Lorem ipsum dolor</a:t>
            </a:r>
          </a:p>
        </p:txBody>
      </p:sp>
      <p:sp>
        <p:nvSpPr>
          <p:cNvPr id="17" name="Rectangle: Single Corner Snipped 16">
            <a:extLst>
              <a:ext uri="{FF2B5EF4-FFF2-40B4-BE49-F238E27FC236}">
                <a16:creationId xmlns:a16="http://schemas.microsoft.com/office/drawing/2014/main" id="{91C2422D-9870-426A-BEDA-05308E4D3DEE}"/>
              </a:ext>
            </a:extLst>
          </p:cNvPr>
          <p:cNvSpPr/>
          <p:nvPr/>
        </p:nvSpPr>
        <p:spPr>
          <a:xfrm>
            <a:off x="533400" y="4214305"/>
            <a:ext cx="448797" cy="448797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E0CDAF-4ED2-4E03-9491-15F7E7489B81}"/>
              </a:ext>
            </a:extLst>
          </p:cNvPr>
          <p:cNvCxnSpPr>
            <a:cxnSpLocks/>
          </p:cNvCxnSpPr>
          <p:nvPr/>
        </p:nvCxnSpPr>
        <p:spPr>
          <a:xfrm>
            <a:off x="533400" y="4663102"/>
            <a:ext cx="295002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121BC872-8A75-4559-84C7-12DEB76CCF94}"/>
              </a:ext>
            </a:extLst>
          </p:cNvPr>
          <p:cNvSpPr txBox="1"/>
          <p:nvPr/>
        </p:nvSpPr>
        <p:spPr>
          <a:xfrm>
            <a:off x="4620987" y="4817221"/>
            <a:ext cx="2950028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9A153B1-84FE-4928-8759-E57DB6C2497C}"/>
              </a:ext>
            </a:extLst>
          </p:cNvPr>
          <p:cNvSpPr txBox="1"/>
          <p:nvPr/>
        </p:nvSpPr>
        <p:spPr>
          <a:xfrm>
            <a:off x="5223329" y="4302898"/>
            <a:ext cx="234768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rPr>
              <a:t>Lorem ipsum dolor</a:t>
            </a:r>
          </a:p>
        </p:txBody>
      </p:sp>
      <p:sp>
        <p:nvSpPr>
          <p:cNvPr id="42" name="Rectangle: Single Corner Snipped 41">
            <a:extLst>
              <a:ext uri="{FF2B5EF4-FFF2-40B4-BE49-F238E27FC236}">
                <a16:creationId xmlns:a16="http://schemas.microsoft.com/office/drawing/2014/main" id="{7D015C20-2A6B-4326-9A82-1D2C92C44A1D}"/>
              </a:ext>
            </a:extLst>
          </p:cNvPr>
          <p:cNvSpPr/>
          <p:nvPr/>
        </p:nvSpPr>
        <p:spPr>
          <a:xfrm>
            <a:off x="4620986" y="4214305"/>
            <a:ext cx="448797" cy="448797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1CBAB35-E027-4934-BE05-35418F8CE4BF}"/>
              </a:ext>
            </a:extLst>
          </p:cNvPr>
          <p:cNvCxnSpPr>
            <a:cxnSpLocks/>
          </p:cNvCxnSpPr>
          <p:nvPr/>
        </p:nvCxnSpPr>
        <p:spPr>
          <a:xfrm>
            <a:off x="4620986" y="4663102"/>
            <a:ext cx="295002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0CEE7AB-A269-4ABA-86D1-E421C1FE2D14}"/>
              </a:ext>
            </a:extLst>
          </p:cNvPr>
          <p:cNvSpPr txBox="1"/>
          <p:nvPr/>
        </p:nvSpPr>
        <p:spPr>
          <a:xfrm>
            <a:off x="8708571" y="4817221"/>
            <a:ext cx="2950028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8AC2E44-0370-4755-9C52-3435A71D8948}"/>
              </a:ext>
            </a:extLst>
          </p:cNvPr>
          <p:cNvSpPr txBox="1"/>
          <p:nvPr/>
        </p:nvSpPr>
        <p:spPr>
          <a:xfrm>
            <a:off x="9310913" y="4302898"/>
            <a:ext cx="234768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rPr>
              <a:t>Lorem ipsum dolor</a:t>
            </a:r>
          </a:p>
        </p:txBody>
      </p:sp>
      <p:sp>
        <p:nvSpPr>
          <p:cNvPr id="47" name="Rectangle: Single Corner Snipped 46">
            <a:extLst>
              <a:ext uri="{FF2B5EF4-FFF2-40B4-BE49-F238E27FC236}">
                <a16:creationId xmlns:a16="http://schemas.microsoft.com/office/drawing/2014/main" id="{C933A07E-0771-41C4-94AD-9606AFCA8703}"/>
              </a:ext>
            </a:extLst>
          </p:cNvPr>
          <p:cNvSpPr/>
          <p:nvPr/>
        </p:nvSpPr>
        <p:spPr>
          <a:xfrm>
            <a:off x="8708570" y="4214305"/>
            <a:ext cx="448797" cy="448797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825B6DA-6215-471D-876C-70E87CE99B6D}"/>
              </a:ext>
            </a:extLst>
          </p:cNvPr>
          <p:cNvCxnSpPr>
            <a:cxnSpLocks/>
          </p:cNvCxnSpPr>
          <p:nvPr/>
        </p:nvCxnSpPr>
        <p:spPr>
          <a:xfrm>
            <a:off x="8708570" y="4663102"/>
            <a:ext cx="295002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BF3083E-A457-4F1E-BF32-A516BC5C2CF8}"/>
              </a:ext>
            </a:extLst>
          </p:cNvPr>
          <p:cNvGrpSpPr/>
          <p:nvPr/>
        </p:nvGrpSpPr>
        <p:grpSpPr>
          <a:xfrm>
            <a:off x="656759" y="4345676"/>
            <a:ext cx="202079" cy="186055"/>
            <a:chOff x="621834" y="4346257"/>
            <a:chExt cx="202079" cy="186055"/>
          </a:xfrm>
        </p:grpSpPr>
        <p:sp>
          <p:nvSpPr>
            <p:cNvPr id="50" name="Freeform 164">
              <a:extLst>
                <a:ext uri="{FF2B5EF4-FFF2-40B4-BE49-F238E27FC236}">
                  <a16:creationId xmlns:a16="http://schemas.microsoft.com/office/drawing/2014/main" id="{2DE97EC9-38A8-46D2-A6A4-0A3FAEFBD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834" y="4492252"/>
              <a:ext cx="202079" cy="40060"/>
            </a:xfrm>
            <a:custGeom>
              <a:avLst/>
              <a:gdLst>
                <a:gd name="T0" fmla="*/ 64 w 96"/>
                <a:gd name="T1" fmla="*/ 0 h 19"/>
                <a:gd name="T2" fmla="*/ 64 w 96"/>
                <a:gd name="T3" fmla="*/ 3 h 19"/>
                <a:gd name="T4" fmla="*/ 32 w 96"/>
                <a:gd name="T5" fmla="*/ 3 h 19"/>
                <a:gd name="T6" fmla="*/ 32 w 96"/>
                <a:gd name="T7" fmla="*/ 0 h 19"/>
                <a:gd name="T8" fmla="*/ 0 w 96"/>
                <a:gd name="T9" fmla="*/ 9 h 19"/>
                <a:gd name="T10" fmla="*/ 48 w 96"/>
                <a:gd name="T11" fmla="*/ 19 h 19"/>
                <a:gd name="T12" fmla="*/ 96 w 96"/>
                <a:gd name="T13" fmla="*/ 9 h 19"/>
                <a:gd name="T14" fmla="*/ 64 w 96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9">
                  <a:moveTo>
                    <a:pt x="64" y="0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8" y="0"/>
                    <a:pt x="0" y="3"/>
                    <a:pt x="0" y="9"/>
                  </a:cubicBezTo>
                  <a:cubicBezTo>
                    <a:pt x="0" y="19"/>
                    <a:pt x="43" y="19"/>
                    <a:pt x="48" y="19"/>
                  </a:cubicBezTo>
                  <a:cubicBezTo>
                    <a:pt x="53" y="19"/>
                    <a:pt x="96" y="19"/>
                    <a:pt x="96" y="9"/>
                  </a:cubicBezTo>
                  <a:cubicBezTo>
                    <a:pt x="96" y="3"/>
                    <a:pt x="78" y="0"/>
                    <a:pt x="6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Oval 165">
              <a:extLst>
                <a:ext uri="{FF2B5EF4-FFF2-40B4-BE49-F238E27FC236}">
                  <a16:creationId xmlns:a16="http://schemas.microsoft.com/office/drawing/2014/main" id="{45FD5315-E889-4D30-BD07-C9562627D0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03" y="4346257"/>
              <a:ext cx="50743" cy="507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166">
              <a:extLst>
                <a:ext uri="{FF2B5EF4-FFF2-40B4-BE49-F238E27FC236}">
                  <a16:creationId xmlns:a16="http://schemas.microsoft.com/office/drawing/2014/main" id="{405EC84C-119B-4256-9B80-7EF592346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503" y="4405901"/>
              <a:ext cx="50743" cy="83680"/>
            </a:xfrm>
            <a:custGeom>
              <a:avLst/>
              <a:gdLst>
                <a:gd name="T0" fmla="*/ 12 w 24"/>
                <a:gd name="T1" fmla="*/ 0 h 40"/>
                <a:gd name="T2" fmla="*/ 0 w 24"/>
                <a:gd name="T3" fmla="*/ 12 h 40"/>
                <a:gd name="T4" fmla="*/ 0 w 24"/>
                <a:gd name="T5" fmla="*/ 40 h 40"/>
                <a:gd name="T6" fmla="*/ 24 w 24"/>
                <a:gd name="T7" fmla="*/ 40 h 40"/>
                <a:gd name="T8" fmla="*/ 24 w 24"/>
                <a:gd name="T9" fmla="*/ 12 h 40"/>
                <a:gd name="T10" fmla="*/ 12 w 24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Oval 167">
              <a:extLst>
                <a:ext uri="{FF2B5EF4-FFF2-40B4-BE49-F238E27FC236}">
                  <a16:creationId xmlns:a16="http://schemas.microsoft.com/office/drawing/2014/main" id="{573B5DE9-D336-4277-AA28-70B5DA846B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159" y="4363171"/>
              <a:ext cx="33828" cy="338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68">
              <a:extLst>
                <a:ext uri="{FF2B5EF4-FFF2-40B4-BE49-F238E27FC236}">
                  <a16:creationId xmlns:a16="http://schemas.microsoft.com/office/drawing/2014/main" id="{8A55A6F6-419F-4D6F-96E4-68B64A494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159" y="4405901"/>
              <a:ext cx="33828" cy="67656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Oval 169">
              <a:extLst>
                <a:ext uri="{FF2B5EF4-FFF2-40B4-BE49-F238E27FC236}">
                  <a16:creationId xmlns:a16="http://schemas.microsoft.com/office/drawing/2014/main" id="{4808D6F0-91EF-419F-A524-08972F96E7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760" y="4363171"/>
              <a:ext cx="33828" cy="338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170">
              <a:extLst>
                <a:ext uri="{FF2B5EF4-FFF2-40B4-BE49-F238E27FC236}">
                  <a16:creationId xmlns:a16="http://schemas.microsoft.com/office/drawing/2014/main" id="{1688EC66-F2AE-48F6-9BDD-ACDFBA5DF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760" y="4405901"/>
              <a:ext cx="33828" cy="67656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3ED23CC-FE54-4026-9570-963B64974F35}"/>
              </a:ext>
            </a:extLst>
          </p:cNvPr>
          <p:cNvGrpSpPr/>
          <p:nvPr/>
        </p:nvGrpSpPr>
        <p:grpSpPr>
          <a:xfrm>
            <a:off x="4729954" y="4344992"/>
            <a:ext cx="230861" cy="188147"/>
            <a:chOff x="923927" y="4344992"/>
            <a:chExt cx="230861" cy="188147"/>
          </a:xfrm>
        </p:grpSpPr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EC6A91B2-F536-43AC-A257-5DDDF9E3D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3080" y="4344992"/>
              <a:ext cx="211538" cy="149501"/>
            </a:xfrm>
            <a:custGeom>
              <a:avLst/>
              <a:gdLst>
                <a:gd name="T0" fmla="*/ 2 w 88"/>
                <a:gd name="T1" fmla="*/ 62 h 62"/>
                <a:gd name="T2" fmla="*/ 86 w 88"/>
                <a:gd name="T3" fmla="*/ 62 h 62"/>
                <a:gd name="T4" fmla="*/ 88 w 88"/>
                <a:gd name="T5" fmla="*/ 60 h 62"/>
                <a:gd name="T6" fmla="*/ 88 w 88"/>
                <a:gd name="T7" fmla="*/ 8 h 62"/>
                <a:gd name="T8" fmla="*/ 80 w 88"/>
                <a:gd name="T9" fmla="*/ 0 h 62"/>
                <a:gd name="T10" fmla="*/ 8 w 88"/>
                <a:gd name="T11" fmla="*/ 0 h 62"/>
                <a:gd name="T12" fmla="*/ 0 w 88"/>
                <a:gd name="T13" fmla="*/ 8 h 62"/>
                <a:gd name="T14" fmla="*/ 0 w 88"/>
                <a:gd name="T15" fmla="*/ 60 h 62"/>
                <a:gd name="T16" fmla="*/ 2 w 88"/>
                <a:gd name="T17" fmla="*/ 62 h 62"/>
                <a:gd name="T18" fmla="*/ 8 w 88"/>
                <a:gd name="T19" fmla="*/ 8 h 62"/>
                <a:gd name="T20" fmla="*/ 80 w 88"/>
                <a:gd name="T21" fmla="*/ 8 h 62"/>
                <a:gd name="T22" fmla="*/ 80 w 88"/>
                <a:gd name="T23" fmla="*/ 52 h 62"/>
                <a:gd name="T24" fmla="*/ 8 w 88"/>
                <a:gd name="T25" fmla="*/ 52 h 62"/>
                <a:gd name="T26" fmla="*/ 8 w 88"/>
                <a:gd name="T2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62">
                  <a:moveTo>
                    <a:pt x="2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7" y="62"/>
                    <a:pt x="88" y="61"/>
                    <a:pt x="88" y="60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lose/>
                  <a:moveTo>
                    <a:pt x="8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" y="52"/>
                    <a:pt x="8" y="52"/>
                    <a:pt x="8" y="52"/>
                  </a:cubicBezTo>
                  <a:lnTo>
                    <a:pt x="8" y="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E5EA7FB1-1886-4756-98C1-2681E9CCB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27" y="4504663"/>
              <a:ext cx="230861" cy="28476"/>
            </a:xfrm>
            <a:custGeom>
              <a:avLst/>
              <a:gdLst>
                <a:gd name="T0" fmla="*/ 94 w 96"/>
                <a:gd name="T1" fmla="*/ 0 h 12"/>
                <a:gd name="T2" fmla="*/ 58 w 96"/>
                <a:gd name="T3" fmla="*/ 0 h 12"/>
                <a:gd name="T4" fmla="*/ 56 w 96"/>
                <a:gd name="T5" fmla="*/ 2 h 12"/>
                <a:gd name="T6" fmla="*/ 56 w 96"/>
                <a:gd name="T7" fmla="*/ 4 h 12"/>
                <a:gd name="T8" fmla="*/ 40 w 96"/>
                <a:gd name="T9" fmla="*/ 4 h 12"/>
                <a:gd name="T10" fmla="*/ 40 w 96"/>
                <a:gd name="T11" fmla="*/ 2 h 12"/>
                <a:gd name="T12" fmla="*/ 38 w 96"/>
                <a:gd name="T13" fmla="*/ 0 h 12"/>
                <a:gd name="T14" fmla="*/ 2 w 96"/>
                <a:gd name="T15" fmla="*/ 0 h 12"/>
                <a:gd name="T16" fmla="*/ 0 w 96"/>
                <a:gd name="T17" fmla="*/ 2 h 12"/>
                <a:gd name="T18" fmla="*/ 0 w 96"/>
                <a:gd name="T19" fmla="*/ 6 h 12"/>
                <a:gd name="T20" fmla="*/ 6 w 96"/>
                <a:gd name="T21" fmla="*/ 12 h 12"/>
                <a:gd name="T22" fmla="*/ 90 w 96"/>
                <a:gd name="T23" fmla="*/ 12 h 12"/>
                <a:gd name="T24" fmla="*/ 96 w 96"/>
                <a:gd name="T25" fmla="*/ 6 h 12"/>
                <a:gd name="T26" fmla="*/ 96 w 96"/>
                <a:gd name="T27" fmla="*/ 2 h 12"/>
                <a:gd name="T28" fmla="*/ 94 w 96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12">
                  <a:moveTo>
                    <a:pt x="94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7" y="0"/>
                    <a:pt x="56" y="1"/>
                    <a:pt x="56" y="2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3" y="12"/>
                    <a:pt x="96" y="9"/>
                    <a:pt x="96" y="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3E1A701-6911-4208-BD3B-F8AA6FCC32F0}"/>
              </a:ext>
            </a:extLst>
          </p:cNvPr>
          <p:cNvGrpSpPr/>
          <p:nvPr/>
        </p:nvGrpSpPr>
        <p:grpSpPr>
          <a:xfrm>
            <a:off x="8821793" y="4336834"/>
            <a:ext cx="222350" cy="203739"/>
            <a:chOff x="8873778" y="4432678"/>
            <a:chExt cx="241648" cy="221422"/>
          </a:xfrm>
        </p:grpSpPr>
        <p:sp>
          <p:nvSpPr>
            <p:cNvPr id="63" name="Freeform 11">
              <a:extLst>
                <a:ext uri="{FF2B5EF4-FFF2-40B4-BE49-F238E27FC236}">
                  <a16:creationId xmlns:a16="http://schemas.microsoft.com/office/drawing/2014/main" id="{62C79023-E159-4D99-AED1-E62EB9AF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4489" y="4543389"/>
              <a:ext cx="130937" cy="110711"/>
            </a:xfrm>
            <a:custGeom>
              <a:avLst/>
              <a:gdLst>
                <a:gd name="T0" fmla="*/ 40 w 52"/>
                <a:gd name="T1" fmla="*/ 0 h 44"/>
                <a:gd name="T2" fmla="*/ 34 w 52"/>
                <a:gd name="T3" fmla="*/ 0 h 44"/>
                <a:gd name="T4" fmla="*/ 14 w 52"/>
                <a:gd name="T5" fmla="*/ 12 h 44"/>
                <a:gd name="T6" fmla="*/ 0 w 52"/>
                <a:gd name="T7" fmla="*/ 12 h 44"/>
                <a:gd name="T8" fmla="*/ 0 w 52"/>
                <a:gd name="T9" fmla="*/ 20 h 44"/>
                <a:gd name="T10" fmla="*/ 12 w 52"/>
                <a:gd name="T11" fmla="*/ 32 h 44"/>
                <a:gd name="T12" fmla="*/ 21 w 52"/>
                <a:gd name="T13" fmla="*/ 32 h 44"/>
                <a:gd name="T14" fmla="*/ 33 w 52"/>
                <a:gd name="T15" fmla="*/ 43 h 44"/>
                <a:gd name="T16" fmla="*/ 34 w 52"/>
                <a:gd name="T17" fmla="*/ 44 h 44"/>
                <a:gd name="T18" fmla="*/ 35 w 52"/>
                <a:gd name="T19" fmla="*/ 44 h 44"/>
                <a:gd name="T20" fmla="*/ 36 w 52"/>
                <a:gd name="T21" fmla="*/ 42 h 44"/>
                <a:gd name="T22" fmla="*/ 36 w 52"/>
                <a:gd name="T23" fmla="*/ 32 h 44"/>
                <a:gd name="T24" fmla="*/ 40 w 52"/>
                <a:gd name="T25" fmla="*/ 32 h 44"/>
                <a:gd name="T26" fmla="*/ 52 w 52"/>
                <a:gd name="T27" fmla="*/ 20 h 44"/>
                <a:gd name="T28" fmla="*/ 52 w 52"/>
                <a:gd name="T29" fmla="*/ 12 h 44"/>
                <a:gd name="T30" fmla="*/ 40 w 52"/>
                <a:gd name="T3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44">
                  <a:moveTo>
                    <a:pt x="40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0" y="7"/>
                    <a:pt x="23" y="12"/>
                    <a:pt x="1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7"/>
                    <a:pt x="5" y="32"/>
                    <a:pt x="12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4"/>
                    <a:pt x="33" y="44"/>
                    <a:pt x="34" y="44"/>
                  </a:cubicBezTo>
                  <a:cubicBezTo>
                    <a:pt x="34" y="44"/>
                    <a:pt x="35" y="44"/>
                    <a:pt x="35" y="44"/>
                  </a:cubicBezTo>
                  <a:cubicBezTo>
                    <a:pt x="36" y="44"/>
                    <a:pt x="36" y="43"/>
                    <a:pt x="36" y="4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7" y="32"/>
                    <a:pt x="52" y="27"/>
                    <a:pt x="52" y="20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5"/>
                    <a:pt x="47" y="0"/>
                    <a:pt x="4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12">
              <a:extLst>
                <a:ext uri="{FF2B5EF4-FFF2-40B4-BE49-F238E27FC236}">
                  <a16:creationId xmlns:a16="http://schemas.microsoft.com/office/drawing/2014/main" id="{750244DE-98B1-46E6-A6EA-D635D2526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3778" y="4432678"/>
              <a:ext cx="191615" cy="171389"/>
            </a:xfrm>
            <a:custGeom>
              <a:avLst/>
              <a:gdLst>
                <a:gd name="T0" fmla="*/ 76 w 76"/>
                <a:gd name="T1" fmla="*/ 34 h 68"/>
                <a:gd name="T2" fmla="*/ 76 w 76"/>
                <a:gd name="T3" fmla="*/ 18 h 68"/>
                <a:gd name="T4" fmla="*/ 58 w 76"/>
                <a:gd name="T5" fmla="*/ 0 h 68"/>
                <a:gd name="T6" fmla="*/ 18 w 76"/>
                <a:gd name="T7" fmla="*/ 0 h 68"/>
                <a:gd name="T8" fmla="*/ 0 w 76"/>
                <a:gd name="T9" fmla="*/ 18 h 68"/>
                <a:gd name="T10" fmla="*/ 0 w 76"/>
                <a:gd name="T11" fmla="*/ 34 h 68"/>
                <a:gd name="T12" fmla="*/ 18 w 76"/>
                <a:gd name="T13" fmla="*/ 52 h 68"/>
                <a:gd name="T14" fmla="*/ 20 w 76"/>
                <a:gd name="T15" fmla="*/ 52 h 68"/>
                <a:gd name="T16" fmla="*/ 22 w 76"/>
                <a:gd name="T17" fmla="*/ 52 h 68"/>
                <a:gd name="T18" fmla="*/ 22 w 76"/>
                <a:gd name="T19" fmla="*/ 54 h 68"/>
                <a:gd name="T20" fmla="*/ 22 w 76"/>
                <a:gd name="T21" fmla="*/ 66 h 68"/>
                <a:gd name="T22" fmla="*/ 23 w 76"/>
                <a:gd name="T23" fmla="*/ 68 h 68"/>
                <a:gd name="T24" fmla="*/ 24 w 76"/>
                <a:gd name="T25" fmla="*/ 68 h 68"/>
                <a:gd name="T26" fmla="*/ 25 w 76"/>
                <a:gd name="T27" fmla="*/ 67 h 68"/>
                <a:gd name="T28" fmla="*/ 41 w 76"/>
                <a:gd name="T29" fmla="*/ 52 h 68"/>
                <a:gd name="T30" fmla="*/ 42 w 76"/>
                <a:gd name="T31" fmla="*/ 52 h 68"/>
                <a:gd name="T32" fmla="*/ 58 w 76"/>
                <a:gd name="T33" fmla="*/ 52 h 68"/>
                <a:gd name="T34" fmla="*/ 76 w 76"/>
                <a:gd name="T3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" h="68">
                  <a:moveTo>
                    <a:pt x="76" y="34"/>
                  </a:moveTo>
                  <a:cubicBezTo>
                    <a:pt x="76" y="18"/>
                    <a:pt x="76" y="18"/>
                    <a:pt x="76" y="18"/>
                  </a:cubicBezTo>
                  <a:cubicBezTo>
                    <a:pt x="76" y="8"/>
                    <a:pt x="68" y="0"/>
                    <a:pt x="5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4"/>
                    <a:pt x="8" y="52"/>
                    <a:pt x="18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2" y="67"/>
                    <a:pt x="22" y="68"/>
                    <a:pt x="23" y="68"/>
                  </a:cubicBezTo>
                  <a:cubicBezTo>
                    <a:pt x="23" y="68"/>
                    <a:pt x="24" y="68"/>
                    <a:pt x="24" y="68"/>
                  </a:cubicBezTo>
                  <a:cubicBezTo>
                    <a:pt x="25" y="68"/>
                    <a:pt x="25" y="68"/>
                    <a:pt x="25" y="67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8" y="52"/>
                    <a:pt x="76" y="44"/>
                    <a:pt x="76" y="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88628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0B643-7A91-4DF8-A7B1-B57A95B3E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39A793-F356-45AC-A556-47A0CCFA4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976851-FE21-4646-98F0-F5FC65E04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95571C6-E78B-432E-820B-E4F5E4306FBF}"/>
              </a:ext>
            </a:extLst>
          </p:cNvPr>
          <p:cNvGrpSpPr/>
          <p:nvPr/>
        </p:nvGrpSpPr>
        <p:grpSpPr>
          <a:xfrm>
            <a:off x="838200" y="1687232"/>
            <a:ext cx="3028950" cy="4524306"/>
            <a:chOff x="838200" y="1687232"/>
            <a:chExt cx="3028950" cy="4524306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5517C826-C471-4169-9892-EEBF4B4D8645}"/>
                </a:ext>
              </a:extLst>
            </p:cNvPr>
            <p:cNvSpPr/>
            <p:nvPr/>
          </p:nvSpPr>
          <p:spPr>
            <a:xfrm>
              <a:off x="838200" y="4002149"/>
              <a:ext cx="3028950" cy="2209389"/>
            </a:xfrm>
            <a:prstGeom prst="rect">
              <a:avLst/>
            </a:prstGeom>
            <a:pattFill prst="ltDnDiag">
              <a:fgClr>
                <a:schemeClr val="bg2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791174E-A030-4EC8-A12C-CBF7B4ECD2AE}"/>
                </a:ext>
              </a:extLst>
            </p:cNvPr>
            <p:cNvGrpSpPr/>
            <p:nvPr/>
          </p:nvGrpSpPr>
          <p:grpSpPr>
            <a:xfrm>
              <a:off x="1322832" y="1687232"/>
              <a:ext cx="2059686" cy="1920940"/>
              <a:chOff x="749625" y="2041702"/>
              <a:chExt cx="3781664" cy="3526921"/>
            </a:xfrm>
          </p:grpSpPr>
          <p:graphicFrame>
            <p:nvGraphicFramePr>
              <p:cNvPr id="23" name="Chart 22">
                <a:extLst>
                  <a:ext uri="{FF2B5EF4-FFF2-40B4-BE49-F238E27FC236}">
                    <a16:creationId xmlns:a16="http://schemas.microsoft.com/office/drawing/2014/main" id="{906FB1C6-A882-4BAA-8733-7662E3996CB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960007314"/>
                  </p:ext>
                </p:extLst>
              </p:nvPr>
            </p:nvGraphicFramePr>
            <p:xfrm>
              <a:off x="749625" y="2041702"/>
              <a:ext cx="3781664" cy="352692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A35CE616-64EE-4786-BC53-A3398F142D45}"/>
                  </a:ext>
                </a:extLst>
              </p:cNvPr>
              <p:cNvSpPr/>
              <p:nvPr/>
            </p:nvSpPr>
            <p:spPr>
              <a:xfrm>
                <a:off x="1835520" y="3000226"/>
                <a:ext cx="1609874" cy="16098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b="1" dirty="0">
                    <a:solidFill>
                      <a:srgbClr val="CE295E"/>
                    </a:solidFill>
                  </a:rPr>
                  <a:t>70%</a:t>
                </a:r>
              </a:p>
            </p:txBody>
          </p:sp>
        </p:grp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321790F-CD39-47FB-80ED-9EBD430089D0}"/>
                </a:ext>
              </a:extLst>
            </p:cNvPr>
            <p:cNvSpPr/>
            <p:nvPr/>
          </p:nvSpPr>
          <p:spPr>
            <a:xfrm>
              <a:off x="1066800" y="3752850"/>
              <a:ext cx="2533650" cy="498598"/>
            </a:xfrm>
            <a:prstGeom prst="roundRect">
              <a:avLst>
                <a:gd name="adj" fmla="val 50000"/>
              </a:avLst>
            </a:prstGeom>
            <a:solidFill>
              <a:srgbClr val="CE295E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Lorem Ipsum</a:t>
              </a:r>
            </a:p>
          </p:txBody>
        </p:sp>
        <p:sp>
          <p:nvSpPr>
            <p:cNvPr id="50" name="TextBox 47">
              <a:extLst>
                <a:ext uri="{FF2B5EF4-FFF2-40B4-BE49-F238E27FC236}">
                  <a16:creationId xmlns:a16="http://schemas.microsoft.com/office/drawing/2014/main" id="{93A7AF6A-22BC-4CD2-A354-D732C3FA233C}"/>
                </a:ext>
              </a:extLst>
            </p:cNvPr>
            <p:cNvSpPr txBox="1"/>
            <p:nvPr/>
          </p:nvSpPr>
          <p:spPr>
            <a:xfrm>
              <a:off x="1005964" y="4396126"/>
              <a:ext cx="2693422" cy="150810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llentesq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eugia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mi. Maecenas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olutpa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endrer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dio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qu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tt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Quisq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g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eo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ulla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pib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bort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id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ec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el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8D036FC-A71A-4362-9029-CA4004AEC69C}"/>
                </a:ext>
              </a:extLst>
            </p:cNvPr>
            <p:cNvGrpSpPr/>
            <p:nvPr/>
          </p:nvGrpSpPr>
          <p:grpSpPr>
            <a:xfrm>
              <a:off x="2019351" y="5999642"/>
              <a:ext cx="666649" cy="116554"/>
              <a:chOff x="2000299" y="6003628"/>
              <a:chExt cx="666649" cy="116554"/>
            </a:xfrm>
          </p:grpSpPr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039D305D-7F54-4713-A905-386715DF6134}"/>
                  </a:ext>
                </a:extLst>
              </p:cNvPr>
              <p:cNvSpPr/>
              <p:nvPr/>
            </p:nvSpPr>
            <p:spPr>
              <a:xfrm rot="18900000">
                <a:off x="2000299" y="6003628"/>
                <a:ext cx="116554" cy="116554"/>
              </a:xfrm>
              <a:prstGeom prst="roundRect">
                <a:avLst/>
              </a:prstGeom>
              <a:solidFill>
                <a:srgbClr val="CE295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0315503C-4C47-4E5E-A01E-3958471F84BE}"/>
                  </a:ext>
                </a:extLst>
              </p:cNvPr>
              <p:cNvSpPr/>
              <p:nvPr/>
            </p:nvSpPr>
            <p:spPr>
              <a:xfrm rot="18900000">
                <a:off x="2275346" y="6003628"/>
                <a:ext cx="116554" cy="116554"/>
              </a:xfrm>
              <a:prstGeom prst="round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26C79082-74F0-4AC4-B0F3-1B90034C8813}"/>
                  </a:ext>
                </a:extLst>
              </p:cNvPr>
              <p:cNvSpPr/>
              <p:nvPr/>
            </p:nvSpPr>
            <p:spPr>
              <a:xfrm rot="18900000">
                <a:off x="2550394" y="6003628"/>
                <a:ext cx="116554" cy="116554"/>
              </a:xfrm>
              <a:prstGeom prst="round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CAE9C21-B3D7-4679-B837-F4BA7320CFB2}"/>
              </a:ext>
            </a:extLst>
          </p:cNvPr>
          <p:cNvGrpSpPr/>
          <p:nvPr/>
        </p:nvGrpSpPr>
        <p:grpSpPr>
          <a:xfrm>
            <a:off x="4581525" y="1687232"/>
            <a:ext cx="3028950" cy="4524306"/>
            <a:chOff x="4600575" y="1687232"/>
            <a:chExt cx="3028950" cy="4524306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E964EA2-E75F-4ACF-84AC-8F703B06F6D6}"/>
                </a:ext>
              </a:extLst>
            </p:cNvPr>
            <p:cNvSpPr/>
            <p:nvPr/>
          </p:nvSpPr>
          <p:spPr>
            <a:xfrm>
              <a:off x="4600575" y="4002149"/>
              <a:ext cx="3028950" cy="2209389"/>
            </a:xfrm>
            <a:prstGeom prst="rect">
              <a:avLst/>
            </a:prstGeom>
            <a:pattFill prst="ltDnDiag">
              <a:fgClr>
                <a:schemeClr val="bg2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C940176A-1141-46EB-A141-FD8CC1108C54}"/>
                </a:ext>
              </a:extLst>
            </p:cNvPr>
            <p:cNvGrpSpPr/>
            <p:nvPr/>
          </p:nvGrpSpPr>
          <p:grpSpPr>
            <a:xfrm>
              <a:off x="5085207" y="1687232"/>
              <a:ext cx="2059686" cy="1920940"/>
              <a:chOff x="749625" y="2041702"/>
              <a:chExt cx="3781664" cy="3526921"/>
            </a:xfrm>
          </p:grpSpPr>
          <p:graphicFrame>
            <p:nvGraphicFramePr>
              <p:cNvPr id="86" name="Chart 85">
                <a:extLst>
                  <a:ext uri="{FF2B5EF4-FFF2-40B4-BE49-F238E27FC236}">
                    <a16:creationId xmlns:a16="http://schemas.microsoft.com/office/drawing/2014/main" id="{07617017-56AE-4EF1-990A-2D4410C51BFB}"/>
                  </a:ext>
                </a:extLst>
              </p:cNvPr>
              <p:cNvGraphicFramePr/>
              <p:nvPr/>
            </p:nvGraphicFramePr>
            <p:xfrm>
              <a:off x="749625" y="2041702"/>
              <a:ext cx="3781664" cy="352692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7812A7BA-479B-4BEF-B397-77EEFB212384}"/>
                  </a:ext>
                </a:extLst>
              </p:cNvPr>
              <p:cNvSpPr/>
              <p:nvPr/>
            </p:nvSpPr>
            <p:spPr>
              <a:xfrm>
                <a:off x="1835520" y="3000226"/>
                <a:ext cx="1609874" cy="16098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b="1" dirty="0">
                    <a:solidFill>
                      <a:srgbClr val="404040"/>
                    </a:solidFill>
                  </a:rPr>
                  <a:t>45%</a:t>
                </a:r>
              </a:p>
            </p:txBody>
          </p:sp>
        </p:grp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5B1D1B62-74EE-4306-A194-676901404487}"/>
                </a:ext>
              </a:extLst>
            </p:cNvPr>
            <p:cNvSpPr/>
            <p:nvPr/>
          </p:nvSpPr>
          <p:spPr>
            <a:xfrm>
              <a:off x="4829175" y="3752850"/>
              <a:ext cx="2533650" cy="498598"/>
            </a:xfrm>
            <a:prstGeom prst="roundRect">
              <a:avLst>
                <a:gd name="adj" fmla="val 50000"/>
              </a:avLst>
            </a:prstGeom>
            <a:solidFill>
              <a:srgbClr val="404040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Lorem Ipsum</a:t>
              </a:r>
            </a:p>
          </p:txBody>
        </p:sp>
        <p:sp>
          <p:nvSpPr>
            <p:cNvPr id="89" name="TextBox 47">
              <a:extLst>
                <a:ext uri="{FF2B5EF4-FFF2-40B4-BE49-F238E27FC236}">
                  <a16:creationId xmlns:a16="http://schemas.microsoft.com/office/drawing/2014/main" id="{1DD221D1-F384-4A12-B3A1-9380E515AA4D}"/>
                </a:ext>
              </a:extLst>
            </p:cNvPr>
            <p:cNvSpPr txBox="1"/>
            <p:nvPr/>
          </p:nvSpPr>
          <p:spPr>
            <a:xfrm>
              <a:off x="4768339" y="4396126"/>
              <a:ext cx="2693422" cy="150810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llentesq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eugia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mi. Maecenas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olutpa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endrer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dio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qu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tt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Quisq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g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eo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ulla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pib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bort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id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ec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el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084F8638-3DFE-40FD-854B-409E4CB30D48}"/>
                </a:ext>
              </a:extLst>
            </p:cNvPr>
            <p:cNvGrpSpPr/>
            <p:nvPr/>
          </p:nvGrpSpPr>
          <p:grpSpPr>
            <a:xfrm>
              <a:off x="5781726" y="5999642"/>
              <a:ext cx="666649" cy="116554"/>
              <a:chOff x="2000299" y="6003628"/>
              <a:chExt cx="666649" cy="116554"/>
            </a:xfrm>
          </p:grpSpPr>
          <p:sp>
            <p:nvSpPr>
              <p:cNvPr id="91" name="Rectangle: Rounded Corners 90">
                <a:extLst>
                  <a:ext uri="{FF2B5EF4-FFF2-40B4-BE49-F238E27FC236}">
                    <a16:creationId xmlns:a16="http://schemas.microsoft.com/office/drawing/2014/main" id="{892C806D-C45F-463A-AFE9-40722447233E}"/>
                  </a:ext>
                </a:extLst>
              </p:cNvPr>
              <p:cNvSpPr/>
              <p:nvPr/>
            </p:nvSpPr>
            <p:spPr>
              <a:xfrm rot="18900000">
                <a:off x="2000299" y="6003628"/>
                <a:ext cx="116554" cy="116554"/>
              </a:xfrm>
              <a:prstGeom prst="roundRect">
                <a:avLst/>
              </a:prstGeom>
              <a:solidFill>
                <a:srgbClr val="CE295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2" name="Rectangle: Rounded Corners 91">
                <a:extLst>
                  <a:ext uri="{FF2B5EF4-FFF2-40B4-BE49-F238E27FC236}">
                    <a16:creationId xmlns:a16="http://schemas.microsoft.com/office/drawing/2014/main" id="{9BFF84D4-4EC3-4945-B13B-66B4E4959D5E}"/>
                  </a:ext>
                </a:extLst>
              </p:cNvPr>
              <p:cNvSpPr/>
              <p:nvPr/>
            </p:nvSpPr>
            <p:spPr>
              <a:xfrm rot="18900000">
                <a:off x="2275346" y="6003628"/>
                <a:ext cx="116554" cy="116554"/>
              </a:xfrm>
              <a:prstGeom prst="roundRect">
                <a:avLst/>
              </a:prstGeom>
              <a:solidFill>
                <a:srgbClr val="CE295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Rectangle: Rounded Corners 92">
                <a:extLst>
                  <a:ext uri="{FF2B5EF4-FFF2-40B4-BE49-F238E27FC236}">
                    <a16:creationId xmlns:a16="http://schemas.microsoft.com/office/drawing/2014/main" id="{51D44F5C-0BBA-4717-8784-6F4AACC29B26}"/>
                  </a:ext>
                </a:extLst>
              </p:cNvPr>
              <p:cNvSpPr/>
              <p:nvPr/>
            </p:nvSpPr>
            <p:spPr>
              <a:xfrm rot="18900000">
                <a:off x="2550394" y="6003628"/>
                <a:ext cx="116554" cy="116554"/>
              </a:xfrm>
              <a:prstGeom prst="round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6F24C558-0189-4057-9F4E-DF71D7873DAB}"/>
              </a:ext>
            </a:extLst>
          </p:cNvPr>
          <p:cNvGrpSpPr/>
          <p:nvPr/>
        </p:nvGrpSpPr>
        <p:grpSpPr>
          <a:xfrm>
            <a:off x="8324850" y="1687232"/>
            <a:ext cx="3028950" cy="4524306"/>
            <a:chOff x="4600575" y="1687232"/>
            <a:chExt cx="3028950" cy="4524306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827A7180-F4B1-4428-920C-21FEF63F28E6}"/>
                </a:ext>
              </a:extLst>
            </p:cNvPr>
            <p:cNvSpPr/>
            <p:nvPr/>
          </p:nvSpPr>
          <p:spPr>
            <a:xfrm>
              <a:off x="4600575" y="4002149"/>
              <a:ext cx="3028950" cy="2209389"/>
            </a:xfrm>
            <a:prstGeom prst="rect">
              <a:avLst/>
            </a:prstGeom>
            <a:pattFill prst="ltDnDiag">
              <a:fgClr>
                <a:schemeClr val="bg2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CA815FC0-A5D5-4991-97D3-CC05D36526BC}"/>
                </a:ext>
              </a:extLst>
            </p:cNvPr>
            <p:cNvGrpSpPr/>
            <p:nvPr/>
          </p:nvGrpSpPr>
          <p:grpSpPr>
            <a:xfrm>
              <a:off x="5085207" y="1687232"/>
              <a:ext cx="2059686" cy="1920940"/>
              <a:chOff x="749625" y="2041702"/>
              <a:chExt cx="3781664" cy="3526921"/>
            </a:xfrm>
          </p:grpSpPr>
          <p:graphicFrame>
            <p:nvGraphicFramePr>
              <p:cNvPr id="103" name="Chart 102">
                <a:extLst>
                  <a:ext uri="{FF2B5EF4-FFF2-40B4-BE49-F238E27FC236}">
                    <a16:creationId xmlns:a16="http://schemas.microsoft.com/office/drawing/2014/main" id="{41049237-FF5F-42D4-A69A-D6C23301B663}"/>
                  </a:ext>
                </a:extLst>
              </p:cNvPr>
              <p:cNvGraphicFramePr/>
              <p:nvPr/>
            </p:nvGraphicFramePr>
            <p:xfrm>
              <a:off x="749625" y="2041702"/>
              <a:ext cx="3781664" cy="352692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882C8CE1-9097-467E-9A56-B29E99485AAD}"/>
                  </a:ext>
                </a:extLst>
              </p:cNvPr>
              <p:cNvSpPr/>
              <p:nvPr/>
            </p:nvSpPr>
            <p:spPr>
              <a:xfrm>
                <a:off x="1835520" y="3000226"/>
                <a:ext cx="1609874" cy="16098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b="1" dirty="0">
                    <a:solidFill>
                      <a:srgbClr val="7F7F7F"/>
                    </a:solidFill>
                  </a:rPr>
                  <a:t>80%</a:t>
                </a:r>
              </a:p>
            </p:txBody>
          </p:sp>
        </p:grp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97ADD497-A19D-4612-BEA2-0A08536668AC}"/>
                </a:ext>
              </a:extLst>
            </p:cNvPr>
            <p:cNvSpPr/>
            <p:nvPr/>
          </p:nvSpPr>
          <p:spPr>
            <a:xfrm>
              <a:off x="4829175" y="3752850"/>
              <a:ext cx="2533650" cy="498598"/>
            </a:xfrm>
            <a:prstGeom prst="roundRect">
              <a:avLst>
                <a:gd name="adj" fmla="val 50000"/>
              </a:avLst>
            </a:prstGeom>
            <a:solidFill>
              <a:srgbClr val="7F7F7F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Lorem Ipsum</a:t>
              </a:r>
            </a:p>
          </p:txBody>
        </p:sp>
        <p:sp>
          <p:nvSpPr>
            <p:cNvPr id="98" name="TextBox 47">
              <a:extLst>
                <a:ext uri="{FF2B5EF4-FFF2-40B4-BE49-F238E27FC236}">
                  <a16:creationId xmlns:a16="http://schemas.microsoft.com/office/drawing/2014/main" id="{2B00CA3E-327F-492E-8233-637749B20261}"/>
                </a:ext>
              </a:extLst>
            </p:cNvPr>
            <p:cNvSpPr txBox="1"/>
            <p:nvPr/>
          </p:nvSpPr>
          <p:spPr>
            <a:xfrm>
              <a:off x="4768339" y="4396126"/>
              <a:ext cx="2693422" cy="150810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llentesq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eugia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mi. Maecenas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olutpa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endreri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dio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qu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tt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Quisq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g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eo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ulla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pibu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bort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id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ec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eli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F99F15A6-1005-4919-844A-DC792B7441D2}"/>
                </a:ext>
              </a:extLst>
            </p:cNvPr>
            <p:cNvGrpSpPr/>
            <p:nvPr/>
          </p:nvGrpSpPr>
          <p:grpSpPr>
            <a:xfrm>
              <a:off x="5781726" y="5999642"/>
              <a:ext cx="666649" cy="116554"/>
              <a:chOff x="2000299" y="6003628"/>
              <a:chExt cx="666649" cy="116554"/>
            </a:xfrm>
          </p:grpSpPr>
          <p:sp>
            <p:nvSpPr>
              <p:cNvPr id="100" name="Rectangle: Rounded Corners 99">
                <a:extLst>
                  <a:ext uri="{FF2B5EF4-FFF2-40B4-BE49-F238E27FC236}">
                    <a16:creationId xmlns:a16="http://schemas.microsoft.com/office/drawing/2014/main" id="{E3CAE9A1-EAF1-4D84-8445-91DB24FF15FF}"/>
                  </a:ext>
                </a:extLst>
              </p:cNvPr>
              <p:cNvSpPr/>
              <p:nvPr/>
            </p:nvSpPr>
            <p:spPr>
              <a:xfrm rot="18900000">
                <a:off x="2000299" y="6003628"/>
                <a:ext cx="116554" cy="116554"/>
              </a:xfrm>
              <a:prstGeom prst="roundRect">
                <a:avLst/>
              </a:prstGeom>
              <a:solidFill>
                <a:srgbClr val="CE295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1" name="Rectangle: Rounded Corners 100">
                <a:extLst>
                  <a:ext uri="{FF2B5EF4-FFF2-40B4-BE49-F238E27FC236}">
                    <a16:creationId xmlns:a16="http://schemas.microsoft.com/office/drawing/2014/main" id="{0E2495B4-60C8-4DE6-9FC6-8875DAB46AC9}"/>
                  </a:ext>
                </a:extLst>
              </p:cNvPr>
              <p:cNvSpPr/>
              <p:nvPr/>
            </p:nvSpPr>
            <p:spPr>
              <a:xfrm rot="18900000">
                <a:off x="2275346" y="6003628"/>
                <a:ext cx="116554" cy="116554"/>
              </a:xfrm>
              <a:prstGeom prst="roundRect">
                <a:avLst/>
              </a:prstGeom>
              <a:solidFill>
                <a:srgbClr val="CE295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09C96969-49B1-4D8A-95DF-3FAB21DA87C9}"/>
                  </a:ext>
                </a:extLst>
              </p:cNvPr>
              <p:cNvSpPr/>
              <p:nvPr/>
            </p:nvSpPr>
            <p:spPr>
              <a:xfrm rot="18900000">
                <a:off x="2550394" y="6003628"/>
                <a:ext cx="116554" cy="116554"/>
              </a:xfrm>
              <a:prstGeom prst="roundRect">
                <a:avLst/>
              </a:prstGeom>
              <a:solidFill>
                <a:srgbClr val="CE295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2421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BD90C54-A1D0-46AE-811A-7FCD71C84EA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85" b="28503"/>
          <a:stretch/>
        </p:blipFill>
        <p:spPr>
          <a:xfrm>
            <a:off x="6089" y="1295400"/>
            <a:ext cx="12179822" cy="51054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0653043-9706-4A8F-99E2-518CA3BA8540}"/>
              </a:ext>
            </a:extLst>
          </p:cNvPr>
          <p:cNvSpPr/>
          <p:nvPr/>
        </p:nvSpPr>
        <p:spPr>
          <a:xfrm>
            <a:off x="0" y="1295400"/>
            <a:ext cx="12192000" cy="5105400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F19464-7408-4CB8-9C8D-6CAE84CA4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21D134-7BBF-451B-A631-5F4F57ABC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189828-C3DA-4597-BCE6-9ABD37A41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4ED3DF7-870D-4095-B720-456252545CFA}"/>
              </a:ext>
            </a:extLst>
          </p:cNvPr>
          <p:cNvSpPr/>
          <p:nvPr/>
        </p:nvSpPr>
        <p:spPr>
          <a:xfrm>
            <a:off x="3869988" y="1690904"/>
            <a:ext cx="3683936" cy="3683936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97930D1-D889-4C98-9307-30DD9857B31B}"/>
              </a:ext>
            </a:extLst>
          </p:cNvPr>
          <p:cNvSpPr/>
          <p:nvPr/>
        </p:nvSpPr>
        <p:spPr>
          <a:xfrm>
            <a:off x="3506513" y="3175486"/>
            <a:ext cx="714772" cy="714772"/>
          </a:xfrm>
          <a:prstGeom prst="ellipse">
            <a:avLst/>
          </a:prstGeom>
          <a:solidFill>
            <a:srgbClr val="404040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BCE0B65-EA3A-426C-85CA-4043448BB9C7}"/>
              </a:ext>
            </a:extLst>
          </p:cNvPr>
          <p:cNvSpPr/>
          <p:nvPr/>
        </p:nvSpPr>
        <p:spPr>
          <a:xfrm>
            <a:off x="4341442" y="1656128"/>
            <a:ext cx="714772" cy="714772"/>
          </a:xfrm>
          <a:prstGeom prst="ellipse">
            <a:avLst/>
          </a:prstGeom>
          <a:solidFill>
            <a:srgbClr val="CE295E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5D69285-EE6C-45DF-95AC-EBA566A5FA92}"/>
              </a:ext>
            </a:extLst>
          </p:cNvPr>
          <p:cNvSpPr/>
          <p:nvPr/>
        </p:nvSpPr>
        <p:spPr>
          <a:xfrm>
            <a:off x="4341442" y="4694845"/>
            <a:ext cx="714772" cy="714772"/>
          </a:xfrm>
          <a:prstGeom prst="ellipse">
            <a:avLst/>
          </a:prstGeom>
          <a:solidFill>
            <a:srgbClr val="7F7F7F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 950">
            <a:extLst>
              <a:ext uri="{FF2B5EF4-FFF2-40B4-BE49-F238E27FC236}">
                <a16:creationId xmlns:a16="http://schemas.microsoft.com/office/drawing/2014/main" id="{DF992E26-6825-42CE-8425-2CAA9340F6F3}"/>
              </a:ext>
            </a:extLst>
          </p:cNvPr>
          <p:cNvSpPr>
            <a:spLocks noEditPoints="1"/>
          </p:cNvSpPr>
          <p:nvPr/>
        </p:nvSpPr>
        <p:spPr bwMode="auto">
          <a:xfrm>
            <a:off x="3753568" y="3389997"/>
            <a:ext cx="220663" cy="285750"/>
          </a:xfrm>
          <a:custGeom>
            <a:avLst/>
            <a:gdLst>
              <a:gd name="T0" fmla="*/ 542 w 553"/>
              <a:gd name="T1" fmla="*/ 205 h 722"/>
              <a:gd name="T2" fmla="*/ 323 w 553"/>
              <a:gd name="T3" fmla="*/ 313 h 722"/>
              <a:gd name="T4" fmla="*/ 312 w 553"/>
              <a:gd name="T5" fmla="*/ 306 h 722"/>
              <a:gd name="T6" fmla="*/ 315 w 553"/>
              <a:gd name="T7" fmla="*/ 293 h 722"/>
              <a:gd name="T8" fmla="*/ 444 w 553"/>
              <a:gd name="T9" fmla="*/ 289 h 722"/>
              <a:gd name="T10" fmla="*/ 455 w 553"/>
              <a:gd name="T11" fmla="*/ 297 h 722"/>
              <a:gd name="T12" fmla="*/ 452 w 553"/>
              <a:gd name="T13" fmla="*/ 310 h 722"/>
              <a:gd name="T14" fmla="*/ 444 w 553"/>
              <a:gd name="T15" fmla="*/ 433 h 722"/>
              <a:gd name="T16" fmla="*/ 315 w 553"/>
              <a:gd name="T17" fmla="*/ 430 h 722"/>
              <a:gd name="T18" fmla="*/ 312 w 553"/>
              <a:gd name="T19" fmla="*/ 417 h 722"/>
              <a:gd name="T20" fmla="*/ 323 w 553"/>
              <a:gd name="T21" fmla="*/ 409 h 722"/>
              <a:gd name="T22" fmla="*/ 452 w 553"/>
              <a:gd name="T23" fmla="*/ 413 h 722"/>
              <a:gd name="T24" fmla="*/ 455 w 553"/>
              <a:gd name="T25" fmla="*/ 426 h 722"/>
              <a:gd name="T26" fmla="*/ 444 w 553"/>
              <a:gd name="T27" fmla="*/ 433 h 722"/>
              <a:gd name="T28" fmla="*/ 318 w 553"/>
              <a:gd name="T29" fmla="*/ 577 h 722"/>
              <a:gd name="T30" fmla="*/ 311 w 553"/>
              <a:gd name="T31" fmla="*/ 566 h 722"/>
              <a:gd name="T32" fmla="*/ 318 w 553"/>
              <a:gd name="T33" fmla="*/ 555 h 722"/>
              <a:gd name="T34" fmla="*/ 449 w 553"/>
              <a:gd name="T35" fmla="*/ 555 h 722"/>
              <a:gd name="T36" fmla="*/ 456 w 553"/>
              <a:gd name="T37" fmla="*/ 566 h 722"/>
              <a:gd name="T38" fmla="*/ 449 w 553"/>
              <a:gd name="T39" fmla="*/ 577 h 722"/>
              <a:gd name="T40" fmla="*/ 194 w 553"/>
              <a:gd name="T41" fmla="*/ 325 h 722"/>
              <a:gd name="T42" fmla="*/ 181 w 553"/>
              <a:gd name="T43" fmla="*/ 327 h 722"/>
              <a:gd name="T44" fmla="*/ 129 w 553"/>
              <a:gd name="T45" fmla="*/ 275 h 722"/>
              <a:gd name="T46" fmla="*/ 132 w 553"/>
              <a:gd name="T47" fmla="*/ 262 h 722"/>
              <a:gd name="T48" fmla="*/ 145 w 553"/>
              <a:gd name="T49" fmla="*/ 260 h 722"/>
              <a:gd name="T50" fmla="*/ 253 w 553"/>
              <a:gd name="T51" fmla="*/ 232 h 722"/>
              <a:gd name="T52" fmla="*/ 267 w 553"/>
              <a:gd name="T53" fmla="*/ 230 h 722"/>
              <a:gd name="T54" fmla="*/ 274 w 553"/>
              <a:gd name="T55" fmla="*/ 240 h 722"/>
              <a:gd name="T56" fmla="*/ 271 w 553"/>
              <a:gd name="T57" fmla="*/ 386 h 722"/>
              <a:gd name="T58" fmla="*/ 186 w 553"/>
              <a:gd name="T59" fmla="*/ 465 h 722"/>
              <a:gd name="T60" fmla="*/ 132 w 553"/>
              <a:gd name="T61" fmla="*/ 415 h 722"/>
              <a:gd name="T62" fmla="*/ 129 w 553"/>
              <a:gd name="T63" fmla="*/ 403 h 722"/>
              <a:gd name="T64" fmla="*/ 140 w 553"/>
              <a:gd name="T65" fmla="*/ 395 h 722"/>
              <a:gd name="T66" fmla="*/ 186 w 553"/>
              <a:gd name="T67" fmla="*/ 436 h 722"/>
              <a:gd name="T68" fmla="*/ 262 w 553"/>
              <a:gd name="T69" fmla="*/ 365 h 722"/>
              <a:gd name="T70" fmla="*/ 273 w 553"/>
              <a:gd name="T71" fmla="*/ 372 h 722"/>
              <a:gd name="T72" fmla="*/ 271 w 553"/>
              <a:gd name="T73" fmla="*/ 386 h 722"/>
              <a:gd name="T74" fmla="*/ 190 w 553"/>
              <a:gd name="T75" fmla="*/ 601 h 722"/>
              <a:gd name="T76" fmla="*/ 178 w 553"/>
              <a:gd name="T77" fmla="*/ 599 h 722"/>
              <a:gd name="T78" fmla="*/ 128 w 553"/>
              <a:gd name="T79" fmla="*/ 545 h 722"/>
              <a:gd name="T80" fmla="*/ 136 w 553"/>
              <a:gd name="T81" fmla="*/ 533 h 722"/>
              <a:gd name="T82" fmla="*/ 149 w 553"/>
              <a:gd name="T83" fmla="*/ 535 h 722"/>
              <a:gd name="T84" fmla="*/ 258 w 553"/>
              <a:gd name="T85" fmla="*/ 502 h 722"/>
              <a:gd name="T86" fmla="*/ 271 w 553"/>
              <a:gd name="T87" fmla="*/ 505 h 722"/>
              <a:gd name="T88" fmla="*/ 273 w 553"/>
              <a:gd name="T89" fmla="*/ 518 h 722"/>
              <a:gd name="T90" fmla="*/ 357 w 553"/>
              <a:gd name="T91" fmla="*/ 3 h 722"/>
              <a:gd name="T92" fmla="*/ 12 w 553"/>
              <a:gd name="T93" fmla="*/ 0 h 722"/>
              <a:gd name="T94" fmla="*/ 1 w 553"/>
              <a:gd name="T95" fmla="*/ 7 h 722"/>
              <a:gd name="T96" fmla="*/ 1 w 553"/>
              <a:gd name="T97" fmla="*/ 715 h 722"/>
              <a:gd name="T98" fmla="*/ 12 w 553"/>
              <a:gd name="T99" fmla="*/ 722 h 722"/>
              <a:gd name="T100" fmla="*/ 550 w 553"/>
              <a:gd name="T101" fmla="*/ 719 h 722"/>
              <a:gd name="T102" fmla="*/ 553 w 553"/>
              <a:gd name="T103" fmla="*/ 205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53" h="722">
                <a:moveTo>
                  <a:pt x="349" y="205"/>
                </a:moveTo>
                <a:lnTo>
                  <a:pt x="349" y="12"/>
                </a:lnTo>
                <a:lnTo>
                  <a:pt x="542" y="205"/>
                </a:lnTo>
                <a:lnTo>
                  <a:pt x="349" y="205"/>
                </a:lnTo>
                <a:close/>
                <a:moveTo>
                  <a:pt x="444" y="313"/>
                </a:moveTo>
                <a:lnTo>
                  <a:pt x="323" y="313"/>
                </a:lnTo>
                <a:lnTo>
                  <a:pt x="318" y="312"/>
                </a:lnTo>
                <a:lnTo>
                  <a:pt x="315" y="310"/>
                </a:lnTo>
                <a:lnTo>
                  <a:pt x="312" y="306"/>
                </a:lnTo>
                <a:lnTo>
                  <a:pt x="311" y="301"/>
                </a:lnTo>
                <a:lnTo>
                  <a:pt x="312" y="297"/>
                </a:lnTo>
                <a:lnTo>
                  <a:pt x="315" y="293"/>
                </a:lnTo>
                <a:lnTo>
                  <a:pt x="318" y="290"/>
                </a:lnTo>
                <a:lnTo>
                  <a:pt x="323" y="289"/>
                </a:lnTo>
                <a:lnTo>
                  <a:pt x="444" y="289"/>
                </a:lnTo>
                <a:lnTo>
                  <a:pt x="449" y="290"/>
                </a:lnTo>
                <a:lnTo>
                  <a:pt x="452" y="293"/>
                </a:lnTo>
                <a:lnTo>
                  <a:pt x="455" y="297"/>
                </a:lnTo>
                <a:lnTo>
                  <a:pt x="456" y="301"/>
                </a:lnTo>
                <a:lnTo>
                  <a:pt x="455" y="306"/>
                </a:lnTo>
                <a:lnTo>
                  <a:pt x="452" y="310"/>
                </a:lnTo>
                <a:lnTo>
                  <a:pt x="449" y="312"/>
                </a:lnTo>
                <a:lnTo>
                  <a:pt x="444" y="313"/>
                </a:lnTo>
                <a:close/>
                <a:moveTo>
                  <a:pt x="444" y="433"/>
                </a:moveTo>
                <a:lnTo>
                  <a:pt x="323" y="433"/>
                </a:lnTo>
                <a:lnTo>
                  <a:pt x="318" y="432"/>
                </a:lnTo>
                <a:lnTo>
                  <a:pt x="315" y="430"/>
                </a:lnTo>
                <a:lnTo>
                  <a:pt x="312" y="426"/>
                </a:lnTo>
                <a:lnTo>
                  <a:pt x="311" y="421"/>
                </a:lnTo>
                <a:lnTo>
                  <a:pt x="312" y="417"/>
                </a:lnTo>
                <a:lnTo>
                  <a:pt x="315" y="413"/>
                </a:lnTo>
                <a:lnTo>
                  <a:pt x="318" y="410"/>
                </a:lnTo>
                <a:lnTo>
                  <a:pt x="323" y="409"/>
                </a:lnTo>
                <a:lnTo>
                  <a:pt x="444" y="409"/>
                </a:lnTo>
                <a:lnTo>
                  <a:pt x="449" y="410"/>
                </a:lnTo>
                <a:lnTo>
                  <a:pt x="452" y="413"/>
                </a:lnTo>
                <a:lnTo>
                  <a:pt x="455" y="417"/>
                </a:lnTo>
                <a:lnTo>
                  <a:pt x="456" y="421"/>
                </a:lnTo>
                <a:lnTo>
                  <a:pt x="455" y="426"/>
                </a:lnTo>
                <a:lnTo>
                  <a:pt x="452" y="430"/>
                </a:lnTo>
                <a:lnTo>
                  <a:pt x="449" y="432"/>
                </a:lnTo>
                <a:lnTo>
                  <a:pt x="444" y="433"/>
                </a:lnTo>
                <a:close/>
                <a:moveTo>
                  <a:pt x="444" y="578"/>
                </a:moveTo>
                <a:lnTo>
                  <a:pt x="323" y="578"/>
                </a:lnTo>
                <a:lnTo>
                  <a:pt x="318" y="577"/>
                </a:lnTo>
                <a:lnTo>
                  <a:pt x="315" y="574"/>
                </a:lnTo>
                <a:lnTo>
                  <a:pt x="312" y="571"/>
                </a:lnTo>
                <a:lnTo>
                  <a:pt x="311" y="566"/>
                </a:lnTo>
                <a:lnTo>
                  <a:pt x="312" y="561"/>
                </a:lnTo>
                <a:lnTo>
                  <a:pt x="315" y="558"/>
                </a:lnTo>
                <a:lnTo>
                  <a:pt x="318" y="555"/>
                </a:lnTo>
                <a:lnTo>
                  <a:pt x="323" y="554"/>
                </a:lnTo>
                <a:lnTo>
                  <a:pt x="444" y="554"/>
                </a:lnTo>
                <a:lnTo>
                  <a:pt x="449" y="555"/>
                </a:lnTo>
                <a:lnTo>
                  <a:pt x="452" y="558"/>
                </a:lnTo>
                <a:lnTo>
                  <a:pt x="455" y="561"/>
                </a:lnTo>
                <a:lnTo>
                  <a:pt x="456" y="566"/>
                </a:lnTo>
                <a:lnTo>
                  <a:pt x="455" y="571"/>
                </a:lnTo>
                <a:lnTo>
                  <a:pt x="452" y="574"/>
                </a:lnTo>
                <a:lnTo>
                  <a:pt x="449" y="577"/>
                </a:lnTo>
                <a:lnTo>
                  <a:pt x="444" y="578"/>
                </a:lnTo>
                <a:close/>
                <a:moveTo>
                  <a:pt x="271" y="249"/>
                </a:moveTo>
                <a:lnTo>
                  <a:pt x="194" y="325"/>
                </a:lnTo>
                <a:lnTo>
                  <a:pt x="190" y="327"/>
                </a:lnTo>
                <a:lnTo>
                  <a:pt x="186" y="328"/>
                </a:lnTo>
                <a:lnTo>
                  <a:pt x="181" y="327"/>
                </a:lnTo>
                <a:lnTo>
                  <a:pt x="178" y="325"/>
                </a:lnTo>
                <a:lnTo>
                  <a:pt x="132" y="280"/>
                </a:lnTo>
                <a:lnTo>
                  <a:pt x="129" y="275"/>
                </a:lnTo>
                <a:lnTo>
                  <a:pt x="128" y="270"/>
                </a:lnTo>
                <a:lnTo>
                  <a:pt x="129" y="266"/>
                </a:lnTo>
                <a:lnTo>
                  <a:pt x="132" y="262"/>
                </a:lnTo>
                <a:lnTo>
                  <a:pt x="136" y="260"/>
                </a:lnTo>
                <a:lnTo>
                  <a:pt x="140" y="259"/>
                </a:lnTo>
                <a:lnTo>
                  <a:pt x="145" y="260"/>
                </a:lnTo>
                <a:lnTo>
                  <a:pt x="149" y="262"/>
                </a:lnTo>
                <a:lnTo>
                  <a:pt x="186" y="299"/>
                </a:lnTo>
                <a:lnTo>
                  <a:pt x="253" y="232"/>
                </a:lnTo>
                <a:lnTo>
                  <a:pt x="258" y="230"/>
                </a:lnTo>
                <a:lnTo>
                  <a:pt x="262" y="229"/>
                </a:lnTo>
                <a:lnTo>
                  <a:pt x="267" y="230"/>
                </a:lnTo>
                <a:lnTo>
                  <a:pt x="271" y="232"/>
                </a:lnTo>
                <a:lnTo>
                  <a:pt x="273" y="236"/>
                </a:lnTo>
                <a:lnTo>
                  <a:pt x="274" y="240"/>
                </a:lnTo>
                <a:lnTo>
                  <a:pt x="273" y="245"/>
                </a:lnTo>
                <a:lnTo>
                  <a:pt x="271" y="249"/>
                </a:lnTo>
                <a:close/>
                <a:moveTo>
                  <a:pt x="271" y="386"/>
                </a:moveTo>
                <a:lnTo>
                  <a:pt x="194" y="461"/>
                </a:lnTo>
                <a:lnTo>
                  <a:pt x="190" y="464"/>
                </a:lnTo>
                <a:lnTo>
                  <a:pt x="186" y="465"/>
                </a:lnTo>
                <a:lnTo>
                  <a:pt x="181" y="464"/>
                </a:lnTo>
                <a:lnTo>
                  <a:pt x="178" y="461"/>
                </a:lnTo>
                <a:lnTo>
                  <a:pt x="132" y="415"/>
                </a:lnTo>
                <a:lnTo>
                  <a:pt x="129" y="411"/>
                </a:lnTo>
                <a:lnTo>
                  <a:pt x="128" y="407"/>
                </a:lnTo>
                <a:lnTo>
                  <a:pt x="129" y="403"/>
                </a:lnTo>
                <a:lnTo>
                  <a:pt x="132" y="399"/>
                </a:lnTo>
                <a:lnTo>
                  <a:pt x="136" y="396"/>
                </a:lnTo>
                <a:lnTo>
                  <a:pt x="140" y="395"/>
                </a:lnTo>
                <a:lnTo>
                  <a:pt x="145" y="396"/>
                </a:lnTo>
                <a:lnTo>
                  <a:pt x="149" y="399"/>
                </a:lnTo>
                <a:lnTo>
                  <a:pt x="186" y="436"/>
                </a:lnTo>
                <a:lnTo>
                  <a:pt x="253" y="368"/>
                </a:lnTo>
                <a:lnTo>
                  <a:pt x="258" y="365"/>
                </a:lnTo>
                <a:lnTo>
                  <a:pt x="262" y="365"/>
                </a:lnTo>
                <a:lnTo>
                  <a:pt x="267" y="365"/>
                </a:lnTo>
                <a:lnTo>
                  <a:pt x="271" y="368"/>
                </a:lnTo>
                <a:lnTo>
                  <a:pt x="273" y="372"/>
                </a:lnTo>
                <a:lnTo>
                  <a:pt x="274" y="376"/>
                </a:lnTo>
                <a:lnTo>
                  <a:pt x="273" y="381"/>
                </a:lnTo>
                <a:lnTo>
                  <a:pt x="271" y="386"/>
                </a:lnTo>
                <a:close/>
                <a:moveTo>
                  <a:pt x="271" y="522"/>
                </a:moveTo>
                <a:lnTo>
                  <a:pt x="194" y="599"/>
                </a:lnTo>
                <a:lnTo>
                  <a:pt x="190" y="601"/>
                </a:lnTo>
                <a:lnTo>
                  <a:pt x="186" y="602"/>
                </a:lnTo>
                <a:lnTo>
                  <a:pt x="181" y="601"/>
                </a:lnTo>
                <a:lnTo>
                  <a:pt x="178" y="599"/>
                </a:lnTo>
                <a:lnTo>
                  <a:pt x="132" y="553"/>
                </a:lnTo>
                <a:lnTo>
                  <a:pt x="129" y="549"/>
                </a:lnTo>
                <a:lnTo>
                  <a:pt x="128" y="545"/>
                </a:lnTo>
                <a:lnTo>
                  <a:pt x="129" y="540"/>
                </a:lnTo>
                <a:lnTo>
                  <a:pt x="132" y="535"/>
                </a:lnTo>
                <a:lnTo>
                  <a:pt x="136" y="533"/>
                </a:lnTo>
                <a:lnTo>
                  <a:pt x="140" y="532"/>
                </a:lnTo>
                <a:lnTo>
                  <a:pt x="145" y="533"/>
                </a:lnTo>
                <a:lnTo>
                  <a:pt x="149" y="535"/>
                </a:lnTo>
                <a:lnTo>
                  <a:pt x="186" y="572"/>
                </a:lnTo>
                <a:lnTo>
                  <a:pt x="253" y="505"/>
                </a:lnTo>
                <a:lnTo>
                  <a:pt x="258" y="502"/>
                </a:lnTo>
                <a:lnTo>
                  <a:pt x="262" y="501"/>
                </a:lnTo>
                <a:lnTo>
                  <a:pt x="267" y="502"/>
                </a:lnTo>
                <a:lnTo>
                  <a:pt x="271" y="505"/>
                </a:lnTo>
                <a:lnTo>
                  <a:pt x="273" y="509"/>
                </a:lnTo>
                <a:lnTo>
                  <a:pt x="274" y="513"/>
                </a:lnTo>
                <a:lnTo>
                  <a:pt x="273" y="518"/>
                </a:lnTo>
                <a:lnTo>
                  <a:pt x="271" y="52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1"/>
                </a:lnTo>
                <a:lnTo>
                  <a:pt x="349" y="0"/>
                </a:ln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2"/>
                </a:lnTo>
                <a:lnTo>
                  <a:pt x="0" y="711"/>
                </a:lnTo>
                <a:lnTo>
                  <a:pt x="1" y="715"/>
                </a:lnTo>
                <a:lnTo>
                  <a:pt x="4" y="719"/>
                </a:lnTo>
                <a:lnTo>
                  <a:pt x="7" y="721"/>
                </a:lnTo>
                <a:lnTo>
                  <a:pt x="12" y="722"/>
                </a:lnTo>
                <a:lnTo>
                  <a:pt x="542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1"/>
                </a:lnTo>
                <a:lnTo>
                  <a:pt x="553" y="205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B5B605F-F62A-49BA-9079-509C90781CCE}"/>
              </a:ext>
            </a:extLst>
          </p:cNvPr>
          <p:cNvGrpSpPr/>
          <p:nvPr/>
        </p:nvGrpSpPr>
        <p:grpSpPr>
          <a:xfrm>
            <a:off x="4578972" y="4909356"/>
            <a:ext cx="239712" cy="285750"/>
            <a:chOff x="5494338" y="1370013"/>
            <a:chExt cx="239712" cy="285750"/>
          </a:xfrm>
          <a:solidFill>
            <a:schemeClr val="bg1"/>
          </a:solidFill>
        </p:grpSpPr>
        <p:sp>
          <p:nvSpPr>
            <p:cNvPr id="29" name="Freeform 961">
              <a:extLst>
                <a:ext uri="{FF2B5EF4-FFF2-40B4-BE49-F238E27FC236}">
                  <a16:creationId xmlns:a16="http://schemas.microsoft.com/office/drawing/2014/main" id="{88ABE40A-D5B7-41C8-A83E-B94B790A1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370013"/>
              <a:ext cx="104775" cy="133350"/>
            </a:xfrm>
            <a:custGeom>
              <a:avLst/>
              <a:gdLst>
                <a:gd name="T0" fmla="*/ 156 w 265"/>
                <a:gd name="T1" fmla="*/ 108 h 337"/>
                <a:gd name="T2" fmla="*/ 156 w 265"/>
                <a:gd name="T3" fmla="*/ 12 h 337"/>
                <a:gd name="T4" fmla="*/ 252 w 265"/>
                <a:gd name="T5" fmla="*/ 108 h 337"/>
                <a:gd name="T6" fmla="*/ 156 w 265"/>
                <a:gd name="T7" fmla="*/ 108 h 337"/>
                <a:gd name="T8" fmla="*/ 261 w 265"/>
                <a:gd name="T9" fmla="*/ 100 h 337"/>
                <a:gd name="T10" fmla="*/ 165 w 265"/>
                <a:gd name="T11" fmla="*/ 3 h 337"/>
                <a:gd name="T12" fmla="*/ 161 w 265"/>
                <a:gd name="T13" fmla="*/ 1 h 337"/>
                <a:gd name="T14" fmla="*/ 156 w 265"/>
                <a:gd name="T15" fmla="*/ 0 h 337"/>
                <a:gd name="T16" fmla="*/ 12 w 265"/>
                <a:gd name="T17" fmla="*/ 0 h 337"/>
                <a:gd name="T18" fmla="*/ 7 w 265"/>
                <a:gd name="T19" fmla="*/ 1 h 337"/>
                <a:gd name="T20" fmla="*/ 3 w 265"/>
                <a:gd name="T21" fmla="*/ 3 h 337"/>
                <a:gd name="T22" fmla="*/ 1 w 265"/>
                <a:gd name="T23" fmla="*/ 7 h 337"/>
                <a:gd name="T24" fmla="*/ 0 w 265"/>
                <a:gd name="T25" fmla="*/ 12 h 337"/>
                <a:gd name="T26" fmla="*/ 0 w 265"/>
                <a:gd name="T27" fmla="*/ 325 h 337"/>
                <a:gd name="T28" fmla="*/ 1 w 265"/>
                <a:gd name="T29" fmla="*/ 329 h 337"/>
                <a:gd name="T30" fmla="*/ 3 w 265"/>
                <a:gd name="T31" fmla="*/ 334 h 337"/>
                <a:gd name="T32" fmla="*/ 7 w 265"/>
                <a:gd name="T33" fmla="*/ 337 h 337"/>
                <a:gd name="T34" fmla="*/ 12 w 265"/>
                <a:gd name="T35" fmla="*/ 337 h 337"/>
                <a:gd name="T36" fmla="*/ 253 w 265"/>
                <a:gd name="T37" fmla="*/ 337 h 337"/>
                <a:gd name="T38" fmla="*/ 258 w 265"/>
                <a:gd name="T39" fmla="*/ 337 h 337"/>
                <a:gd name="T40" fmla="*/ 261 w 265"/>
                <a:gd name="T41" fmla="*/ 334 h 337"/>
                <a:gd name="T42" fmla="*/ 264 w 265"/>
                <a:gd name="T43" fmla="*/ 329 h 337"/>
                <a:gd name="T44" fmla="*/ 265 w 265"/>
                <a:gd name="T45" fmla="*/ 325 h 337"/>
                <a:gd name="T46" fmla="*/ 265 w 265"/>
                <a:gd name="T47" fmla="*/ 108 h 337"/>
                <a:gd name="T48" fmla="*/ 264 w 265"/>
                <a:gd name="T49" fmla="*/ 104 h 337"/>
                <a:gd name="T50" fmla="*/ 261 w 265"/>
                <a:gd name="T51" fmla="*/ 10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7">
                  <a:moveTo>
                    <a:pt x="156" y="108"/>
                  </a:moveTo>
                  <a:lnTo>
                    <a:pt x="156" y="12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261" y="100"/>
                  </a:moveTo>
                  <a:lnTo>
                    <a:pt x="165" y="3"/>
                  </a:ln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4"/>
                  </a:lnTo>
                  <a:lnTo>
                    <a:pt x="7" y="337"/>
                  </a:lnTo>
                  <a:lnTo>
                    <a:pt x="12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1" y="334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62">
              <a:extLst>
                <a:ext uri="{FF2B5EF4-FFF2-40B4-BE49-F238E27FC236}">
                  <a16:creationId xmlns:a16="http://schemas.microsoft.com/office/drawing/2014/main" id="{81A3E1A9-1805-4F8F-8A32-5756687F70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370013"/>
              <a:ext cx="106363" cy="133350"/>
            </a:xfrm>
            <a:custGeom>
              <a:avLst/>
              <a:gdLst>
                <a:gd name="T0" fmla="*/ 157 w 266"/>
                <a:gd name="T1" fmla="*/ 108 h 337"/>
                <a:gd name="T2" fmla="*/ 157 w 266"/>
                <a:gd name="T3" fmla="*/ 12 h 337"/>
                <a:gd name="T4" fmla="*/ 252 w 266"/>
                <a:gd name="T5" fmla="*/ 108 h 337"/>
                <a:gd name="T6" fmla="*/ 157 w 266"/>
                <a:gd name="T7" fmla="*/ 108 h 337"/>
                <a:gd name="T8" fmla="*/ 166 w 266"/>
                <a:gd name="T9" fmla="*/ 3 h 337"/>
                <a:gd name="T10" fmla="*/ 162 w 266"/>
                <a:gd name="T11" fmla="*/ 1 h 337"/>
                <a:gd name="T12" fmla="*/ 157 w 266"/>
                <a:gd name="T13" fmla="*/ 0 h 337"/>
                <a:gd name="T14" fmla="*/ 13 w 266"/>
                <a:gd name="T15" fmla="*/ 0 h 337"/>
                <a:gd name="T16" fmla="*/ 8 w 266"/>
                <a:gd name="T17" fmla="*/ 1 h 337"/>
                <a:gd name="T18" fmla="*/ 5 w 266"/>
                <a:gd name="T19" fmla="*/ 3 h 337"/>
                <a:gd name="T20" fmla="*/ 1 w 266"/>
                <a:gd name="T21" fmla="*/ 7 h 337"/>
                <a:gd name="T22" fmla="*/ 0 w 266"/>
                <a:gd name="T23" fmla="*/ 12 h 337"/>
                <a:gd name="T24" fmla="*/ 0 w 266"/>
                <a:gd name="T25" fmla="*/ 325 h 337"/>
                <a:gd name="T26" fmla="*/ 1 w 266"/>
                <a:gd name="T27" fmla="*/ 329 h 337"/>
                <a:gd name="T28" fmla="*/ 5 w 266"/>
                <a:gd name="T29" fmla="*/ 334 h 337"/>
                <a:gd name="T30" fmla="*/ 8 w 266"/>
                <a:gd name="T31" fmla="*/ 337 h 337"/>
                <a:gd name="T32" fmla="*/ 13 w 266"/>
                <a:gd name="T33" fmla="*/ 337 h 337"/>
                <a:gd name="T34" fmla="*/ 253 w 266"/>
                <a:gd name="T35" fmla="*/ 337 h 337"/>
                <a:gd name="T36" fmla="*/ 258 w 266"/>
                <a:gd name="T37" fmla="*/ 337 h 337"/>
                <a:gd name="T38" fmla="*/ 263 w 266"/>
                <a:gd name="T39" fmla="*/ 334 h 337"/>
                <a:gd name="T40" fmla="*/ 265 w 266"/>
                <a:gd name="T41" fmla="*/ 329 h 337"/>
                <a:gd name="T42" fmla="*/ 266 w 266"/>
                <a:gd name="T43" fmla="*/ 325 h 337"/>
                <a:gd name="T44" fmla="*/ 266 w 266"/>
                <a:gd name="T45" fmla="*/ 108 h 337"/>
                <a:gd name="T46" fmla="*/ 265 w 266"/>
                <a:gd name="T47" fmla="*/ 104 h 337"/>
                <a:gd name="T48" fmla="*/ 263 w 266"/>
                <a:gd name="T49" fmla="*/ 100 h 337"/>
                <a:gd name="T50" fmla="*/ 166 w 266"/>
                <a:gd name="T51" fmla="*/ 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7">
                  <a:moveTo>
                    <a:pt x="157" y="108"/>
                  </a:moveTo>
                  <a:lnTo>
                    <a:pt x="157" y="12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4"/>
                  </a:lnTo>
                  <a:lnTo>
                    <a:pt x="8" y="337"/>
                  </a:lnTo>
                  <a:lnTo>
                    <a:pt x="13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3" y="334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963">
              <a:extLst>
                <a:ext uri="{FF2B5EF4-FFF2-40B4-BE49-F238E27FC236}">
                  <a16:creationId xmlns:a16="http://schemas.microsoft.com/office/drawing/2014/main" id="{456AA9B7-CAC7-4A57-946D-E42CF436F7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522413"/>
              <a:ext cx="104775" cy="133350"/>
            </a:xfrm>
            <a:custGeom>
              <a:avLst/>
              <a:gdLst>
                <a:gd name="T0" fmla="*/ 156 w 265"/>
                <a:gd name="T1" fmla="*/ 108 h 336"/>
                <a:gd name="T2" fmla="*/ 156 w 265"/>
                <a:gd name="T3" fmla="*/ 11 h 336"/>
                <a:gd name="T4" fmla="*/ 252 w 265"/>
                <a:gd name="T5" fmla="*/ 108 h 336"/>
                <a:gd name="T6" fmla="*/ 156 w 265"/>
                <a:gd name="T7" fmla="*/ 108 h 336"/>
                <a:gd name="T8" fmla="*/ 165 w 265"/>
                <a:gd name="T9" fmla="*/ 3 h 336"/>
                <a:gd name="T10" fmla="*/ 161 w 265"/>
                <a:gd name="T11" fmla="*/ 1 h 336"/>
                <a:gd name="T12" fmla="*/ 156 w 265"/>
                <a:gd name="T13" fmla="*/ 0 h 336"/>
                <a:gd name="T14" fmla="*/ 12 w 265"/>
                <a:gd name="T15" fmla="*/ 0 h 336"/>
                <a:gd name="T16" fmla="*/ 7 w 265"/>
                <a:gd name="T17" fmla="*/ 1 h 336"/>
                <a:gd name="T18" fmla="*/ 3 w 265"/>
                <a:gd name="T19" fmla="*/ 3 h 336"/>
                <a:gd name="T20" fmla="*/ 1 w 265"/>
                <a:gd name="T21" fmla="*/ 7 h 336"/>
                <a:gd name="T22" fmla="*/ 0 w 265"/>
                <a:gd name="T23" fmla="*/ 11 h 336"/>
                <a:gd name="T24" fmla="*/ 0 w 265"/>
                <a:gd name="T25" fmla="*/ 325 h 336"/>
                <a:gd name="T26" fmla="*/ 1 w 265"/>
                <a:gd name="T27" fmla="*/ 329 h 336"/>
                <a:gd name="T28" fmla="*/ 3 w 265"/>
                <a:gd name="T29" fmla="*/ 333 h 336"/>
                <a:gd name="T30" fmla="*/ 7 w 265"/>
                <a:gd name="T31" fmla="*/ 335 h 336"/>
                <a:gd name="T32" fmla="*/ 12 w 265"/>
                <a:gd name="T33" fmla="*/ 336 h 336"/>
                <a:gd name="T34" fmla="*/ 253 w 265"/>
                <a:gd name="T35" fmla="*/ 336 h 336"/>
                <a:gd name="T36" fmla="*/ 258 w 265"/>
                <a:gd name="T37" fmla="*/ 335 h 336"/>
                <a:gd name="T38" fmla="*/ 261 w 265"/>
                <a:gd name="T39" fmla="*/ 333 h 336"/>
                <a:gd name="T40" fmla="*/ 264 w 265"/>
                <a:gd name="T41" fmla="*/ 329 h 336"/>
                <a:gd name="T42" fmla="*/ 265 w 265"/>
                <a:gd name="T43" fmla="*/ 325 h 336"/>
                <a:gd name="T44" fmla="*/ 265 w 265"/>
                <a:gd name="T45" fmla="*/ 108 h 336"/>
                <a:gd name="T46" fmla="*/ 264 w 265"/>
                <a:gd name="T47" fmla="*/ 104 h 336"/>
                <a:gd name="T48" fmla="*/ 261 w 265"/>
                <a:gd name="T49" fmla="*/ 100 h 336"/>
                <a:gd name="T50" fmla="*/ 165 w 265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6">
                  <a:moveTo>
                    <a:pt x="156" y="108"/>
                  </a:moveTo>
                  <a:lnTo>
                    <a:pt x="156" y="11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165" y="3"/>
                  </a:move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3"/>
                  </a:lnTo>
                  <a:lnTo>
                    <a:pt x="7" y="335"/>
                  </a:lnTo>
                  <a:lnTo>
                    <a:pt x="12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1" y="333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lnTo>
                    <a:pt x="16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64">
              <a:extLst>
                <a:ext uri="{FF2B5EF4-FFF2-40B4-BE49-F238E27FC236}">
                  <a16:creationId xmlns:a16="http://schemas.microsoft.com/office/drawing/2014/main" id="{560B6CFC-E99C-4BF0-A5D2-C8085D173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522413"/>
              <a:ext cx="106363" cy="133350"/>
            </a:xfrm>
            <a:custGeom>
              <a:avLst/>
              <a:gdLst>
                <a:gd name="T0" fmla="*/ 157 w 266"/>
                <a:gd name="T1" fmla="*/ 108 h 336"/>
                <a:gd name="T2" fmla="*/ 157 w 266"/>
                <a:gd name="T3" fmla="*/ 11 h 336"/>
                <a:gd name="T4" fmla="*/ 252 w 266"/>
                <a:gd name="T5" fmla="*/ 108 h 336"/>
                <a:gd name="T6" fmla="*/ 157 w 266"/>
                <a:gd name="T7" fmla="*/ 108 h 336"/>
                <a:gd name="T8" fmla="*/ 166 w 266"/>
                <a:gd name="T9" fmla="*/ 3 h 336"/>
                <a:gd name="T10" fmla="*/ 162 w 266"/>
                <a:gd name="T11" fmla="*/ 1 h 336"/>
                <a:gd name="T12" fmla="*/ 157 w 266"/>
                <a:gd name="T13" fmla="*/ 0 h 336"/>
                <a:gd name="T14" fmla="*/ 13 w 266"/>
                <a:gd name="T15" fmla="*/ 0 h 336"/>
                <a:gd name="T16" fmla="*/ 8 w 266"/>
                <a:gd name="T17" fmla="*/ 1 h 336"/>
                <a:gd name="T18" fmla="*/ 5 w 266"/>
                <a:gd name="T19" fmla="*/ 3 h 336"/>
                <a:gd name="T20" fmla="*/ 1 w 266"/>
                <a:gd name="T21" fmla="*/ 7 h 336"/>
                <a:gd name="T22" fmla="*/ 0 w 266"/>
                <a:gd name="T23" fmla="*/ 11 h 336"/>
                <a:gd name="T24" fmla="*/ 0 w 266"/>
                <a:gd name="T25" fmla="*/ 325 h 336"/>
                <a:gd name="T26" fmla="*/ 1 w 266"/>
                <a:gd name="T27" fmla="*/ 329 h 336"/>
                <a:gd name="T28" fmla="*/ 5 w 266"/>
                <a:gd name="T29" fmla="*/ 333 h 336"/>
                <a:gd name="T30" fmla="*/ 8 w 266"/>
                <a:gd name="T31" fmla="*/ 335 h 336"/>
                <a:gd name="T32" fmla="*/ 13 w 266"/>
                <a:gd name="T33" fmla="*/ 336 h 336"/>
                <a:gd name="T34" fmla="*/ 253 w 266"/>
                <a:gd name="T35" fmla="*/ 336 h 336"/>
                <a:gd name="T36" fmla="*/ 258 w 266"/>
                <a:gd name="T37" fmla="*/ 335 h 336"/>
                <a:gd name="T38" fmla="*/ 263 w 266"/>
                <a:gd name="T39" fmla="*/ 333 h 336"/>
                <a:gd name="T40" fmla="*/ 265 w 266"/>
                <a:gd name="T41" fmla="*/ 329 h 336"/>
                <a:gd name="T42" fmla="*/ 266 w 266"/>
                <a:gd name="T43" fmla="*/ 325 h 336"/>
                <a:gd name="T44" fmla="*/ 266 w 266"/>
                <a:gd name="T45" fmla="*/ 108 h 336"/>
                <a:gd name="T46" fmla="*/ 265 w 266"/>
                <a:gd name="T47" fmla="*/ 104 h 336"/>
                <a:gd name="T48" fmla="*/ 263 w 266"/>
                <a:gd name="T49" fmla="*/ 100 h 336"/>
                <a:gd name="T50" fmla="*/ 166 w 266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6">
                  <a:moveTo>
                    <a:pt x="157" y="108"/>
                  </a:moveTo>
                  <a:lnTo>
                    <a:pt x="157" y="11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3"/>
                  </a:lnTo>
                  <a:lnTo>
                    <a:pt x="8" y="335"/>
                  </a:lnTo>
                  <a:lnTo>
                    <a:pt x="13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3" y="333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E4DB52D-35BC-430D-BD17-CBC693E02466}"/>
              </a:ext>
            </a:extLst>
          </p:cNvPr>
          <p:cNvGrpSpPr/>
          <p:nvPr/>
        </p:nvGrpSpPr>
        <p:grpSpPr>
          <a:xfrm>
            <a:off x="4555159" y="1883339"/>
            <a:ext cx="287338" cy="260350"/>
            <a:chOff x="6448425" y="796925"/>
            <a:chExt cx="287338" cy="260350"/>
          </a:xfrm>
          <a:solidFill>
            <a:schemeClr val="bg1"/>
          </a:solidFill>
        </p:grpSpPr>
        <p:sp>
          <p:nvSpPr>
            <p:cNvPr id="34" name="Freeform 3562">
              <a:extLst>
                <a:ext uri="{FF2B5EF4-FFF2-40B4-BE49-F238E27FC236}">
                  <a16:creationId xmlns:a16="http://schemas.microsoft.com/office/drawing/2014/main" id="{FAF14E47-7F49-4BA7-8585-B0E0287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8425" y="796925"/>
              <a:ext cx="277812" cy="161925"/>
            </a:xfrm>
            <a:custGeom>
              <a:avLst/>
              <a:gdLst>
                <a:gd name="T0" fmla="*/ 8 w 701"/>
                <a:gd name="T1" fmla="*/ 285 h 408"/>
                <a:gd name="T2" fmla="*/ 5 w 701"/>
                <a:gd name="T3" fmla="*/ 288 h 408"/>
                <a:gd name="T4" fmla="*/ 2 w 701"/>
                <a:gd name="T5" fmla="*/ 290 h 408"/>
                <a:gd name="T6" fmla="*/ 1 w 701"/>
                <a:gd name="T7" fmla="*/ 293 h 408"/>
                <a:gd name="T8" fmla="*/ 0 w 701"/>
                <a:gd name="T9" fmla="*/ 297 h 408"/>
                <a:gd name="T10" fmla="*/ 1 w 701"/>
                <a:gd name="T11" fmla="*/ 300 h 408"/>
                <a:gd name="T12" fmla="*/ 2 w 701"/>
                <a:gd name="T13" fmla="*/ 303 h 408"/>
                <a:gd name="T14" fmla="*/ 5 w 701"/>
                <a:gd name="T15" fmla="*/ 306 h 408"/>
                <a:gd name="T16" fmla="*/ 8 w 701"/>
                <a:gd name="T17" fmla="*/ 308 h 408"/>
                <a:gd name="T18" fmla="*/ 259 w 701"/>
                <a:gd name="T19" fmla="*/ 408 h 408"/>
                <a:gd name="T20" fmla="*/ 701 w 701"/>
                <a:gd name="T21" fmla="*/ 0 h 408"/>
                <a:gd name="T22" fmla="*/ 8 w 701"/>
                <a:gd name="T23" fmla="*/ 285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1" h="408">
                  <a:moveTo>
                    <a:pt x="8" y="285"/>
                  </a:moveTo>
                  <a:lnTo>
                    <a:pt x="5" y="288"/>
                  </a:lnTo>
                  <a:lnTo>
                    <a:pt x="2" y="290"/>
                  </a:lnTo>
                  <a:lnTo>
                    <a:pt x="1" y="293"/>
                  </a:lnTo>
                  <a:lnTo>
                    <a:pt x="0" y="297"/>
                  </a:lnTo>
                  <a:lnTo>
                    <a:pt x="1" y="300"/>
                  </a:lnTo>
                  <a:lnTo>
                    <a:pt x="2" y="303"/>
                  </a:lnTo>
                  <a:lnTo>
                    <a:pt x="5" y="306"/>
                  </a:lnTo>
                  <a:lnTo>
                    <a:pt x="8" y="308"/>
                  </a:lnTo>
                  <a:lnTo>
                    <a:pt x="259" y="408"/>
                  </a:lnTo>
                  <a:lnTo>
                    <a:pt x="701" y="0"/>
                  </a:lnTo>
                  <a:lnTo>
                    <a:pt x="8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563">
              <a:extLst>
                <a:ext uri="{FF2B5EF4-FFF2-40B4-BE49-F238E27FC236}">
                  <a16:creationId xmlns:a16="http://schemas.microsoft.com/office/drawing/2014/main" id="{C6E7DA52-146D-4723-BC22-DEA5BB942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788" y="800100"/>
              <a:ext cx="180975" cy="257175"/>
            </a:xfrm>
            <a:custGeom>
              <a:avLst/>
              <a:gdLst>
                <a:gd name="T0" fmla="*/ 0 w 456"/>
                <a:gd name="T1" fmla="*/ 424 h 646"/>
                <a:gd name="T2" fmla="*/ 0 w 456"/>
                <a:gd name="T3" fmla="*/ 635 h 646"/>
                <a:gd name="T4" fmla="*/ 0 w 456"/>
                <a:gd name="T5" fmla="*/ 639 h 646"/>
                <a:gd name="T6" fmla="*/ 3 w 456"/>
                <a:gd name="T7" fmla="*/ 642 h 646"/>
                <a:gd name="T8" fmla="*/ 5 w 456"/>
                <a:gd name="T9" fmla="*/ 645 h 646"/>
                <a:gd name="T10" fmla="*/ 9 w 456"/>
                <a:gd name="T11" fmla="*/ 646 h 646"/>
                <a:gd name="T12" fmla="*/ 11 w 456"/>
                <a:gd name="T13" fmla="*/ 646 h 646"/>
                <a:gd name="T14" fmla="*/ 12 w 456"/>
                <a:gd name="T15" fmla="*/ 646 h 646"/>
                <a:gd name="T16" fmla="*/ 16 w 456"/>
                <a:gd name="T17" fmla="*/ 646 h 646"/>
                <a:gd name="T18" fmla="*/ 18 w 456"/>
                <a:gd name="T19" fmla="*/ 645 h 646"/>
                <a:gd name="T20" fmla="*/ 21 w 456"/>
                <a:gd name="T21" fmla="*/ 644 h 646"/>
                <a:gd name="T22" fmla="*/ 22 w 456"/>
                <a:gd name="T23" fmla="*/ 641 h 646"/>
                <a:gd name="T24" fmla="*/ 126 w 456"/>
                <a:gd name="T25" fmla="*/ 469 h 646"/>
                <a:gd name="T26" fmla="*/ 315 w 456"/>
                <a:gd name="T27" fmla="*/ 569 h 646"/>
                <a:gd name="T28" fmla="*/ 317 w 456"/>
                <a:gd name="T29" fmla="*/ 570 h 646"/>
                <a:gd name="T30" fmla="*/ 320 w 456"/>
                <a:gd name="T31" fmla="*/ 572 h 646"/>
                <a:gd name="T32" fmla="*/ 323 w 456"/>
                <a:gd name="T33" fmla="*/ 570 h 646"/>
                <a:gd name="T34" fmla="*/ 325 w 456"/>
                <a:gd name="T35" fmla="*/ 570 h 646"/>
                <a:gd name="T36" fmla="*/ 329 w 456"/>
                <a:gd name="T37" fmla="*/ 567 h 646"/>
                <a:gd name="T38" fmla="*/ 332 w 456"/>
                <a:gd name="T39" fmla="*/ 561 h 646"/>
                <a:gd name="T40" fmla="*/ 456 w 456"/>
                <a:gd name="T41" fmla="*/ 0 h 646"/>
                <a:gd name="T42" fmla="*/ 0 w 456"/>
                <a:gd name="T43" fmla="*/ 42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6" h="646">
                  <a:moveTo>
                    <a:pt x="0" y="424"/>
                  </a:moveTo>
                  <a:lnTo>
                    <a:pt x="0" y="635"/>
                  </a:lnTo>
                  <a:lnTo>
                    <a:pt x="0" y="639"/>
                  </a:lnTo>
                  <a:lnTo>
                    <a:pt x="3" y="642"/>
                  </a:lnTo>
                  <a:lnTo>
                    <a:pt x="5" y="645"/>
                  </a:lnTo>
                  <a:lnTo>
                    <a:pt x="9" y="646"/>
                  </a:lnTo>
                  <a:lnTo>
                    <a:pt x="11" y="646"/>
                  </a:lnTo>
                  <a:lnTo>
                    <a:pt x="12" y="646"/>
                  </a:lnTo>
                  <a:lnTo>
                    <a:pt x="16" y="646"/>
                  </a:lnTo>
                  <a:lnTo>
                    <a:pt x="18" y="645"/>
                  </a:lnTo>
                  <a:lnTo>
                    <a:pt x="21" y="644"/>
                  </a:lnTo>
                  <a:lnTo>
                    <a:pt x="22" y="641"/>
                  </a:lnTo>
                  <a:lnTo>
                    <a:pt x="126" y="469"/>
                  </a:lnTo>
                  <a:lnTo>
                    <a:pt x="315" y="569"/>
                  </a:lnTo>
                  <a:lnTo>
                    <a:pt x="317" y="570"/>
                  </a:lnTo>
                  <a:lnTo>
                    <a:pt x="320" y="572"/>
                  </a:lnTo>
                  <a:lnTo>
                    <a:pt x="323" y="570"/>
                  </a:lnTo>
                  <a:lnTo>
                    <a:pt x="325" y="570"/>
                  </a:lnTo>
                  <a:lnTo>
                    <a:pt x="329" y="567"/>
                  </a:lnTo>
                  <a:lnTo>
                    <a:pt x="332" y="561"/>
                  </a:lnTo>
                  <a:lnTo>
                    <a:pt x="456" y="0"/>
                  </a:lnTo>
                  <a:lnTo>
                    <a:pt x="0" y="4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6" name="TextBox 47">
            <a:extLst>
              <a:ext uri="{FF2B5EF4-FFF2-40B4-BE49-F238E27FC236}">
                <a16:creationId xmlns:a16="http://schemas.microsoft.com/office/drawing/2014/main" id="{ADD28621-C404-41A6-85D1-1C963A241234}"/>
              </a:ext>
            </a:extLst>
          </p:cNvPr>
          <p:cNvSpPr txBox="1"/>
          <p:nvPr/>
        </p:nvSpPr>
        <p:spPr>
          <a:xfrm>
            <a:off x="495386" y="1690348"/>
            <a:ext cx="3610329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en-US" sz="1400" dirty="0" err="1">
                <a:solidFill>
                  <a:schemeClr val="bg1"/>
                </a:solidFill>
              </a:rPr>
              <a:t>Pellentesque</a:t>
            </a:r>
            <a:r>
              <a:rPr lang="en-US" sz="1400" dirty="0">
                <a:solidFill>
                  <a:schemeClr val="bg1"/>
                </a:solidFill>
              </a:rPr>
              <a:t>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feugiat</a:t>
            </a:r>
            <a:r>
              <a:rPr lang="en-US" sz="1400" dirty="0">
                <a:solidFill>
                  <a:schemeClr val="bg1"/>
                </a:solidFill>
              </a:rPr>
              <a:t> mi. Maecenas </a:t>
            </a:r>
            <a:r>
              <a:rPr lang="en-US" sz="1400" dirty="0" err="1">
                <a:solidFill>
                  <a:schemeClr val="bg1"/>
                </a:solidFill>
              </a:rPr>
              <a:t>volutpa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hendreri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odio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quis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mattis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38" name="TextBox 47">
            <a:extLst>
              <a:ext uri="{FF2B5EF4-FFF2-40B4-BE49-F238E27FC236}">
                <a16:creationId xmlns:a16="http://schemas.microsoft.com/office/drawing/2014/main" id="{468E2C47-3170-4264-A8DB-61C9DD65CB3F}"/>
              </a:ext>
            </a:extLst>
          </p:cNvPr>
          <p:cNvSpPr txBox="1"/>
          <p:nvPr/>
        </p:nvSpPr>
        <p:spPr>
          <a:xfrm>
            <a:off x="304800" y="3095784"/>
            <a:ext cx="3114675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en-US" sz="1400" dirty="0" err="1">
                <a:solidFill>
                  <a:schemeClr val="bg1"/>
                </a:solidFill>
              </a:rPr>
              <a:t>Pellentesque</a:t>
            </a:r>
            <a:r>
              <a:rPr lang="en-US" sz="1400" dirty="0">
                <a:solidFill>
                  <a:schemeClr val="bg1"/>
                </a:solidFill>
              </a:rPr>
              <a:t>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feugiat</a:t>
            </a:r>
            <a:r>
              <a:rPr lang="en-US" sz="1400" dirty="0">
                <a:solidFill>
                  <a:schemeClr val="bg1"/>
                </a:solidFill>
              </a:rPr>
              <a:t> mi. Maecenas </a:t>
            </a:r>
            <a:r>
              <a:rPr lang="en-US" sz="1400" dirty="0" err="1">
                <a:solidFill>
                  <a:schemeClr val="bg1"/>
                </a:solidFill>
              </a:rPr>
              <a:t>volutpa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hendreri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odio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quis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mattis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37" name="TextBox 47">
            <a:extLst>
              <a:ext uri="{FF2B5EF4-FFF2-40B4-BE49-F238E27FC236}">
                <a16:creationId xmlns:a16="http://schemas.microsoft.com/office/drawing/2014/main" id="{CEDCE8FF-73B3-4C37-B751-F7E83288982A}"/>
              </a:ext>
            </a:extLst>
          </p:cNvPr>
          <p:cNvSpPr txBox="1"/>
          <p:nvPr/>
        </p:nvSpPr>
        <p:spPr>
          <a:xfrm>
            <a:off x="495386" y="4729065"/>
            <a:ext cx="3610329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>
                <a:solidFill>
                  <a:schemeClr val="bg1"/>
                </a:solidFill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en-US" sz="1400" dirty="0" err="1">
                <a:solidFill>
                  <a:schemeClr val="bg1"/>
                </a:solidFill>
              </a:rPr>
              <a:t>Pellentesque</a:t>
            </a:r>
            <a:r>
              <a:rPr lang="en-US" sz="1400" dirty="0">
                <a:solidFill>
                  <a:schemeClr val="bg1"/>
                </a:solidFill>
              </a:rPr>
              <a:t>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feugiat</a:t>
            </a:r>
            <a:r>
              <a:rPr lang="en-US" sz="1400" dirty="0">
                <a:solidFill>
                  <a:schemeClr val="bg1"/>
                </a:solidFill>
              </a:rPr>
              <a:t> mi. Maecenas </a:t>
            </a:r>
            <a:r>
              <a:rPr lang="en-US" sz="1400" dirty="0" err="1">
                <a:solidFill>
                  <a:schemeClr val="bg1"/>
                </a:solidFill>
              </a:rPr>
              <a:t>volutpa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hendreri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odio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quis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mattis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12F29F0-E19B-43BF-BEF3-D4A48B394F58}"/>
              </a:ext>
            </a:extLst>
          </p:cNvPr>
          <p:cNvSpPr/>
          <p:nvPr/>
        </p:nvSpPr>
        <p:spPr>
          <a:xfrm>
            <a:off x="9709706" y="1410623"/>
            <a:ext cx="2482294" cy="3772838"/>
          </a:xfrm>
          <a:custGeom>
            <a:avLst/>
            <a:gdLst>
              <a:gd name="connsiteX0" fmla="*/ 1886419 w 2482294"/>
              <a:gd name="connsiteY0" fmla="*/ 0 h 3772838"/>
              <a:gd name="connsiteX1" fmla="*/ 2109942 w 2482294"/>
              <a:gd name="connsiteY1" fmla="*/ 92586 h 3772838"/>
              <a:gd name="connsiteX2" fmla="*/ 2482294 w 2482294"/>
              <a:gd name="connsiteY2" fmla="*/ 464938 h 3772838"/>
              <a:gd name="connsiteX3" fmla="*/ 2482294 w 2482294"/>
              <a:gd name="connsiteY3" fmla="*/ 3307900 h 3772838"/>
              <a:gd name="connsiteX4" fmla="*/ 2109942 w 2482294"/>
              <a:gd name="connsiteY4" fmla="*/ 3680252 h 3772838"/>
              <a:gd name="connsiteX5" fmla="*/ 1662896 w 2482294"/>
              <a:gd name="connsiteY5" fmla="*/ 3680252 h 3772838"/>
              <a:gd name="connsiteX6" fmla="*/ 92586 w 2482294"/>
              <a:gd name="connsiteY6" fmla="*/ 2109942 h 3772838"/>
              <a:gd name="connsiteX7" fmla="*/ 92586 w 2482294"/>
              <a:gd name="connsiteY7" fmla="*/ 1662896 h 3772838"/>
              <a:gd name="connsiteX8" fmla="*/ 1662896 w 2482294"/>
              <a:gd name="connsiteY8" fmla="*/ 92586 h 3772838"/>
              <a:gd name="connsiteX9" fmla="*/ 1886419 w 2482294"/>
              <a:gd name="connsiteY9" fmla="*/ 0 h 3772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82294" h="3772838">
                <a:moveTo>
                  <a:pt x="1886419" y="0"/>
                </a:moveTo>
                <a:cubicBezTo>
                  <a:pt x="1967318" y="0"/>
                  <a:pt x="2048218" y="30862"/>
                  <a:pt x="2109942" y="92586"/>
                </a:cubicBezTo>
                <a:lnTo>
                  <a:pt x="2482294" y="464938"/>
                </a:lnTo>
                <a:lnTo>
                  <a:pt x="2482294" y="3307900"/>
                </a:lnTo>
                <a:lnTo>
                  <a:pt x="2109942" y="3680252"/>
                </a:lnTo>
                <a:cubicBezTo>
                  <a:pt x="1986494" y="3803700"/>
                  <a:pt x="1786344" y="3803700"/>
                  <a:pt x="1662896" y="3680252"/>
                </a:cubicBezTo>
                <a:lnTo>
                  <a:pt x="92586" y="2109942"/>
                </a:lnTo>
                <a:cubicBezTo>
                  <a:pt x="-30862" y="1986494"/>
                  <a:pt x="-30862" y="1786344"/>
                  <a:pt x="92586" y="1662896"/>
                </a:cubicBezTo>
                <a:lnTo>
                  <a:pt x="1662896" y="92586"/>
                </a:lnTo>
                <a:cubicBezTo>
                  <a:pt x="1724620" y="30862"/>
                  <a:pt x="1805520" y="0"/>
                  <a:pt x="1886419" y="0"/>
                </a:cubicBez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B558C64-5F19-44FD-B6CB-6995E80A6FA2}"/>
              </a:ext>
            </a:extLst>
          </p:cNvPr>
          <p:cNvGrpSpPr/>
          <p:nvPr/>
        </p:nvGrpSpPr>
        <p:grpSpPr>
          <a:xfrm>
            <a:off x="5715000" y="1545599"/>
            <a:ext cx="5715000" cy="4605002"/>
            <a:chOff x="631829" y="3155370"/>
            <a:chExt cx="3458504" cy="2786775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03C21F7-6F42-4001-9105-1392AB928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6883" y="5538847"/>
              <a:ext cx="1174880" cy="372175"/>
            </a:xfrm>
            <a:custGeom>
              <a:avLst/>
              <a:gdLst>
                <a:gd name="T0" fmla="*/ 3037 w 3628"/>
                <a:gd name="T1" fmla="*/ 0 h 1149"/>
                <a:gd name="T2" fmla="*/ 1837 w 3628"/>
                <a:gd name="T3" fmla="*/ 0 h 1149"/>
                <a:gd name="T4" fmla="*/ 1792 w 3628"/>
                <a:gd name="T5" fmla="*/ 0 h 1149"/>
                <a:gd name="T6" fmla="*/ 591 w 3628"/>
                <a:gd name="T7" fmla="*/ 0 h 1149"/>
                <a:gd name="T8" fmla="*/ 592 w 3628"/>
                <a:gd name="T9" fmla="*/ 108 h 1149"/>
                <a:gd name="T10" fmla="*/ 594 w 3628"/>
                <a:gd name="T11" fmla="*/ 214 h 1149"/>
                <a:gd name="T12" fmla="*/ 598 w 3628"/>
                <a:gd name="T13" fmla="*/ 317 h 1149"/>
                <a:gd name="T14" fmla="*/ 600 w 3628"/>
                <a:gd name="T15" fmla="*/ 419 h 1149"/>
                <a:gd name="T16" fmla="*/ 600 w 3628"/>
                <a:gd name="T17" fmla="*/ 468 h 1149"/>
                <a:gd name="T18" fmla="*/ 599 w 3628"/>
                <a:gd name="T19" fmla="*/ 516 h 1149"/>
                <a:gd name="T20" fmla="*/ 597 w 3628"/>
                <a:gd name="T21" fmla="*/ 564 h 1149"/>
                <a:gd name="T22" fmla="*/ 594 w 3628"/>
                <a:gd name="T23" fmla="*/ 610 h 1149"/>
                <a:gd name="T24" fmla="*/ 590 w 3628"/>
                <a:gd name="T25" fmla="*/ 654 h 1149"/>
                <a:gd name="T26" fmla="*/ 584 w 3628"/>
                <a:gd name="T27" fmla="*/ 698 h 1149"/>
                <a:gd name="T28" fmla="*/ 576 w 3628"/>
                <a:gd name="T29" fmla="*/ 740 h 1149"/>
                <a:gd name="T30" fmla="*/ 567 w 3628"/>
                <a:gd name="T31" fmla="*/ 780 h 1149"/>
                <a:gd name="T32" fmla="*/ 554 w 3628"/>
                <a:gd name="T33" fmla="*/ 820 h 1149"/>
                <a:gd name="T34" fmla="*/ 540 w 3628"/>
                <a:gd name="T35" fmla="*/ 857 h 1149"/>
                <a:gd name="T36" fmla="*/ 524 w 3628"/>
                <a:gd name="T37" fmla="*/ 892 h 1149"/>
                <a:gd name="T38" fmla="*/ 504 w 3628"/>
                <a:gd name="T39" fmla="*/ 925 h 1149"/>
                <a:gd name="T40" fmla="*/ 482 w 3628"/>
                <a:gd name="T41" fmla="*/ 958 h 1149"/>
                <a:gd name="T42" fmla="*/ 458 w 3628"/>
                <a:gd name="T43" fmla="*/ 986 h 1149"/>
                <a:gd name="T44" fmla="*/ 429 w 3628"/>
                <a:gd name="T45" fmla="*/ 1014 h 1149"/>
                <a:gd name="T46" fmla="*/ 398 w 3628"/>
                <a:gd name="T47" fmla="*/ 1039 h 1149"/>
                <a:gd name="T48" fmla="*/ 363 w 3628"/>
                <a:gd name="T49" fmla="*/ 1062 h 1149"/>
                <a:gd name="T50" fmla="*/ 323 w 3628"/>
                <a:gd name="T51" fmla="*/ 1081 h 1149"/>
                <a:gd name="T52" fmla="*/ 281 w 3628"/>
                <a:gd name="T53" fmla="*/ 1100 h 1149"/>
                <a:gd name="T54" fmla="*/ 233 w 3628"/>
                <a:gd name="T55" fmla="*/ 1115 h 1149"/>
                <a:gd name="T56" fmla="*/ 182 w 3628"/>
                <a:gd name="T57" fmla="*/ 1128 h 1149"/>
                <a:gd name="T58" fmla="*/ 127 w 3628"/>
                <a:gd name="T59" fmla="*/ 1137 h 1149"/>
                <a:gd name="T60" fmla="*/ 66 w 3628"/>
                <a:gd name="T61" fmla="*/ 1144 h 1149"/>
                <a:gd name="T62" fmla="*/ 0 w 3628"/>
                <a:gd name="T63" fmla="*/ 1149 h 1149"/>
                <a:gd name="T64" fmla="*/ 1792 w 3628"/>
                <a:gd name="T65" fmla="*/ 1149 h 1149"/>
                <a:gd name="T66" fmla="*/ 1837 w 3628"/>
                <a:gd name="T67" fmla="*/ 1149 h 1149"/>
                <a:gd name="T68" fmla="*/ 3628 w 3628"/>
                <a:gd name="T69" fmla="*/ 1149 h 1149"/>
                <a:gd name="T70" fmla="*/ 3563 w 3628"/>
                <a:gd name="T71" fmla="*/ 1144 h 1149"/>
                <a:gd name="T72" fmla="*/ 3503 w 3628"/>
                <a:gd name="T73" fmla="*/ 1137 h 1149"/>
                <a:gd name="T74" fmla="*/ 3446 w 3628"/>
                <a:gd name="T75" fmla="*/ 1128 h 1149"/>
                <a:gd name="T76" fmla="*/ 3395 w 3628"/>
                <a:gd name="T77" fmla="*/ 1115 h 1149"/>
                <a:gd name="T78" fmla="*/ 3349 w 3628"/>
                <a:gd name="T79" fmla="*/ 1100 h 1149"/>
                <a:gd name="T80" fmla="*/ 3306 w 3628"/>
                <a:gd name="T81" fmla="*/ 1081 h 1149"/>
                <a:gd name="T82" fmla="*/ 3266 w 3628"/>
                <a:gd name="T83" fmla="*/ 1062 h 1149"/>
                <a:gd name="T84" fmla="*/ 3231 w 3628"/>
                <a:gd name="T85" fmla="*/ 1039 h 1149"/>
                <a:gd name="T86" fmla="*/ 3199 w 3628"/>
                <a:gd name="T87" fmla="*/ 1014 h 1149"/>
                <a:gd name="T88" fmla="*/ 3172 w 3628"/>
                <a:gd name="T89" fmla="*/ 986 h 1149"/>
                <a:gd name="T90" fmla="*/ 3146 w 3628"/>
                <a:gd name="T91" fmla="*/ 958 h 1149"/>
                <a:gd name="T92" fmla="*/ 3124 w 3628"/>
                <a:gd name="T93" fmla="*/ 925 h 1149"/>
                <a:gd name="T94" fmla="*/ 3104 w 3628"/>
                <a:gd name="T95" fmla="*/ 892 h 1149"/>
                <a:gd name="T96" fmla="*/ 3088 w 3628"/>
                <a:gd name="T97" fmla="*/ 857 h 1149"/>
                <a:gd name="T98" fmla="*/ 3074 w 3628"/>
                <a:gd name="T99" fmla="*/ 820 h 1149"/>
                <a:gd name="T100" fmla="*/ 3063 w 3628"/>
                <a:gd name="T101" fmla="*/ 780 h 1149"/>
                <a:gd name="T102" fmla="*/ 3053 w 3628"/>
                <a:gd name="T103" fmla="*/ 740 h 1149"/>
                <a:gd name="T104" fmla="*/ 3045 w 3628"/>
                <a:gd name="T105" fmla="*/ 698 h 1149"/>
                <a:gd name="T106" fmla="*/ 3040 w 3628"/>
                <a:gd name="T107" fmla="*/ 654 h 1149"/>
                <a:gd name="T108" fmla="*/ 3035 w 3628"/>
                <a:gd name="T109" fmla="*/ 610 h 1149"/>
                <a:gd name="T110" fmla="*/ 3031 w 3628"/>
                <a:gd name="T111" fmla="*/ 564 h 1149"/>
                <a:gd name="T112" fmla="*/ 3030 w 3628"/>
                <a:gd name="T113" fmla="*/ 516 h 1149"/>
                <a:gd name="T114" fmla="*/ 3029 w 3628"/>
                <a:gd name="T115" fmla="*/ 468 h 1149"/>
                <a:gd name="T116" fmla="*/ 3029 w 3628"/>
                <a:gd name="T117" fmla="*/ 419 h 1149"/>
                <a:gd name="T118" fmla="*/ 3030 w 3628"/>
                <a:gd name="T119" fmla="*/ 317 h 1149"/>
                <a:gd name="T120" fmla="*/ 3034 w 3628"/>
                <a:gd name="T121" fmla="*/ 214 h 1149"/>
                <a:gd name="T122" fmla="*/ 3036 w 3628"/>
                <a:gd name="T123" fmla="*/ 108 h 1149"/>
                <a:gd name="T124" fmla="*/ 3037 w 3628"/>
                <a:gd name="T12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8" h="1149">
                  <a:moveTo>
                    <a:pt x="3037" y="0"/>
                  </a:moveTo>
                  <a:lnTo>
                    <a:pt x="1837" y="0"/>
                  </a:lnTo>
                  <a:lnTo>
                    <a:pt x="1792" y="0"/>
                  </a:lnTo>
                  <a:lnTo>
                    <a:pt x="591" y="0"/>
                  </a:lnTo>
                  <a:lnTo>
                    <a:pt x="592" y="108"/>
                  </a:lnTo>
                  <a:lnTo>
                    <a:pt x="594" y="214"/>
                  </a:lnTo>
                  <a:lnTo>
                    <a:pt x="598" y="317"/>
                  </a:lnTo>
                  <a:lnTo>
                    <a:pt x="600" y="419"/>
                  </a:lnTo>
                  <a:lnTo>
                    <a:pt x="600" y="468"/>
                  </a:lnTo>
                  <a:lnTo>
                    <a:pt x="599" y="516"/>
                  </a:lnTo>
                  <a:lnTo>
                    <a:pt x="597" y="564"/>
                  </a:lnTo>
                  <a:lnTo>
                    <a:pt x="594" y="610"/>
                  </a:lnTo>
                  <a:lnTo>
                    <a:pt x="590" y="654"/>
                  </a:lnTo>
                  <a:lnTo>
                    <a:pt x="584" y="698"/>
                  </a:lnTo>
                  <a:lnTo>
                    <a:pt x="576" y="740"/>
                  </a:lnTo>
                  <a:lnTo>
                    <a:pt x="567" y="780"/>
                  </a:lnTo>
                  <a:lnTo>
                    <a:pt x="554" y="820"/>
                  </a:lnTo>
                  <a:lnTo>
                    <a:pt x="540" y="857"/>
                  </a:lnTo>
                  <a:lnTo>
                    <a:pt x="524" y="892"/>
                  </a:lnTo>
                  <a:lnTo>
                    <a:pt x="504" y="925"/>
                  </a:lnTo>
                  <a:lnTo>
                    <a:pt x="482" y="958"/>
                  </a:lnTo>
                  <a:lnTo>
                    <a:pt x="458" y="986"/>
                  </a:lnTo>
                  <a:lnTo>
                    <a:pt x="429" y="1014"/>
                  </a:lnTo>
                  <a:lnTo>
                    <a:pt x="398" y="1039"/>
                  </a:lnTo>
                  <a:lnTo>
                    <a:pt x="363" y="1062"/>
                  </a:lnTo>
                  <a:lnTo>
                    <a:pt x="323" y="1081"/>
                  </a:lnTo>
                  <a:lnTo>
                    <a:pt x="281" y="1100"/>
                  </a:lnTo>
                  <a:lnTo>
                    <a:pt x="233" y="1115"/>
                  </a:lnTo>
                  <a:lnTo>
                    <a:pt x="182" y="1128"/>
                  </a:lnTo>
                  <a:lnTo>
                    <a:pt x="127" y="1137"/>
                  </a:lnTo>
                  <a:lnTo>
                    <a:pt x="66" y="1144"/>
                  </a:lnTo>
                  <a:lnTo>
                    <a:pt x="0" y="1149"/>
                  </a:lnTo>
                  <a:lnTo>
                    <a:pt x="1792" y="1149"/>
                  </a:lnTo>
                  <a:lnTo>
                    <a:pt x="1837" y="1149"/>
                  </a:lnTo>
                  <a:lnTo>
                    <a:pt x="3628" y="1149"/>
                  </a:lnTo>
                  <a:lnTo>
                    <a:pt x="3563" y="1144"/>
                  </a:lnTo>
                  <a:lnTo>
                    <a:pt x="3503" y="1137"/>
                  </a:lnTo>
                  <a:lnTo>
                    <a:pt x="3446" y="1128"/>
                  </a:lnTo>
                  <a:lnTo>
                    <a:pt x="3395" y="1115"/>
                  </a:lnTo>
                  <a:lnTo>
                    <a:pt x="3349" y="1100"/>
                  </a:lnTo>
                  <a:lnTo>
                    <a:pt x="3306" y="1081"/>
                  </a:lnTo>
                  <a:lnTo>
                    <a:pt x="3266" y="1062"/>
                  </a:lnTo>
                  <a:lnTo>
                    <a:pt x="3231" y="1039"/>
                  </a:lnTo>
                  <a:lnTo>
                    <a:pt x="3199" y="1014"/>
                  </a:lnTo>
                  <a:lnTo>
                    <a:pt x="3172" y="986"/>
                  </a:lnTo>
                  <a:lnTo>
                    <a:pt x="3146" y="958"/>
                  </a:lnTo>
                  <a:lnTo>
                    <a:pt x="3124" y="925"/>
                  </a:lnTo>
                  <a:lnTo>
                    <a:pt x="3104" y="892"/>
                  </a:lnTo>
                  <a:lnTo>
                    <a:pt x="3088" y="857"/>
                  </a:lnTo>
                  <a:lnTo>
                    <a:pt x="3074" y="820"/>
                  </a:lnTo>
                  <a:lnTo>
                    <a:pt x="3063" y="780"/>
                  </a:lnTo>
                  <a:lnTo>
                    <a:pt x="3053" y="740"/>
                  </a:lnTo>
                  <a:lnTo>
                    <a:pt x="3045" y="698"/>
                  </a:lnTo>
                  <a:lnTo>
                    <a:pt x="3040" y="654"/>
                  </a:lnTo>
                  <a:lnTo>
                    <a:pt x="3035" y="610"/>
                  </a:lnTo>
                  <a:lnTo>
                    <a:pt x="3031" y="564"/>
                  </a:lnTo>
                  <a:lnTo>
                    <a:pt x="3030" y="516"/>
                  </a:lnTo>
                  <a:lnTo>
                    <a:pt x="3029" y="468"/>
                  </a:lnTo>
                  <a:lnTo>
                    <a:pt x="3029" y="419"/>
                  </a:lnTo>
                  <a:lnTo>
                    <a:pt x="3030" y="317"/>
                  </a:lnTo>
                  <a:lnTo>
                    <a:pt x="3034" y="214"/>
                  </a:lnTo>
                  <a:lnTo>
                    <a:pt x="3036" y="108"/>
                  </a:lnTo>
                  <a:lnTo>
                    <a:pt x="303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77000">
                  <a:schemeClr val="bg1">
                    <a:lumMod val="85000"/>
                  </a:schemeClr>
                </a:gs>
                <a:gs pos="37000">
                  <a:schemeClr val="bg1">
                    <a:lumMod val="8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ABADD212-C9EC-4549-BFBC-540585A96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9103" y="5908428"/>
              <a:ext cx="1190442" cy="33717"/>
            </a:xfrm>
            <a:custGeom>
              <a:avLst/>
              <a:gdLst>
                <a:gd name="T0" fmla="*/ 53 w 3673"/>
                <a:gd name="T1" fmla="*/ 0 h 105"/>
                <a:gd name="T2" fmla="*/ 3621 w 3673"/>
                <a:gd name="T3" fmla="*/ 0 h 105"/>
                <a:gd name="T4" fmla="*/ 3631 w 3673"/>
                <a:gd name="T5" fmla="*/ 2 h 105"/>
                <a:gd name="T6" fmla="*/ 3640 w 3673"/>
                <a:gd name="T7" fmla="*/ 5 h 105"/>
                <a:gd name="T8" fmla="*/ 3650 w 3673"/>
                <a:gd name="T9" fmla="*/ 10 h 105"/>
                <a:gd name="T10" fmla="*/ 3658 w 3673"/>
                <a:gd name="T11" fmla="*/ 15 h 105"/>
                <a:gd name="T12" fmla="*/ 3664 w 3673"/>
                <a:gd name="T13" fmla="*/ 24 h 105"/>
                <a:gd name="T14" fmla="*/ 3668 w 3673"/>
                <a:gd name="T15" fmla="*/ 33 h 105"/>
                <a:gd name="T16" fmla="*/ 3672 w 3673"/>
                <a:gd name="T17" fmla="*/ 42 h 105"/>
                <a:gd name="T18" fmla="*/ 3673 w 3673"/>
                <a:gd name="T19" fmla="*/ 53 h 105"/>
                <a:gd name="T20" fmla="*/ 3673 w 3673"/>
                <a:gd name="T21" fmla="*/ 53 h 105"/>
                <a:gd name="T22" fmla="*/ 3672 w 3673"/>
                <a:gd name="T23" fmla="*/ 63 h 105"/>
                <a:gd name="T24" fmla="*/ 3668 w 3673"/>
                <a:gd name="T25" fmla="*/ 73 h 105"/>
                <a:gd name="T26" fmla="*/ 3664 w 3673"/>
                <a:gd name="T27" fmla="*/ 81 h 105"/>
                <a:gd name="T28" fmla="*/ 3658 w 3673"/>
                <a:gd name="T29" fmla="*/ 90 h 105"/>
                <a:gd name="T30" fmla="*/ 3650 w 3673"/>
                <a:gd name="T31" fmla="*/ 95 h 105"/>
                <a:gd name="T32" fmla="*/ 3640 w 3673"/>
                <a:gd name="T33" fmla="*/ 100 h 105"/>
                <a:gd name="T34" fmla="*/ 3631 w 3673"/>
                <a:gd name="T35" fmla="*/ 103 h 105"/>
                <a:gd name="T36" fmla="*/ 3621 w 3673"/>
                <a:gd name="T37" fmla="*/ 105 h 105"/>
                <a:gd name="T38" fmla="*/ 53 w 3673"/>
                <a:gd name="T39" fmla="*/ 105 h 105"/>
                <a:gd name="T40" fmla="*/ 42 w 3673"/>
                <a:gd name="T41" fmla="*/ 103 h 105"/>
                <a:gd name="T42" fmla="*/ 32 w 3673"/>
                <a:gd name="T43" fmla="*/ 100 h 105"/>
                <a:gd name="T44" fmla="*/ 24 w 3673"/>
                <a:gd name="T45" fmla="*/ 95 h 105"/>
                <a:gd name="T46" fmla="*/ 16 w 3673"/>
                <a:gd name="T47" fmla="*/ 90 h 105"/>
                <a:gd name="T48" fmla="*/ 9 w 3673"/>
                <a:gd name="T49" fmla="*/ 81 h 105"/>
                <a:gd name="T50" fmla="*/ 4 w 3673"/>
                <a:gd name="T51" fmla="*/ 73 h 105"/>
                <a:gd name="T52" fmla="*/ 2 w 3673"/>
                <a:gd name="T53" fmla="*/ 63 h 105"/>
                <a:gd name="T54" fmla="*/ 0 w 3673"/>
                <a:gd name="T55" fmla="*/ 53 h 105"/>
                <a:gd name="T56" fmla="*/ 0 w 3673"/>
                <a:gd name="T57" fmla="*/ 53 h 105"/>
                <a:gd name="T58" fmla="*/ 2 w 3673"/>
                <a:gd name="T59" fmla="*/ 42 h 105"/>
                <a:gd name="T60" fmla="*/ 4 w 3673"/>
                <a:gd name="T61" fmla="*/ 33 h 105"/>
                <a:gd name="T62" fmla="*/ 9 w 3673"/>
                <a:gd name="T63" fmla="*/ 24 h 105"/>
                <a:gd name="T64" fmla="*/ 16 w 3673"/>
                <a:gd name="T65" fmla="*/ 15 h 105"/>
                <a:gd name="T66" fmla="*/ 24 w 3673"/>
                <a:gd name="T67" fmla="*/ 10 h 105"/>
                <a:gd name="T68" fmla="*/ 32 w 3673"/>
                <a:gd name="T69" fmla="*/ 5 h 105"/>
                <a:gd name="T70" fmla="*/ 42 w 3673"/>
                <a:gd name="T71" fmla="*/ 2 h 105"/>
                <a:gd name="T72" fmla="*/ 53 w 3673"/>
                <a:gd name="T7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73" h="105">
                  <a:moveTo>
                    <a:pt x="53" y="0"/>
                  </a:moveTo>
                  <a:lnTo>
                    <a:pt x="3621" y="0"/>
                  </a:lnTo>
                  <a:lnTo>
                    <a:pt x="3631" y="2"/>
                  </a:lnTo>
                  <a:lnTo>
                    <a:pt x="3640" y="5"/>
                  </a:lnTo>
                  <a:lnTo>
                    <a:pt x="3650" y="10"/>
                  </a:lnTo>
                  <a:lnTo>
                    <a:pt x="3658" y="15"/>
                  </a:lnTo>
                  <a:lnTo>
                    <a:pt x="3664" y="24"/>
                  </a:lnTo>
                  <a:lnTo>
                    <a:pt x="3668" y="33"/>
                  </a:lnTo>
                  <a:lnTo>
                    <a:pt x="3672" y="42"/>
                  </a:lnTo>
                  <a:lnTo>
                    <a:pt x="3673" y="53"/>
                  </a:lnTo>
                  <a:lnTo>
                    <a:pt x="3673" y="53"/>
                  </a:lnTo>
                  <a:lnTo>
                    <a:pt x="3672" y="63"/>
                  </a:lnTo>
                  <a:lnTo>
                    <a:pt x="3668" y="73"/>
                  </a:lnTo>
                  <a:lnTo>
                    <a:pt x="3664" y="81"/>
                  </a:lnTo>
                  <a:lnTo>
                    <a:pt x="3658" y="90"/>
                  </a:lnTo>
                  <a:lnTo>
                    <a:pt x="3650" y="95"/>
                  </a:lnTo>
                  <a:lnTo>
                    <a:pt x="3640" y="100"/>
                  </a:lnTo>
                  <a:lnTo>
                    <a:pt x="3631" y="103"/>
                  </a:lnTo>
                  <a:lnTo>
                    <a:pt x="3621" y="105"/>
                  </a:lnTo>
                  <a:lnTo>
                    <a:pt x="53" y="105"/>
                  </a:lnTo>
                  <a:lnTo>
                    <a:pt x="42" y="103"/>
                  </a:lnTo>
                  <a:lnTo>
                    <a:pt x="32" y="100"/>
                  </a:lnTo>
                  <a:lnTo>
                    <a:pt x="24" y="95"/>
                  </a:lnTo>
                  <a:lnTo>
                    <a:pt x="16" y="90"/>
                  </a:lnTo>
                  <a:lnTo>
                    <a:pt x="9" y="81"/>
                  </a:lnTo>
                  <a:lnTo>
                    <a:pt x="4" y="73"/>
                  </a:lnTo>
                  <a:lnTo>
                    <a:pt x="2" y="6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4" y="33"/>
                  </a:lnTo>
                  <a:lnTo>
                    <a:pt x="9" y="24"/>
                  </a:lnTo>
                  <a:lnTo>
                    <a:pt x="16" y="15"/>
                  </a:lnTo>
                  <a:lnTo>
                    <a:pt x="24" y="10"/>
                  </a:lnTo>
                  <a:lnTo>
                    <a:pt x="32" y="5"/>
                  </a:lnTo>
                  <a:lnTo>
                    <a:pt x="42" y="2"/>
                  </a:lnTo>
                  <a:lnTo>
                    <a:pt x="53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65000"/>
                  </a:schemeClr>
                </a:gs>
                <a:gs pos="44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D791EF4-39E0-4615-B2DA-2533EE298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29" y="3155370"/>
              <a:ext cx="3458504" cy="2397742"/>
            </a:xfrm>
            <a:custGeom>
              <a:avLst/>
              <a:gdLst>
                <a:gd name="T0" fmla="*/ 10459 w 10666"/>
                <a:gd name="T1" fmla="*/ 0 h 7397"/>
                <a:gd name="T2" fmla="*/ 10500 w 10666"/>
                <a:gd name="T3" fmla="*/ 5 h 7397"/>
                <a:gd name="T4" fmla="*/ 10539 w 10666"/>
                <a:gd name="T5" fmla="*/ 16 h 7397"/>
                <a:gd name="T6" fmla="*/ 10575 w 10666"/>
                <a:gd name="T7" fmla="*/ 36 h 7397"/>
                <a:gd name="T8" fmla="*/ 10605 w 10666"/>
                <a:gd name="T9" fmla="*/ 61 h 7397"/>
                <a:gd name="T10" fmla="*/ 10630 w 10666"/>
                <a:gd name="T11" fmla="*/ 91 h 7397"/>
                <a:gd name="T12" fmla="*/ 10650 w 10666"/>
                <a:gd name="T13" fmla="*/ 127 h 7397"/>
                <a:gd name="T14" fmla="*/ 10661 w 10666"/>
                <a:gd name="T15" fmla="*/ 166 h 7397"/>
                <a:gd name="T16" fmla="*/ 10666 w 10666"/>
                <a:gd name="T17" fmla="*/ 207 h 7397"/>
                <a:gd name="T18" fmla="*/ 10665 w 10666"/>
                <a:gd name="T19" fmla="*/ 7211 h 7397"/>
                <a:gd name="T20" fmla="*/ 10657 w 10666"/>
                <a:gd name="T21" fmla="*/ 7251 h 7397"/>
                <a:gd name="T22" fmla="*/ 10641 w 10666"/>
                <a:gd name="T23" fmla="*/ 7288 h 7397"/>
                <a:gd name="T24" fmla="*/ 10619 w 10666"/>
                <a:gd name="T25" fmla="*/ 7321 h 7397"/>
                <a:gd name="T26" fmla="*/ 10591 w 10666"/>
                <a:gd name="T27" fmla="*/ 7350 h 7397"/>
                <a:gd name="T28" fmla="*/ 10557 w 10666"/>
                <a:gd name="T29" fmla="*/ 7372 h 7397"/>
                <a:gd name="T30" fmla="*/ 10520 w 10666"/>
                <a:gd name="T31" fmla="*/ 7388 h 7397"/>
                <a:gd name="T32" fmla="*/ 10480 w 10666"/>
                <a:gd name="T33" fmla="*/ 7396 h 7397"/>
                <a:gd name="T34" fmla="*/ 207 w 10666"/>
                <a:gd name="T35" fmla="*/ 7397 h 7397"/>
                <a:gd name="T36" fmla="*/ 165 w 10666"/>
                <a:gd name="T37" fmla="*/ 7393 h 7397"/>
                <a:gd name="T38" fmla="*/ 126 w 10666"/>
                <a:gd name="T39" fmla="*/ 7381 h 7397"/>
                <a:gd name="T40" fmla="*/ 91 w 10666"/>
                <a:gd name="T41" fmla="*/ 7361 h 7397"/>
                <a:gd name="T42" fmla="*/ 60 w 10666"/>
                <a:gd name="T43" fmla="*/ 7336 h 7397"/>
                <a:gd name="T44" fmla="*/ 34 w 10666"/>
                <a:gd name="T45" fmla="*/ 7306 h 7397"/>
                <a:gd name="T46" fmla="*/ 16 w 10666"/>
                <a:gd name="T47" fmla="*/ 7270 h 7397"/>
                <a:gd name="T48" fmla="*/ 3 w 10666"/>
                <a:gd name="T49" fmla="*/ 7232 h 7397"/>
                <a:gd name="T50" fmla="*/ 0 w 10666"/>
                <a:gd name="T51" fmla="*/ 7190 h 7397"/>
                <a:gd name="T52" fmla="*/ 1 w 10666"/>
                <a:gd name="T53" fmla="*/ 186 h 7397"/>
                <a:gd name="T54" fmla="*/ 9 w 10666"/>
                <a:gd name="T55" fmla="*/ 146 h 7397"/>
                <a:gd name="T56" fmla="*/ 24 w 10666"/>
                <a:gd name="T57" fmla="*/ 109 h 7397"/>
                <a:gd name="T58" fmla="*/ 47 w 10666"/>
                <a:gd name="T59" fmla="*/ 75 h 7397"/>
                <a:gd name="T60" fmla="*/ 75 w 10666"/>
                <a:gd name="T61" fmla="*/ 47 h 7397"/>
                <a:gd name="T62" fmla="*/ 108 w 10666"/>
                <a:gd name="T63" fmla="*/ 25 h 7397"/>
                <a:gd name="T64" fmla="*/ 146 w 10666"/>
                <a:gd name="T65" fmla="*/ 9 h 7397"/>
                <a:gd name="T66" fmla="*/ 186 w 10666"/>
                <a:gd name="T67" fmla="*/ 1 h 7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66" h="7397">
                  <a:moveTo>
                    <a:pt x="207" y="0"/>
                  </a:moveTo>
                  <a:lnTo>
                    <a:pt x="10459" y="0"/>
                  </a:lnTo>
                  <a:lnTo>
                    <a:pt x="10480" y="1"/>
                  </a:lnTo>
                  <a:lnTo>
                    <a:pt x="10500" y="5"/>
                  </a:lnTo>
                  <a:lnTo>
                    <a:pt x="10520" y="9"/>
                  </a:lnTo>
                  <a:lnTo>
                    <a:pt x="10539" y="16"/>
                  </a:lnTo>
                  <a:lnTo>
                    <a:pt x="10557" y="25"/>
                  </a:lnTo>
                  <a:lnTo>
                    <a:pt x="10575" y="36"/>
                  </a:lnTo>
                  <a:lnTo>
                    <a:pt x="10591" y="47"/>
                  </a:lnTo>
                  <a:lnTo>
                    <a:pt x="10605" y="61"/>
                  </a:lnTo>
                  <a:lnTo>
                    <a:pt x="10619" y="75"/>
                  </a:lnTo>
                  <a:lnTo>
                    <a:pt x="10630" y="91"/>
                  </a:lnTo>
                  <a:lnTo>
                    <a:pt x="10641" y="109"/>
                  </a:lnTo>
                  <a:lnTo>
                    <a:pt x="10650" y="127"/>
                  </a:lnTo>
                  <a:lnTo>
                    <a:pt x="10657" y="146"/>
                  </a:lnTo>
                  <a:lnTo>
                    <a:pt x="10661" y="166"/>
                  </a:lnTo>
                  <a:lnTo>
                    <a:pt x="10665" y="186"/>
                  </a:lnTo>
                  <a:lnTo>
                    <a:pt x="10666" y="207"/>
                  </a:lnTo>
                  <a:lnTo>
                    <a:pt x="10666" y="7190"/>
                  </a:lnTo>
                  <a:lnTo>
                    <a:pt x="10665" y="7211"/>
                  </a:lnTo>
                  <a:lnTo>
                    <a:pt x="10661" y="7232"/>
                  </a:lnTo>
                  <a:lnTo>
                    <a:pt x="10657" y="7251"/>
                  </a:lnTo>
                  <a:lnTo>
                    <a:pt x="10650" y="7270"/>
                  </a:lnTo>
                  <a:lnTo>
                    <a:pt x="10641" y="7288"/>
                  </a:lnTo>
                  <a:lnTo>
                    <a:pt x="10630" y="7306"/>
                  </a:lnTo>
                  <a:lnTo>
                    <a:pt x="10619" y="7321"/>
                  </a:lnTo>
                  <a:lnTo>
                    <a:pt x="10605" y="7336"/>
                  </a:lnTo>
                  <a:lnTo>
                    <a:pt x="10591" y="7350"/>
                  </a:lnTo>
                  <a:lnTo>
                    <a:pt x="10575" y="7361"/>
                  </a:lnTo>
                  <a:lnTo>
                    <a:pt x="10557" y="7372"/>
                  </a:lnTo>
                  <a:lnTo>
                    <a:pt x="10539" y="7381"/>
                  </a:lnTo>
                  <a:lnTo>
                    <a:pt x="10520" y="7388"/>
                  </a:lnTo>
                  <a:lnTo>
                    <a:pt x="10500" y="7393"/>
                  </a:lnTo>
                  <a:lnTo>
                    <a:pt x="10480" y="7396"/>
                  </a:lnTo>
                  <a:lnTo>
                    <a:pt x="10459" y="7397"/>
                  </a:lnTo>
                  <a:lnTo>
                    <a:pt x="207" y="7397"/>
                  </a:lnTo>
                  <a:lnTo>
                    <a:pt x="186" y="7396"/>
                  </a:lnTo>
                  <a:lnTo>
                    <a:pt x="165" y="7393"/>
                  </a:lnTo>
                  <a:lnTo>
                    <a:pt x="146" y="7388"/>
                  </a:lnTo>
                  <a:lnTo>
                    <a:pt x="126" y="7381"/>
                  </a:lnTo>
                  <a:lnTo>
                    <a:pt x="108" y="7372"/>
                  </a:lnTo>
                  <a:lnTo>
                    <a:pt x="91" y="7361"/>
                  </a:lnTo>
                  <a:lnTo>
                    <a:pt x="75" y="7350"/>
                  </a:lnTo>
                  <a:lnTo>
                    <a:pt x="60" y="7336"/>
                  </a:lnTo>
                  <a:lnTo>
                    <a:pt x="47" y="7321"/>
                  </a:lnTo>
                  <a:lnTo>
                    <a:pt x="34" y="7306"/>
                  </a:lnTo>
                  <a:lnTo>
                    <a:pt x="24" y="7288"/>
                  </a:lnTo>
                  <a:lnTo>
                    <a:pt x="16" y="7270"/>
                  </a:lnTo>
                  <a:lnTo>
                    <a:pt x="9" y="7251"/>
                  </a:lnTo>
                  <a:lnTo>
                    <a:pt x="3" y="7232"/>
                  </a:lnTo>
                  <a:lnTo>
                    <a:pt x="1" y="7211"/>
                  </a:lnTo>
                  <a:lnTo>
                    <a:pt x="0" y="7190"/>
                  </a:lnTo>
                  <a:lnTo>
                    <a:pt x="0" y="207"/>
                  </a:lnTo>
                  <a:lnTo>
                    <a:pt x="1" y="186"/>
                  </a:lnTo>
                  <a:lnTo>
                    <a:pt x="3" y="166"/>
                  </a:lnTo>
                  <a:lnTo>
                    <a:pt x="9" y="146"/>
                  </a:lnTo>
                  <a:lnTo>
                    <a:pt x="16" y="127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7" y="75"/>
                  </a:lnTo>
                  <a:lnTo>
                    <a:pt x="60" y="61"/>
                  </a:lnTo>
                  <a:lnTo>
                    <a:pt x="75" y="47"/>
                  </a:lnTo>
                  <a:lnTo>
                    <a:pt x="91" y="36"/>
                  </a:lnTo>
                  <a:lnTo>
                    <a:pt x="108" y="25"/>
                  </a:lnTo>
                  <a:lnTo>
                    <a:pt x="126" y="16"/>
                  </a:lnTo>
                  <a:lnTo>
                    <a:pt x="146" y="9"/>
                  </a:lnTo>
                  <a:lnTo>
                    <a:pt x="165" y="5"/>
                  </a:lnTo>
                  <a:lnTo>
                    <a:pt x="186" y="1"/>
                  </a:lnTo>
                  <a:lnTo>
                    <a:pt x="20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3A2C0B88-74DA-45C0-BA2B-E2D1881F6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29" y="3155370"/>
              <a:ext cx="3458504" cy="2086515"/>
            </a:xfrm>
            <a:custGeom>
              <a:avLst/>
              <a:gdLst>
                <a:gd name="T0" fmla="*/ 207 w 10666"/>
                <a:gd name="T1" fmla="*/ 0 h 6436"/>
                <a:gd name="T2" fmla="*/ 10459 w 10666"/>
                <a:gd name="T3" fmla="*/ 0 h 6436"/>
                <a:gd name="T4" fmla="*/ 10480 w 10666"/>
                <a:gd name="T5" fmla="*/ 1 h 6436"/>
                <a:gd name="T6" fmla="*/ 10500 w 10666"/>
                <a:gd name="T7" fmla="*/ 5 h 6436"/>
                <a:gd name="T8" fmla="*/ 10520 w 10666"/>
                <a:gd name="T9" fmla="*/ 9 h 6436"/>
                <a:gd name="T10" fmla="*/ 10539 w 10666"/>
                <a:gd name="T11" fmla="*/ 16 h 6436"/>
                <a:gd name="T12" fmla="*/ 10557 w 10666"/>
                <a:gd name="T13" fmla="*/ 25 h 6436"/>
                <a:gd name="T14" fmla="*/ 10575 w 10666"/>
                <a:gd name="T15" fmla="*/ 36 h 6436"/>
                <a:gd name="T16" fmla="*/ 10591 w 10666"/>
                <a:gd name="T17" fmla="*/ 47 h 6436"/>
                <a:gd name="T18" fmla="*/ 10605 w 10666"/>
                <a:gd name="T19" fmla="*/ 61 h 6436"/>
                <a:gd name="T20" fmla="*/ 10619 w 10666"/>
                <a:gd name="T21" fmla="*/ 75 h 6436"/>
                <a:gd name="T22" fmla="*/ 10630 w 10666"/>
                <a:gd name="T23" fmla="*/ 91 h 6436"/>
                <a:gd name="T24" fmla="*/ 10641 w 10666"/>
                <a:gd name="T25" fmla="*/ 109 h 6436"/>
                <a:gd name="T26" fmla="*/ 10650 w 10666"/>
                <a:gd name="T27" fmla="*/ 127 h 6436"/>
                <a:gd name="T28" fmla="*/ 10657 w 10666"/>
                <a:gd name="T29" fmla="*/ 146 h 6436"/>
                <a:gd name="T30" fmla="*/ 10661 w 10666"/>
                <a:gd name="T31" fmla="*/ 166 h 6436"/>
                <a:gd name="T32" fmla="*/ 10665 w 10666"/>
                <a:gd name="T33" fmla="*/ 186 h 6436"/>
                <a:gd name="T34" fmla="*/ 10666 w 10666"/>
                <a:gd name="T35" fmla="*/ 207 h 6436"/>
                <a:gd name="T36" fmla="*/ 10666 w 10666"/>
                <a:gd name="T37" fmla="*/ 6436 h 6436"/>
                <a:gd name="T38" fmla="*/ 0 w 10666"/>
                <a:gd name="T39" fmla="*/ 6436 h 6436"/>
                <a:gd name="T40" fmla="*/ 0 w 10666"/>
                <a:gd name="T41" fmla="*/ 207 h 6436"/>
                <a:gd name="T42" fmla="*/ 1 w 10666"/>
                <a:gd name="T43" fmla="*/ 186 h 6436"/>
                <a:gd name="T44" fmla="*/ 3 w 10666"/>
                <a:gd name="T45" fmla="*/ 166 h 6436"/>
                <a:gd name="T46" fmla="*/ 9 w 10666"/>
                <a:gd name="T47" fmla="*/ 146 h 6436"/>
                <a:gd name="T48" fmla="*/ 16 w 10666"/>
                <a:gd name="T49" fmla="*/ 127 h 6436"/>
                <a:gd name="T50" fmla="*/ 24 w 10666"/>
                <a:gd name="T51" fmla="*/ 109 h 6436"/>
                <a:gd name="T52" fmla="*/ 34 w 10666"/>
                <a:gd name="T53" fmla="*/ 91 h 6436"/>
                <a:gd name="T54" fmla="*/ 47 w 10666"/>
                <a:gd name="T55" fmla="*/ 75 h 6436"/>
                <a:gd name="T56" fmla="*/ 60 w 10666"/>
                <a:gd name="T57" fmla="*/ 61 h 6436"/>
                <a:gd name="T58" fmla="*/ 75 w 10666"/>
                <a:gd name="T59" fmla="*/ 47 h 6436"/>
                <a:gd name="T60" fmla="*/ 91 w 10666"/>
                <a:gd name="T61" fmla="*/ 36 h 6436"/>
                <a:gd name="T62" fmla="*/ 108 w 10666"/>
                <a:gd name="T63" fmla="*/ 25 h 6436"/>
                <a:gd name="T64" fmla="*/ 126 w 10666"/>
                <a:gd name="T65" fmla="*/ 16 h 6436"/>
                <a:gd name="T66" fmla="*/ 146 w 10666"/>
                <a:gd name="T67" fmla="*/ 9 h 6436"/>
                <a:gd name="T68" fmla="*/ 165 w 10666"/>
                <a:gd name="T69" fmla="*/ 5 h 6436"/>
                <a:gd name="T70" fmla="*/ 186 w 10666"/>
                <a:gd name="T71" fmla="*/ 1 h 6436"/>
                <a:gd name="T72" fmla="*/ 207 w 10666"/>
                <a:gd name="T73" fmla="*/ 0 h 6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666" h="6436">
                  <a:moveTo>
                    <a:pt x="207" y="0"/>
                  </a:moveTo>
                  <a:lnTo>
                    <a:pt x="10459" y="0"/>
                  </a:lnTo>
                  <a:lnTo>
                    <a:pt x="10480" y="1"/>
                  </a:lnTo>
                  <a:lnTo>
                    <a:pt x="10500" y="5"/>
                  </a:lnTo>
                  <a:lnTo>
                    <a:pt x="10520" y="9"/>
                  </a:lnTo>
                  <a:lnTo>
                    <a:pt x="10539" y="16"/>
                  </a:lnTo>
                  <a:lnTo>
                    <a:pt x="10557" y="25"/>
                  </a:lnTo>
                  <a:lnTo>
                    <a:pt x="10575" y="36"/>
                  </a:lnTo>
                  <a:lnTo>
                    <a:pt x="10591" y="47"/>
                  </a:lnTo>
                  <a:lnTo>
                    <a:pt x="10605" y="61"/>
                  </a:lnTo>
                  <a:lnTo>
                    <a:pt x="10619" y="75"/>
                  </a:lnTo>
                  <a:lnTo>
                    <a:pt x="10630" y="91"/>
                  </a:lnTo>
                  <a:lnTo>
                    <a:pt x="10641" y="109"/>
                  </a:lnTo>
                  <a:lnTo>
                    <a:pt x="10650" y="127"/>
                  </a:lnTo>
                  <a:lnTo>
                    <a:pt x="10657" y="146"/>
                  </a:lnTo>
                  <a:lnTo>
                    <a:pt x="10661" y="166"/>
                  </a:lnTo>
                  <a:lnTo>
                    <a:pt x="10665" y="186"/>
                  </a:lnTo>
                  <a:lnTo>
                    <a:pt x="10666" y="207"/>
                  </a:lnTo>
                  <a:lnTo>
                    <a:pt x="10666" y="6436"/>
                  </a:lnTo>
                  <a:lnTo>
                    <a:pt x="0" y="6436"/>
                  </a:lnTo>
                  <a:lnTo>
                    <a:pt x="0" y="207"/>
                  </a:lnTo>
                  <a:lnTo>
                    <a:pt x="1" y="186"/>
                  </a:lnTo>
                  <a:lnTo>
                    <a:pt x="3" y="166"/>
                  </a:lnTo>
                  <a:lnTo>
                    <a:pt x="9" y="146"/>
                  </a:lnTo>
                  <a:lnTo>
                    <a:pt x="16" y="127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7" y="75"/>
                  </a:lnTo>
                  <a:lnTo>
                    <a:pt x="60" y="61"/>
                  </a:lnTo>
                  <a:lnTo>
                    <a:pt x="75" y="47"/>
                  </a:lnTo>
                  <a:lnTo>
                    <a:pt x="91" y="36"/>
                  </a:lnTo>
                  <a:lnTo>
                    <a:pt x="108" y="25"/>
                  </a:lnTo>
                  <a:lnTo>
                    <a:pt x="126" y="16"/>
                  </a:lnTo>
                  <a:lnTo>
                    <a:pt x="146" y="9"/>
                  </a:lnTo>
                  <a:lnTo>
                    <a:pt x="165" y="5"/>
                  </a:lnTo>
                  <a:lnTo>
                    <a:pt x="186" y="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9A22C5B2-38A3-42BA-A2A5-9C226BBCFF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913" y="3290235"/>
              <a:ext cx="3205633" cy="18167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11">
              <a:extLst>
                <a:ext uri="{FF2B5EF4-FFF2-40B4-BE49-F238E27FC236}">
                  <a16:creationId xmlns:a16="http://schemas.microsoft.com/office/drawing/2014/main" id="{DCBA333A-EC40-4F75-8BEA-578C20AC3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913" y="3290235"/>
              <a:ext cx="3205633" cy="3371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8D9EE697-72E5-4550-BEC8-BBC473AAE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333" y="5052556"/>
              <a:ext cx="1531494" cy="54465"/>
            </a:xfrm>
            <a:custGeom>
              <a:avLst/>
              <a:gdLst>
                <a:gd name="T0" fmla="*/ 112 w 4724"/>
                <a:gd name="T1" fmla="*/ 0 h 169"/>
                <a:gd name="T2" fmla="*/ 4569 w 4724"/>
                <a:gd name="T3" fmla="*/ 0 h 169"/>
                <a:gd name="T4" fmla="*/ 4724 w 4724"/>
                <a:gd name="T5" fmla="*/ 169 h 169"/>
                <a:gd name="T6" fmla="*/ 0 w 4724"/>
                <a:gd name="T7" fmla="*/ 169 h 169"/>
                <a:gd name="T8" fmla="*/ 112 w 4724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4" h="169">
                  <a:moveTo>
                    <a:pt x="112" y="0"/>
                  </a:moveTo>
                  <a:lnTo>
                    <a:pt x="4569" y="0"/>
                  </a:lnTo>
                  <a:lnTo>
                    <a:pt x="4724" y="169"/>
                  </a:lnTo>
                  <a:lnTo>
                    <a:pt x="0" y="169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4">
              <a:extLst>
                <a:ext uri="{FF2B5EF4-FFF2-40B4-BE49-F238E27FC236}">
                  <a16:creationId xmlns:a16="http://schemas.microsoft.com/office/drawing/2014/main" id="{BB6FC8DA-FF34-4385-94AD-1D87B3EE0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9259" y="3155370"/>
              <a:ext cx="1901074" cy="2045019"/>
            </a:xfrm>
            <a:custGeom>
              <a:avLst/>
              <a:gdLst>
                <a:gd name="T0" fmla="*/ 3815 w 5865"/>
                <a:gd name="T1" fmla="*/ 0 h 6311"/>
                <a:gd name="T2" fmla="*/ 5660 w 5865"/>
                <a:gd name="T3" fmla="*/ 0 h 6311"/>
                <a:gd name="T4" fmla="*/ 5681 w 5865"/>
                <a:gd name="T5" fmla="*/ 1 h 6311"/>
                <a:gd name="T6" fmla="*/ 5702 w 5865"/>
                <a:gd name="T7" fmla="*/ 4 h 6311"/>
                <a:gd name="T8" fmla="*/ 5721 w 5865"/>
                <a:gd name="T9" fmla="*/ 9 h 6311"/>
                <a:gd name="T10" fmla="*/ 5740 w 5865"/>
                <a:gd name="T11" fmla="*/ 16 h 6311"/>
                <a:gd name="T12" fmla="*/ 5758 w 5865"/>
                <a:gd name="T13" fmla="*/ 24 h 6311"/>
                <a:gd name="T14" fmla="*/ 5775 w 5865"/>
                <a:gd name="T15" fmla="*/ 34 h 6311"/>
                <a:gd name="T16" fmla="*/ 5791 w 5865"/>
                <a:gd name="T17" fmla="*/ 46 h 6311"/>
                <a:gd name="T18" fmla="*/ 5805 w 5865"/>
                <a:gd name="T19" fmla="*/ 60 h 6311"/>
                <a:gd name="T20" fmla="*/ 5819 w 5865"/>
                <a:gd name="T21" fmla="*/ 74 h 6311"/>
                <a:gd name="T22" fmla="*/ 5830 w 5865"/>
                <a:gd name="T23" fmla="*/ 90 h 6311"/>
                <a:gd name="T24" fmla="*/ 5841 w 5865"/>
                <a:gd name="T25" fmla="*/ 106 h 6311"/>
                <a:gd name="T26" fmla="*/ 5849 w 5865"/>
                <a:gd name="T27" fmla="*/ 125 h 6311"/>
                <a:gd name="T28" fmla="*/ 5856 w 5865"/>
                <a:gd name="T29" fmla="*/ 143 h 6311"/>
                <a:gd name="T30" fmla="*/ 5861 w 5865"/>
                <a:gd name="T31" fmla="*/ 163 h 6311"/>
                <a:gd name="T32" fmla="*/ 5864 w 5865"/>
                <a:gd name="T33" fmla="*/ 182 h 6311"/>
                <a:gd name="T34" fmla="*/ 5865 w 5865"/>
                <a:gd name="T35" fmla="*/ 203 h 6311"/>
                <a:gd name="T36" fmla="*/ 5865 w 5865"/>
                <a:gd name="T37" fmla="*/ 6311 h 6311"/>
                <a:gd name="T38" fmla="*/ 0 w 5865"/>
                <a:gd name="T39" fmla="*/ 6311 h 6311"/>
                <a:gd name="T40" fmla="*/ 3815 w 5865"/>
                <a:gd name="T41" fmla="*/ 0 h 6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865" h="6311">
                  <a:moveTo>
                    <a:pt x="3815" y="0"/>
                  </a:moveTo>
                  <a:lnTo>
                    <a:pt x="5660" y="0"/>
                  </a:lnTo>
                  <a:lnTo>
                    <a:pt x="5681" y="1"/>
                  </a:lnTo>
                  <a:lnTo>
                    <a:pt x="5702" y="4"/>
                  </a:lnTo>
                  <a:lnTo>
                    <a:pt x="5721" y="9"/>
                  </a:lnTo>
                  <a:lnTo>
                    <a:pt x="5740" y="16"/>
                  </a:lnTo>
                  <a:lnTo>
                    <a:pt x="5758" y="24"/>
                  </a:lnTo>
                  <a:lnTo>
                    <a:pt x="5775" y="34"/>
                  </a:lnTo>
                  <a:lnTo>
                    <a:pt x="5791" y="46"/>
                  </a:lnTo>
                  <a:lnTo>
                    <a:pt x="5805" y="60"/>
                  </a:lnTo>
                  <a:lnTo>
                    <a:pt x="5819" y="74"/>
                  </a:lnTo>
                  <a:lnTo>
                    <a:pt x="5830" y="90"/>
                  </a:lnTo>
                  <a:lnTo>
                    <a:pt x="5841" y="106"/>
                  </a:lnTo>
                  <a:lnTo>
                    <a:pt x="5849" y="125"/>
                  </a:lnTo>
                  <a:lnTo>
                    <a:pt x="5856" y="143"/>
                  </a:lnTo>
                  <a:lnTo>
                    <a:pt x="5861" y="163"/>
                  </a:lnTo>
                  <a:lnTo>
                    <a:pt x="5864" y="182"/>
                  </a:lnTo>
                  <a:lnTo>
                    <a:pt x="5865" y="203"/>
                  </a:lnTo>
                  <a:lnTo>
                    <a:pt x="5865" y="6311"/>
                  </a:lnTo>
                  <a:lnTo>
                    <a:pt x="0" y="6311"/>
                  </a:lnTo>
                  <a:lnTo>
                    <a:pt x="3815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36000"/>
                  </a:schemeClr>
                </a:gs>
                <a:gs pos="50000">
                  <a:schemeClr val="bg1">
                    <a:alpha val="13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64247792-27CC-4EFA-A69B-F13112FC2F14}"/>
              </a:ext>
            </a:extLst>
          </p:cNvPr>
          <p:cNvGraphicFramePr/>
          <p:nvPr/>
        </p:nvGraphicFramePr>
        <p:xfrm>
          <a:off x="6527800" y="1948554"/>
          <a:ext cx="4045465" cy="26969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96F4CA26-D2F0-4BB4-90D9-BDD68DA84DE4}"/>
              </a:ext>
            </a:extLst>
          </p:cNvPr>
          <p:cNvSpPr/>
          <p:nvPr/>
        </p:nvSpPr>
        <p:spPr>
          <a:xfrm>
            <a:off x="0" y="4664061"/>
            <a:ext cx="747365" cy="1640222"/>
          </a:xfrm>
          <a:custGeom>
            <a:avLst/>
            <a:gdLst>
              <a:gd name="connsiteX0" fmla="*/ 0 w 747365"/>
              <a:gd name="connsiteY0" fmla="*/ 0 h 1640222"/>
              <a:gd name="connsiteX1" fmla="*/ 695927 w 747365"/>
              <a:gd name="connsiteY1" fmla="*/ 695927 h 1640222"/>
              <a:gd name="connsiteX2" fmla="*/ 695927 w 747365"/>
              <a:gd name="connsiteY2" fmla="*/ 944295 h 1640222"/>
              <a:gd name="connsiteX3" fmla="*/ 0 w 747365"/>
              <a:gd name="connsiteY3" fmla="*/ 1640222 h 1640222"/>
              <a:gd name="connsiteX4" fmla="*/ 0 w 747365"/>
              <a:gd name="connsiteY4" fmla="*/ 0 h 164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7365" h="1640222">
                <a:moveTo>
                  <a:pt x="0" y="0"/>
                </a:moveTo>
                <a:lnTo>
                  <a:pt x="695927" y="695927"/>
                </a:lnTo>
                <a:cubicBezTo>
                  <a:pt x="764512" y="764512"/>
                  <a:pt x="764512" y="875710"/>
                  <a:pt x="695927" y="944295"/>
                </a:cubicBezTo>
                <a:lnTo>
                  <a:pt x="0" y="1640222"/>
                </a:lnTo>
                <a:lnTo>
                  <a:pt x="0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080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8722C52-9CB4-45C1-82EB-9196F64DC3D7}"/>
              </a:ext>
            </a:extLst>
          </p:cNvPr>
          <p:cNvSpPr/>
          <p:nvPr/>
        </p:nvSpPr>
        <p:spPr>
          <a:xfrm>
            <a:off x="869631" y="1235756"/>
            <a:ext cx="2032000" cy="1117600"/>
          </a:xfrm>
          <a:prstGeom prst="roundRect">
            <a:avLst>
              <a:gd name="adj" fmla="val 50000"/>
            </a:avLst>
          </a:prstGeom>
          <a:solidFill>
            <a:srgbClr val="CE29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1FC803C-5FC7-4A18-BA6E-5DBD33A7F1C0}"/>
              </a:ext>
            </a:extLst>
          </p:cNvPr>
          <p:cNvSpPr/>
          <p:nvPr/>
        </p:nvSpPr>
        <p:spPr>
          <a:xfrm>
            <a:off x="869631" y="2832238"/>
            <a:ext cx="2032000" cy="1117600"/>
          </a:xfrm>
          <a:prstGeom prst="roundRect">
            <a:avLst>
              <a:gd name="adj" fmla="val 50000"/>
            </a:avLst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07433DA3-7C45-4A76-A8BA-7C9E688B75A7}"/>
              </a:ext>
            </a:extLst>
          </p:cNvPr>
          <p:cNvSpPr/>
          <p:nvPr/>
        </p:nvSpPr>
        <p:spPr>
          <a:xfrm>
            <a:off x="869631" y="4428720"/>
            <a:ext cx="2032000" cy="1117600"/>
          </a:xfrm>
          <a:prstGeom prst="roundRect">
            <a:avLst>
              <a:gd name="adj" fmla="val 50000"/>
            </a:avLst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A95B40-5207-47C4-80D3-12F9AAE78F33}"/>
              </a:ext>
            </a:extLst>
          </p:cNvPr>
          <p:cNvGrpSpPr/>
          <p:nvPr/>
        </p:nvGrpSpPr>
        <p:grpSpPr>
          <a:xfrm>
            <a:off x="304800" y="666751"/>
            <a:ext cx="12527730" cy="5695950"/>
            <a:chOff x="1250950" y="914400"/>
            <a:chExt cx="6398080" cy="2908996"/>
          </a:xfrm>
          <a:effectLst/>
        </p:grpSpPr>
        <p:sp>
          <p:nvSpPr>
            <p:cNvPr id="19" name="Rounded Rectangle 22">
              <a:extLst>
                <a:ext uri="{FF2B5EF4-FFF2-40B4-BE49-F238E27FC236}">
                  <a16:creationId xmlns:a16="http://schemas.microsoft.com/office/drawing/2014/main" id="{C1454E1C-BFBC-4A22-856A-E784DC9F0092}"/>
                </a:ext>
              </a:extLst>
            </p:cNvPr>
            <p:cNvSpPr/>
            <p:nvPr/>
          </p:nvSpPr>
          <p:spPr>
            <a:xfrm>
              <a:off x="1257299" y="3740139"/>
              <a:ext cx="6391731" cy="8325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ound Same Side Corner Rectangle 23">
              <a:extLst>
                <a:ext uri="{FF2B5EF4-FFF2-40B4-BE49-F238E27FC236}">
                  <a16:creationId xmlns:a16="http://schemas.microsoft.com/office/drawing/2014/main" id="{26DAC503-35EF-4C7A-98E1-7C2E500B299D}"/>
                </a:ext>
              </a:extLst>
            </p:cNvPr>
            <p:cNvSpPr/>
            <p:nvPr/>
          </p:nvSpPr>
          <p:spPr>
            <a:xfrm>
              <a:off x="2209800" y="914400"/>
              <a:ext cx="4605211" cy="2757714"/>
            </a:xfrm>
            <a:prstGeom prst="round2SameRect">
              <a:avLst>
                <a:gd name="adj1" fmla="val 5842"/>
                <a:gd name="adj2" fmla="val 0"/>
              </a:avLst>
            </a:prstGeom>
            <a:gradFill>
              <a:gsLst>
                <a:gs pos="0">
                  <a:schemeClr val="tx1"/>
                </a:gs>
                <a:gs pos="50000">
                  <a:schemeClr val="tx1">
                    <a:lumMod val="95000"/>
                    <a:lumOff val="5000"/>
                  </a:schemeClr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lin ang="5400000" scaled="0"/>
            </a:gradFill>
            <a:ln w="38100">
              <a:gradFill flip="none" rotWithShape="1">
                <a:gsLst>
                  <a:gs pos="0">
                    <a:schemeClr val="bg1">
                      <a:lumMod val="79000"/>
                    </a:schemeClr>
                  </a:gs>
                  <a:gs pos="100000">
                    <a:schemeClr val="bg1">
                      <a:lumMod val="87000"/>
                    </a:schemeClr>
                  </a:gs>
                  <a:gs pos="51000">
                    <a:schemeClr val="bg1">
                      <a:lumMod val="95000"/>
                    </a:schemeClr>
                  </a:gs>
                </a:gsLst>
                <a:lin ang="13500000" scaled="1"/>
                <a:tileRect/>
              </a:gradFill>
            </a:ln>
            <a:effectLst/>
            <a:scene3d>
              <a:camera prst="orthographicFront"/>
              <a:lightRig rig="threePt" dir="t"/>
            </a:scene3d>
            <a:sp3d>
              <a:bevelT w="50800" h="50800"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953BCE3-CE7E-43A5-9A5C-DE2189790136}"/>
                </a:ext>
              </a:extLst>
            </p:cNvPr>
            <p:cNvSpPr/>
            <p:nvPr/>
          </p:nvSpPr>
          <p:spPr>
            <a:xfrm>
              <a:off x="2340705" y="1074057"/>
              <a:ext cx="4343400" cy="24350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5C5411E-69A4-4222-B2CF-3312C24728B1}"/>
                </a:ext>
              </a:extLst>
            </p:cNvPr>
            <p:cNvSpPr/>
            <p:nvPr/>
          </p:nvSpPr>
          <p:spPr>
            <a:xfrm>
              <a:off x="1257299" y="3659415"/>
              <a:ext cx="6391729" cy="12541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6300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A43DFE1-83F6-43B2-93D7-B7EBB773F982}"/>
                </a:ext>
              </a:extLst>
            </p:cNvPr>
            <p:cNvCxnSpPr/>
            <p:nvPr/>
          </p:nvCxnSpPr>
          <p:spPr>
            <a:xfrm>
              <a:off x="1250950" y="3775402"/>
              <a:ext cx="6391729" cy="0"/>
            </a:xfrm>
            <a:prstGeom prst="line">
              <a:avLst/>
            </a:prstGeom>
            <a:ln w="3175"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50000">
                    <a:schemeClr val="bg1">
                      <a:lumMod val="85000"/>
                    </a:schemeClr>
                  </a:gs>
                  <a:gs pos="100000">
                    <a:schemeClr val="bg1">
                      <a:lumMod val="83000"/>
                      <a:alpha val="46000"/>
                    </a:schemeClr>
                  </a:gs>
                </a:gsLst>
                <a:lin ang="10800000" scaled="1"/>
                <a:tileRect/>
              </a:gradFill>
            </a:ln>
            <a:effectLst>
              <a:outerShdw blurRad="12700" dir="5400000" algn="t" rotWithShape="0">
                <a:schemeClr val="bg1">
                  <a:lumMod val="75000"/>
                  <a:alpha val="64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ounded Rectangle 27">
              <a:extLst>
                <a:ext uri="{FF2B5EF4-FFF2-40B4-BE49-F238E27FC236}">
                  <a16:creationId xmlns:a16="http://schemas.microsoft.com/office/drawing/2014/main" id="{3D1BE8A8-DA1B-423B-9829-BFA00D53EEEB}"/>
                </a:ext>
              </a:extLst>
            </p:cNvPr>
            <p:cNvSpPr/>
            <p:nvPr/>
          </p:nvSpPr>
          <p:spPr>
            <a:xfrm>
              <a:off x="7085489" y="3730171"/>
              <a:ext cx="267654" cy="36576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ound Single Corner Rectangle 28">
              <a:extLst>
                <a:ext uri="{FF2B5EF4-FFF2-40B4-BE49-F238E27FC236}">
                  <a16:creationId xmlns:a16="http://schemas.microsoft.com/office/drawing/2014/main" id="{848914F0-4B71-4120-8AAC-B1AC18F5E0D0}"/>
                </a:ext>
              </a:extLst>
            </p:cNvPr>
            <p:cNvSpPr/>
            <p:nvPr/>
          </p:nvSpPr>
          <p:spPr>
            <a:xfrm rot="10800000" flipH="1">
              <a:off x="7366908" y="3659414"/>
              <a:ext cx="282121" cy="163982"/>
            </a:xfrm>
            <a:prstGeom prst="round1Rect">
              <a:avLst>
                <a:gd name="adj" fmla="val 21302"/>
              </a:avLst>
            </a:prstGeom>
            <a:gradFill>
              <a:gsLst>
                <a:gs pos="0">
                  <a:schemeClr val="bg1">
                    <a:alpha val="64000"/>
                  </a:schemeClr>
                </a:gs>
                <a:gs pos="100000">
                  <a:schemeClr val="bg1">
                    <a:lumMod val="83000"/>
                    <a:alpha val="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ound Single Corner Rectangle 29">
              <a:extLst>
                <a:ext uri="{FF2B5EF4-FFF2-40B4-BE49-F238E27FC236}">
                  <a16:creationId xmlns:a16="http://schemas.microsoft.com/office/drawing/2014/main" id="{9C0D9DD6-12DD-4898-ACA1-6EA3DAB989C9}"/>
                </a:ext>
              </a:extLst>
            </p:cNvPr>
            <p:cNvSpPr/>
            <p:nvPr/>
          </p:nvSpPr>
          <p:spPr>
            <a:xfrm rot="10800000">
              <a:off x="1257295" y="3659414"/>
              <a:ext cx="282121" cy="163982"/>
            </a:xfrm>
            <a:prstGeom prst="round1Rect">
              <a:avLst>
                <a:gd name="adj" fmla="val 21302"/>
              </a:avLst>
            </a:prstGeom>
            <a:gradFill>
              <a:gsLst>
                <a:gs pos="0">
                  <a:schemeClr val="bg1">
                    <a:alpha val="27000"/>
                  </a:schemeClr>
                </a:gs>
                <a:gs pos="100000">
                  <a:schemeClr val="bg1">
                    <a:lumMod val="83000"/>
                    <a:alpha val="0"/>
                  </a:schemeClr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ound Same Side Corner Rectangle 30">
              <a:extLst>
                <a:ext uri="{FF2B5EF4-FFF2-40B4-BE49-F238E27FC236}">
                  <a16:creationId xmlns:a16="http://schemas.microsoft.com/office/drawing/2014/main" id="{42757DC2-305F-4D2D-8A0C-0E58CA723687}"/>
                </a:ext>
              </a:extLst>
            </p:cNvPr>
            <p:cNvSpPr/>
            <p:nvPr/>
          </p:nvSpPr>
          <p:spPr>
            <a:xfrm rot="10800000">
              <a:off x="3931784" y="3672340"/>
              <a:ext cx="1042761" cy="67696"/>
            </a:xfrm>
            <a:prstGeom prst="round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>
              <a:innerShdw blurRad="25400" dist="127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 Same Side Corner Rectangle 19">
              <a:extLst>
                <a:ext uri="{FF2B5EF4-FFF2-40B4-BE49-F238E27FC236}">
                  <a16:creationId xmlns:a16="http://schemas.microsoft.com/office/drawing/2014/main" id="{D78F18D8-4B90-4730-99AA-0BF8CCFDA4EE}"/>
                </a:ext>
              </a:extLst>
            </p:cNvPr>
            <p:cNvSpPr/>
            <p:nvPr/>
          </p:nvSpPr>
          <p:spPr>
            <a:xfrm>
              <a:off x="4574594" y="914400"/>
              <a:ext cx="2240418" cy="2757714"/>
            </a:xfrm>
            <a:custGeom>
              <a:avLst/>
              <a:gdLst>
                <a:gd name="connsiteX0" fmla="*/ 161106 w 4605211"/>
                <a:gd name="connsiteY0" fmla="*/ 0 h 2757714"/>
                <a:gd name="connsiteX1" fmla="*/ 4444105 w 4605211"/>
                <a:gd name="connsiteY1" fmla="*/ 0 h 2757714"/>
                <a:gd name="connsiteX2" fmla="*/ 4605211 w 4605211"/>
                <a:gd name="connsiteY2" fmla="*/ 161106 h 2757714"/>
                <a:gd name="connsiteX3" fmla="*/ 4605211 w 4605211"/>
                <a:gd name="connsiteY3" fmla="*/ 2757714 h 2757714"/>
                <a:gd name="connsiteX4" fmla="*/ 4605211 w 4605211"/>
                <a:gd name="connsiteY4" fmla="*/ 2757714 h 2757714"/>
                <a:gd name="connsiteX5" fmla="*/ 0 w 4605211"/>
                <a:gd name="connsiteY5" fmla="*/ 2757714 h 2757714"/>
                <a:gd name="connsiteX6" fmla="*/ 0 w 4605211"/>
                <a:gd name="connsiteY6" fmla="*/ 2757714 h 2757714"/>
                <a:gd name="connsiteX7" fmla="*/ 0 w 4605211"/>
                <a:gd name="connsiteY7" fmla="*/ 161106 h 2757714"/>
                <a:gd name="connsiteX8" fmla="*/ 161106 w 4605211"/>
                <a:gd name="connsiteY8" fmla="*/ 0 h 2757714"/>
                <a:gd name="connsiteX0" fmla="*/ 161106 w 4605211"/>
                <a:gd name="connsiteY0" fmla="*/ 0 h 2757714"/>
                <a:gd name="connsiteX1" fmla="*/ 4444105 w 4605211"/>
                <a:gd name="connsiteY1" fmla="*/ 0 h 2757714"/>
                <a:gd name="connsiteX2" fmla="*/ 4605211 w 4605211"/>
                <a:gd name="connsiteY2" fmla="*/ 161106 h 2757714"/>
                <a:gd name="connsiteX3" fmla="*/ 4605211 w 4605211"/>
                <a:gd name="connsiteY3" fmla="*/ 2757714 h 2757714"/>
                <a:gd name="connsiteX4" fmla="*/ 4605211 w 4605211"/>
                <a:gd name="connsiteY4" fmla="*/ 2757714 h 2757714"/>
                <a:gd name="connsiteX5" fmla="*/ 0 w 4605211"/>
                <a:gd name="connsiteY5" fmla="*/ 2757714 h 2757714"/>
                <a:gd name="connsiteX6" fmla="*/ 0 w 4605211"/>
                <a:gd name="connsiteY6" fmla="*/ 161106 h 2757714"/>
                <a:gd name="connsiteX7" fmla="*/ 161106 w 4605211"/>
                <a:gd name="connsiteY7" fmla="*/ 0 h 2757714"/>
                <a:gd name="connsiteX0" fmla="*/ 161106 w 4605211"/>
                <a:gd name="connsiteY0" fmla="*/ 0 h 2757714"/>
                <a:gd name="connsiteX1" fmla="*/ 4444105 w 4605211"/>
                <a:gd name="connsiteY1" fmla="*/ 0 h 2757714"/>
                <a:gd name="connsiteX2" fmla="*/ 4605211 w 4605211"/>
                <a:gd name="connsiteY2" fmla="*/ 161106 h 2757714"/>
                <a:gd name="connsiteX3" fmla="*/ 4605211 w 4605211"/>
                <a:gd name="connsiteY3" fmla="*/ 2757714 h 2757714"/>
                <a:gd name="connsiteX4" fmla="*/ 4605211 w 4605211"/>
                <a:gd name="connsiteY4" fmla="*/ 2757714 h 2757714"/>
                <a:gd name="connsiteX5" fmla="*/ 0 w 4605211"/>
                <a:gd name="connsiteY5" fmla="*/ 2757714 h 2757714"/>
                <a:gd name="connsiteX6" fmla="*/ 0 w 4605211"/>
                <a:gd name="connsiteY6" fmla="*/ 161106 h 2757714"/>
                <a:gd name="connsiteX7" fmla="*/ 161106 w 4605211"/>
                <a:gd name="connsiteY7" fmla="*/ 0 h 2757714"/>
                <a:gd name="connsiteX0" fmla="*/ 161106 w 4605211"/>
                <a:gd name="connsiteY0" fmla="*/ 0 h 2757714"/>
                <a:gd name="connsiteX1" fmla="*/ 4444105 w 4605211"/>
                <a:gd name="connsiteY1" fmla="*/ 0 h 2757714"/>
                <a:gd name="connsiteX2" fmla="*/ 4605211 w 4605211"/>
                <a:gd name="connsiteY2" fmla="*/ 161106 h 2757714"/>
                <a:gd name="connsiteX3" fmla="*/ 4605211 w 4605211"/>
                <a:gd name="connsiteY3" fmla="*/ 2757714 h 2757714"/>
                <a:gd name="connsiteX4" fmla="*/ 4605211 w 4605211"/>
                <a:gd name="connsiteY4" fmla="*/ 2757714 h 2757714"/>
                <a:gd name="connsiteX5" fmla="*/ 0 w 4605211"/>
                <a:gd name="connsiteY5" fmla="*/ 2757714 h 2757714"/>
                <a:gd name="connsiteX6" fmla="*/ 161106 w 4605211"/>
                <a:gd name="connsiteY6" fmla="*/ 0 h 2757714"/>
                <a:gd name="connsiteX0" fmla="*/ 3755206 w 4605211"/>
                <a:gd name="connsiteY0" fmla="*/ 0 h 2757714"/>
                <a:gd name="connsiteX1" fmla="*/ 4444105 w 4605211"/>
                <a:gd name="connsiteY1" fmla="*/ 0 h 2757714"/>
                <a:gd name="connsiteX2" fmla="*/ 4605211 w 4605211"/>
                <a:gd name="connsiteY2" fmla="*/ 161106 h 2757714"/>
                <a:gd name="connsiteX3" fmla="*/ 4605211 w 4605211"/>
                <a:gd name="connsiteY3" fmla="*/ 2757714 h 2757714"/>
                <a:gd name="connsiteX4" fmla="*/ 4605211 w 4605211"/>
                <a:gd name="connsiteY4" fmla="*/ 2757714 h 2757714"/>
                <a:gd name="connsiteX5" fmla="*/ 0 w 4605211"/>
                <a:gd name="connsiteY5" fmla="*/ 2757714 h 2757714"/>
                <a:gd name="connsiteX6" fmla="*/ 3755206 w 4605211"/>
                <a:gd name="connsiteY6" fmla="*/ 0 h 2757714"/>
                <a:gd name="connsiteX0" fmla="*/ 1735906 w 2585911"/>
                <a:gd name="connsiteY0" fmla="*/ 0 h 2757714"/>
                <a:gd name="connsiteX1" fmla="*/ 2424805 w 2585911"/>
                <a:gd name="connsiteY1" fmla="*/ 0 h 2757714"/>
                <a:gd name="connsiteX2" fmla="*/ 2585911 w 2585911"/>
                <a:gd name="connsiteY2" fmla="*/ 161106 h 2757714"/>
                <a:gd name="connsiteX3" fmla="*/ 2585911 w 2585911"/>
                <a:gd name="connsiteY3" fmla="*/ 2757714 h 2757714"/>
                <a:gd name="connsiteX4" fmla="*/ 2585911 w 2585911"/>
                <a:gd name="connsiteY4" fmla="*/ 2757714 h 2757714"/>
                <a:gd name="connsiteX5" fmla="*/ 0 w 2585911"/>
                <a:gd name="connsiteY5" fmla="*/ 2732314 h 2757714"/>
                <a:gd name="connsiteX6" fmla="*/ 1735906 w 2585911"/>
                <a:gd name="connsiteY6" fmla="*/ 0 h 2757714"/>
                <a:gd name="connsiteX0" fmla="*/ 1147198 w 1997203"/>
                <a:gd name="connsiteY0" fmla="*/ 0 h 2757714"/>
                <a:gd name="connsiteX1" fmla="*/ 1836097 w 1997203"/>
                <a:gd name="connsiteY1" fmla="*/ 0 h 2757714"/>
                <a:gd name="connsiteX2" fmla="*/ 1997203 w 1997203"/>
                <a:gd name="connsiteY2" fmla="*/ 161106 h 2757714"/>
                <a:gd name="connsiteX3" fmla="*/ 1997203 w 1997203"/>
                <a:gd name="connsiteY3" fmla="*/ 2757714 h 2757714"/>
                <a:gd name="connsiteX4" fmla="*/ 1997203 w 1997203"/>
                <a:gd name="connsiteY4" fmla="*/ 2757714 h 2757714"/>
                <a:gd name="connsiteX5" fmla="*/ 0 w 1997203"/>
                <a:gd name="connsiteY5" fmla="*/ 2732314 h 2757714"/>
                <a:gd name="connsiteX6" fmla="*/ 1147198 w 1997203"/>
                <a:gd name="connsiteY6" fmla="*/ 0 h 275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7203" h="2757714">
                  <a:moveTo>
                    <a:pt x="1147198" y="0"/>
                  </a:moveTo>
                  <a:lnTo>
                    <a:pt x="1836097" y="0"/>
                  </a:lnTo>
                  <a:cubicBezTo>
                    <a:pt x="1925073" y="0"/>
                    <a:pt x="1997203" y="72130"/>
                    <a:pt x="1997203" y="161106"/>
                  </a:cubicBezTo>
                  <a:lnTo>
                    <a:pt x="1997203" y="2757714"/>
                  </a:lnTo>
                  <a:lnTo>
                    <a:pt x="1997203" y="2757714"/>
                  </a:lnTo>
                  <a:lnTo>
                    <a:pt x="0" y="2732314"/>
                  </a:lnTo>
                  <a:lnTo>
                    <a:pt x="1147198" y="0"/>
                  </a:lnTo>
                  <a:close/>
                </a:path>
              </a:pathLst>
            </a:custGeom>
            <a:gradFill flip="none" rotWithShape="1">
              <a:gsLst>
                <a:gs pos="21000">
                  <a:schemeClr val="bg1">
                    <a:alpha val="1000"/>
                  </a:schemeClr>
                </a:gs>
                <a:gs pos="100000">
                  <a:schemeClr val="bg1">
                    <a:alpha val="32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B8C39A2F-EB98-421A-9196-A1F82FA0CF1A}"/>
              </a:ext>
            </a:extLst>
          </p:cNvPr>
          <p:cNvSpPr/>
          <p:nvPr/>
        </p:nvSpPr>
        <p:spPr>
          <a:xfrm>
            <a:off x="956403" y="1329942"/>
            <a:ext cx="929228" cy="9292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B0BABAAE-D145-4E69-9C95-2BF9E7E8DBE7}"/>
              </a:ext>
            </a:extLst>
          </p:cNvPr>
          <p:cNvSpPr/>
          <p:nvPr/>
        </p:nvSpPr>
        <p:spPr>
          <a:xfrm>
            <a:off x="956403" y="2926424"/>
            <a:ext cx="929228" cy="9292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3EAFB8C-B68B-4DDE-875A-CD4EB5E2AFA4}"/>
              </a:ext>
            </a:extLst>
          </p:cNvPr>
          <p:cNvSpPr/>
          <p:nvPr/>
        </p:nvSpPr>
        <p:spPr>
          <a:xfrm>
            <a:off x="956403" y="4522906"/>
            <a:ext cx="929228" cy="92922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5340DAF-B574-4E29-BCFD-75116FFA2F8E}"/>
              </a:ext>
            </a:extLst>
          </p:cNvPr>
          <p:cNvGrpSpPr/>
          <p:nvPr/>
        </p:nvGrpSpPr>
        <p:grpSpPr>
          <a:xfrm>
            <a:off x="1247178" y="4814641"/>
            <a:ext cx="347678" cy="345758"/>
            <a:chOff x="5465763" y="3068638"/>
            <a:chExt cx="287337" cy="285750"/>
          </a:xfrm>
          <a:solidFill>
            <a:srgbClr val="7F7F7F"/>
          </a:solidFill>
        </p:grpSpPr>
        <p:sp>
          <p:nvSpPr>
            <p:cNvPr id="37" name="Freeform 617">
              <a:extLst>
                <a:ext uri="{FF2B5EF4-FFF2-40B4-BE49-F238E27FC236}">
                  <a16:creationId xmlns:a16="http://schemas.microsoft.com/office/drawing/2014/main" id="{560F0304-DB18-4871-9394-DA353CAE4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188" y="3068638"/>
              <a:ext cx="119063" cy="38100"/>
            </a:xfrm>
            <a:custGeom>
              <a:avLst/>
              <a:gdLst>
                <a:gd name="T0" fmla="*/ 375 w 375"/>
                <a:gd name="T1" fmla="*/ 62 h 120"/>
                <a:gd name="T2" fmla="*/ 374 w 375"/>
                <a:gd name="T3" fmla="*/ 62 h 120"/>
                <a:gd name="T4" fmla="*/ 373 w 375"/>
                <a:gd name="T5" fmla="*/ 61 h 120"/>
                <a:gd name="T6" fmla="*/ 193 w 375"/>
                <a:gd name="T7" fmla="*/ 1 h 120"/>
                <a:gd name="T8" fmla="*/ 188 w 375"/>
                <a:gd name="T9" fmla="*/ 0 h 120"/>
                <a:gd name="T10" fmla="*/ 183 w 375"/>
                <a:gd name="T11" fmla="*/ 1 h 120"/>
                <a:gd name="T12" fmla="*/ 2 w 375"/>
                <a:gd name="T13" fmla="*/ 61 h 120"/>
                <a:gd name="T14" fmla="*/ 1 w 375"/>
                <a:gd name="T15" fmla="*/ 62 h 120"/>
                <a:gd name="T16" fmla="*/ 0 w 375"/>
                <a:gd name="T17" fmla="*/ 62 h 120"/>
                <a:gd name="T18" fmla="*/ 188 w 375"/>
                <a:gd name="T19" fmla="*/ 120 h 120"/>
                <a:gd name="T20" fmla="*/ 375 w 375"/>
                <a:gd name="T21" fmla="*/ 6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5" h="120">
                  <a:moveTo>
                    <a:pt x="375" y="62"/>
                  </a:moveTo>
                  <a:lnTo>
                    <a:pt x="374" y="62"/>
                  </a:lnTo>
                  <a:lnTo>
                    <a:pt x="373" y="61"/>
                  </a:lnTo>
                  <a:lnTo>
                    <a:pt x="193" y="1"/>
                  </a:lnTo>
                  <a:lnTo>
                    <a:pt x="188" y="0"/>
                  </a:lnTo>
                  <a:lnTo>
                    <a:pt x="183" y="1"/>
                  </a:lnTo>
                  <a:lnTo>
                    <a:pt x="2" y="61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188" y="120"/>
                  </a:lnTo>
                  <a:lnTo>
                    <a:pt x="37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18">
              <a:extLst>
                <a:ext uri="{FF2B5EF4-FFF2-40B4-BE49-F238E27FC236}">
                  <a16:creationId xmlns:a16="http://schemas.microsoft.com/office/drawing/2014/main" id="{F24D198E-92D9-4A19-8B75-61FB0D9B1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275" y="3097213"/>
              <a:ext cx="57150" cy="93663"/>
            </a:xfrm>
            <a:custGeom>
              <a:avLst/>
              <a:gdLst>
                <a:gd name="T0" fmla="*/ 181 w 181"/>
                <a:gd name="T1" fmla="*/ 210 h 295"/>
                <a:gd name="T2" fmla="*/ 181 w 181"/>
                <a:gd name="T3" fmla="*/ 0 h 295"/>
                <a:gd name="T4" fmla="*/ 0 w 181"/>
                <a:gd name="T5" fmla="*/ 56 h 295"/>
                <a:gd name="T6" fmla="*/ 0 w 181"/>
                <a:gd name="T7" fmla="*/ 295 h 295"/>
                <a:gd name="T8" fmla="*/ 171 w 181"/>
                <a:gd name="T9" fmla="*/ 224 h 295"/>
                <a:gd name="T10" fmla="*/ 174 w 181"/>
                <a:gd name="T11" fmla="*/ 222 h 295"/>
                <a:gd name="T12" fmla="*/ 178 w 181"/>
                <a:gd name="T13" fmla="*/ 219 h 295"/>
                <a:gd name="T14" fmla="*/ 180 w 181"/>
                <a:gd name="T15" fmla="*/ 215 h 295"/>
                <a:gd name="T16" fmla="*/ 181 w 181"/>
                <a:gd name="T17" fmla="*/ 21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181" y="210"/>
                  </a:moveTo>
                  <a:lnTo>
                    <a:pt x="181" y="0"/>
                  </a:lnTo>
                  <a:lnTo>
                    <a:pt x="0" y="56"/>
                  </a:lnTo>
                  <a:lnTo>
                    <a:pt x="0" y="295"/>
                  </a:lnTo>
                  <a:lnTo>
                    <a:pt x="171" y="224"/>
                  </a:lnTo>
                  <a:lnTo>
                    <a:pt x="174" y="222"/>
                  </a:lnTo>
                  <a:lnTo>
                    <a:pt x="178" y="219"/>
                  </a:lnTo>
                  <a:lnTo>
                    <a:pt x="180" y="215"/>
                  </a:lnTo>
                  <a:lnTo>
                    <a:pt x="181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19">
              <a:extLst>
                <a:ext uri="{FF2B5EF4-FFF2-40B4-BE49-F238E27FC236}">
                  <a16:creationId xmlns:a16="http://schemas.microsoft.com/office/drawing/2014/main" id="{3B0BF256-8DAA-4CDF-8652-6DCD8C79F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097213"/>
              <a:ext cx="57150" cy="93663"/>
            </a:xfrm>
            <a:custGeom>
              <a:avLst/>
              <a:gdLst>
                <a:gd name="T0" fmla="*/ 9 w 181"/>
                <a:gd name="T1" fmla="*/ 224 h 295"/>
                <a:gd name="T2" fmla="*/ 181 w 181"/>
                <a:gd name="T3" fmla="*/ 295 h 295"/>
                <a:gd name="T4" fmla="*/ 181 w 181"/>
                <a:gd name="T5" fmla="*/ 56 h 295"/>
                <a:gd name="T6" fmla="*/ 0 w 181"/>
                <a:gd name="T7" fmla="*/ 0 h 295"/>
                <a:gd name="T8" fmla="*/ 0 w 181"/>
                <a:gd name="T9" fmla="*/ 210 h 295"/>
                <a:gd name="T10" fmla="*/ 0 w 181"/>
                <a:gd name="T11" fmla="*/ 215 h 295"/>
                <a:gd name="T12" fmla="*/ 2 w 181"/>
                <a:gd name="T13" fmla="*/ 219 h 295"/>
                <a:gd name="T14" fmla="*/ 6 w 181"/>
                <a:gd name="T15" fmla="*/ 222 h 295"/>
                <a:gd name="T16" fmla="*/ 9 w 181"/>
                <a:gd name="T17" fmla="*/ 2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295">
                  <a:moveTo>
                    <a:pt x="9" y="224"/>
                  </a:moveTo>
                  <a:lnTo>
                    <a:pt x="181" y="295"/>
                  </a:lnTo>
                  <a:lnTo>
                    <a:pt x="181" y="56"/>
                  </a:lnTo>
                  <a:lnTo>
                    <a:pt x="0" y="0"/>
                  </a:lnTo>
                  <a:lnTo>
                    <a:pt x="0" y="210"/>
                  </a:lnTo>
                  <a:lnTo>
                    <a:pt x="0" y="215"/>
                  </a:lnTo>
                  <a:lnTo>
                    <a:pt x="2" y="219"/>
                  </a:lnTo>
                  <a:lnTo>
                    <a:pt x="6" y="222"/>
                  </a:lnTo>
                  <a:lnTo>
                    <a:pt x="9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20">
              <a:extLst>
                <a:ext uri="{FF2B5EF4-FFF2-40B4-BE49-F238E27FC236}">
                  <a16:creationId xmlns:a16="http://schemas.microsoft.com/office/drawing/2014/main" id="{686DAC32-9C84-4DC9-88C6-7E85E274D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75" y="3217863"/>
              <a:ext cx="47625" cy="77788"/>
            </a:xfrm>
            <a:custGeom>
              <a:avLst/>
              <a:gdLst>
                <a:gd name="T0" fmla="*/ 0 w 150"/>
                <a:gd name="T1" fmla="*/ 67 h 249"/>
                <a:gd name="T2" fmla="*/ 0 w 150"/>
                <a:gd name="T3" fmla="*/ 249 h 249"/>
                <a:gd name="T4" fmla="*/ 141 w 150"/>
                <a:gd name="T5" fmla="*/ 177 h 249"/>
                <a:gd name="T6" fmla="*/ 146 w 150"/>
                <a:gd name="T7" fmla="*/ 175 h 249"/>
                <a:gd name="T8" fmla="*/ 148 w 150"/>
                <a:gd name="T9" fmla="*/ 171 h 249"/>
                <a:gd name="T10" fmla="*/ 149 w 150"/>
                <a:gd name="T11" fmla="*/ 168 h 249"/>
                <a:gd name="T12" fmla="*/ 150 w 150"/>
                <a:gd name="T13" fmla="*/ 164 h 249"/>
                <a:gd name="T14" fmla="*/ 150 w 150"/>
                <a:gd name="T15" fmla="*/ 0 h 249"/>
                <a:gd name="T16" fmla="*/ 0 w 150"/>
                <a:gd name="T17" fmla="*/ 6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249">
                  <a:moveTo>
                    <a:pt x="0" y="67"/>
                  </a:moveTo>
                  <a:lnTo>
                    <a:pt x="0" y="249"/>
                  </a:lnTo>
                  <a:lnTo>
                    <a:pt x="141" y="177"/>
                  </a:lnTo>
                  <a:lnTo>
                    <a:pt x="146" y="175"/>
                  </a:lnTo>
                  <a:lnTo>
                    <a:pt x="148" y="171"/>
                  </a:lnTo>
                  <a:lnTo>
                    <a:pt x="149" y="168"/>
                  </a:lnTo>
                  <a:lnTo>
                    <a:pt x="150" y="164"/>
                  </a:lnTo>
                  <a:lnTo>
                    <a:pt x="150" y="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21">
              <a:extLst>
                <a:ext uri="{FF2B5EF4-FFF2-40B4-BE49-F238E27FC236}">
                  <a16:creationId xmlns:a16="http://schemas.microsoft.com/office/drawing/2014/main" id="{433A1745-F3E6-4D9F-AE78-D0669E736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263" y="3192463"/>
              <a:ext cx="88900" cy="38100"/>
            </a:xfrm>
            <a:custGeom>
              <a:avLst/>
              <a:gdLst>
                <a:gd name="T0" fmla="*/ 146 w 281"/>
                <a:gd name="T1" fmla="*/ 2 h 120"/>
                <a:gd name="T2" fmla="*/ 143 w 281"/>
                <a:gd name="T3" fmla="*/ 0 h 120"/>
                <a:gd name="T4" fmla="*/ 141 w 281"/>
                <a:gd name="T5" fmla="*/ 0 h 120"/>
                <a:gd name="T6" fmla="*/ 138 w 281"/>
                <a:gd name="T7" fmla="*/ 0 h 120"/>
                <a:gd name="T8" fmla="*/ 134 w 281"/>
                <a:gd name="T9" fmla="*/ 2 h 120"/>
                <a:gd name="T10" fmla="*/ 0 w 281"/>
                <a:gd name="T11" fmla="*/ 55 h 120"/>
                <a:gd name="T12" fmla="*/ 141 w 281"/>
                <a:gd name="T13" fmla="*/ 120 h 120"/>
                <a:gd name="T14" fmla="*/ 281 w 281"/>
                <a:gd name="T15" fmla="*/ 55 h 120"/>
                <a:gd name="T16" fmla="*/ 146 w 281"/>
                <a:gd name="T17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1" h="120">
                  <a:moveTo>
                    <a:pt x="146" y="2"/>
                  </a:moveTo>
                  <a:lnTo>
                    <a:pt x="143" y="0"/>
                  </a:lnTo>
                  <a:lnTo>
                    <a:pt x="141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0" y="55"/>
                  </a:lnTo>
                  <a:lnTo>
                    <a:pt x="141" y="120"/>
                  </a:lnTo>
                  <a:lnTo>
                    <a:pt x="281" y="55"/>
                  </a:lnTo>
                  <a:lnTo>
                    <a:pt x="14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622">
              <a:extLst>
                <a:ext uri="{FF2B5EF4-FFF2-40B4-BE49-F238E27FC236}">
                  <a16:creationId xmlns:a16="http://schemas.microsoft.com/office/drawing/2014/main" id="{CF743A6A-34E4-4283-A2FA-73DA2A8E7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325" y="3217863"/>
              <a:ext cx="47625" cy="77788"/>
            </a:xfrm>
            <a:custGeom>
              <a:avLst/>
              <a:gdLst>
                <a:gd name="T0" fmla="*/ 0 w 151"/>
                <a:gd name="T1" fmla="*/ 164 h 249"/>
                <a:gd name="T2" fmla="*/ 1 w 151"/>
                <a:gd name="T3" fmla="*/ 167 h 249"/>
                <a:gd name="T4" fmla="*/ 2 w 151"/>
                <a:gd name="T5" fmla="*/ 171 h 249"/>
                <a:gd name="T6" fmla="*/ 5 w 151"/>
                <a:gd name="T7" fmla="*/ 175 h 249"/>
                <a:gd name="T8" fmla="*/ 8 w 151"/>
                <a:gd name="T9" fmla="*/ 177 h 249"/>
                <a:gd name="T10" fmla="*/ 151 w 151"/>
                <a:gd name="T11" fmla="*/ 249 h 249"/>
                <a:gd name="T12" fmla="*/ 151 w 151"/>
                <a:gd name="T13" fmla="*/ 67 h 249"/>
                <a:gd name="T14" fmla="*/ 0 w 151"/>
                <a:gd name="T15" fmla="*/ 0 h 249"/>
                <a:gd name="T16" fmla="*/ 0 w 151"/>
                <a:gd name="T17" fmla="*/ 16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249">
                  <a:moveTo>
                    <a:pt x="0" y="164"/>
                  </a:moveTo>
                  <a:lnTo>
                    <a:pt x="1" y="167"/>
                  </a:lnTo>
                  <a:lnTo>
                    <a:pt x="2" y="171"/>
                  </a:lnTo>
                  <a:lnTo>
                    <a:pt x="5" y="175"/>
                  </a:lnTo>
                  <a:lnTo>
                    <a:pt x="8" y="177"/>
                  </a:lnTo>
                  <a:lnTo>
                    <a:pt x="151" y="249"/>
                  </a:lnTo>
                  <a:lnTo>
                    <a:pt x="151" y="67"/>
                  </a:lnTo>
                  <a:lnTo>
                    <a:pt x="0" y="0"/>
                  </a:lnTo>
                  <a:lnTo>
                    <a:pt x="0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623">
              <a:extLst>
                <a:ext uri="{FF2B5EF4-FFF2-40B4-BE49-F238E27FC236}">
                  <a16:creationId xmlns:a16="http://schemas.microsoft.com/office/drawing/2014/main" id="{EE7D9486-123C-45C9-BDB3-DA00258A9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3201988"/>
              <a:ext cx="144463" cy="47625"/>
            </a:xfrm>
            <a:custGeom>
              <a:avLst/>
              <a:gdLst>
                <a:gd name="T0" fmla="*/ 231 w 452"/>
                <a:gd name="T1" fmla="*/ 2 h 151"/>
                <a:gd name="T2" fmla="*/ 225 w 452"/>
                <a:gd name="T3" fmla="*/ 0 h 151"/>
                <a:gd name="T4" fmla="*/ 221 w 452"/>
                <a:gd name="T5" fmla="*/ 2 h 151"/>
                <a:gd name="T6" fmla="*/ 0 w 452"/>
                <a:gd name="T7" fmla="*/ 70 h 151"/>
                <a:gd name="T8" fmla="*/ 225 w 452"/>
                <a:gd name="T9" fmla="*/ 151 h 151"/>
                <a:gd name="T10" fmla="*/ 452 w 452"/>
                <a:gd name="T11" fmla="*/ 70 h 151"/>
                <a:gd name="T12" fmla="*/ 231 w 452"/>
                <a:gd name="T13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2" h="151">
                  <a:moveTo>
                    <a:pt x="231" y="2"/>
                  </a:moveTo>
                  <a:lnTo>
                    <a:pt x="225" y="0"/>
                  </a:lnTo>
                  <a:lnTo>
                    <a:pt x="221" y="2"/>
                  </a:lnTo>
                  <a:lnTo>
                    <a:pt x="0" y="70"/>
                  </a:lnTo>
                  <a:lnTo>
                    <a:pt x="225" y="151"/>
                  </a:lnTo>
                  <a:lnTo>
                    <a:pt x="452" y="70"/>
                  </a:lnTo>
                  <a:lnTo>
                    <a:pt x="23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624">
              <a:extLst>
                <a:ext uri="{FF2B5EF4-FFF2-40B4-BE49-F238E27FC236}">
                  <a16:creationId xmlns:a16="http://schemas.microsoft.com/office/drawing/2014/main" id="{B5DFBDB0-3DFF-4D8F-BEC2-904636867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3230563"/>
              <a:ext cx="76200" cy="123825"/>
            </a:xfrm>
            <a:custGeom>
              <a:avLst/>
              <a:gdLst>
                <a:gd name="T0" fmla="*/ 0 w 240"/>
                <a:gd name="T1" fmla="*/ 285 h 386"/>
                <a:gd name="T2" fmla="*/ 1 w 240"/>
                <a:gd name="T3" fmla="*/ 289 h 386"/>
                <a:gd name="T4" fmla="*/ 2 w 240"/>
                <a:gd name="T5" fmla="*/ 294 h 386"/>
                <a:gd name="T6" fmla="*/ 5 w 240"/>
                <a:gd name="T7" fmla="*/ 297 h 386"/>
                <a:gd name="T8" fmla="*/ 10 w 240"/>
                <a:gd name="T9" fmla="*/ 299 h 386"/>
                <a:gd name="T10" fmla="*/ 240 w 240"/>
                <a:gd name="T11" fmla="*/ 386 h 386"/>
                <a:gd name="T12" fmla="*/ 240 w 240"/>
                <a:gd name="T13" fmla="*/ 84 h 386"/>
                <a:gd name="T14" fmla="*/ 0 w 240"/>
                <a:gd name="T15" fmla="*/ 0 h 386"/>
                <a:gd name="T16" fmla="*/ 0 w 240"/>
                <a:gd name="T17" fmla="*/ 2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386">
                  <a:moveTo>
                    <a:pt x="0" y="285"/>
                  </a:moveTo>
                  <a:lnTo>
                    <a:pt x="1" y="289"/>
                  </a:lnTo>
                  <a:lnTo>
                    <a:pt x="2" y="294"/>
                  </a:lnTo>
                  <a:lnTo>
                    <a:pt x="5" y="297"/>
                  </a:lnTo>
                  <a:lnTo>
                    <a:pt x="10" y="299"/>
                  </a:lnTo>
                  <a:lnTo>
                    <a:pt x="240" y="386"/>
                  </a:lnTo>
                  <a:lnTo>
                    <a:pt x="240" y="84"/>
                  </a:lnTo>
                  <a:lnTo>
                    <a:pt x="0" y="0"/>
                  </a:lnTo>
                  <a:lnTo>
                    <a:pt x="0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625">
              <a:extLst>
                <a:ext uri="{FF2B5EF4-FFF2-40B4-BE49-F238E27FC236}">
                  <a16:creationId xmlns:a16="http://schemas.microsoft.com/office/drawing/2014/main" id="{94374C16-9B1D-4DD6-A4B6-930D71F94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075" y="3230563"/>
              <a:ext cx="76200" cy="123825"/>
            </a:xfrm>
            <a:custGeom>
              <a:avLst/>
              <a:gdLst>
                <a:gd name="T0" fmla="*/ 0 w 241"/>
                <a:gd name="T1" fmla="*/ 386 h 386"/>
                <a:gd name="T2" fmla="*/ 231 w 241"/>
                <a:gd name="T3" fmla="*/ 299 h 386"/>
                <a:gd name="T4" fmla="*/ 235 w 241"/>
                <a:gd name="T5" fmla="*/ 297 h 386"/>
                <a:gd name="T6" fmla="*/ 238 w 241"/>
                <a:gd name="T7" fmla="*/ 294 h 386"/>
                <a:gd name="T8" fmla="*/ 239 w 241"/>
                <a:gd name="T9" fmla="*/ 289 h 386"/>
                <a:gd name="T10" fmla="*/ 241 w 241"/>
                <a:gd name="T11" fmla="*/ 285 h 386"/>
                <a:gd name="T12" fmla="*/ 241 w 241"/>
                <a:gd name="T13" fmla="*/ 0 h 386"/>
                <a:gd name="T14" fmla="*/ 0 w 241"/>
                <a:gd name="T15" fmla="*/ 84 h 386"/>
                <a:gd name="T16" fmla="*/ 0 w 241"/>
                <a:gd name="T17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" h="386">
                  <a:moveTo>
                    <a:pt x="0" y="386"/>
                  </a:moveTo>
                  <a:lnTo>
                    <a:pt x="231" y="299"/>
                  </a:lnTo>
                  <a:lnTo>
                    <a:pt x="235" y="297"/>
                  </a:lnTo>
                  <a:lnTo>
                    <a:pt x="238" y="294"/>
                  </a:lnTo>
                  <a:lnTo>
                    <a:pt x="239" y="289"/>
                  </a:lnTo>
                  <a:lnTo>
                    <a:pt x="241" y="285"/>
                  </a:lnTo>
                  <a:lnTo>
                    <a:pt x="241" y="0"/>
                  </a:lnTo>
                  <a:lnTo>
                    <a:pt x="0" y="8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734B159-E7DC-4D75-9BE6-B7C7C24BB9DF}"/>
              </a:ext>
            </a:extLst>
          </p:cNvPr>
          <p:cNvGrpSpPr/>
          <p:nvPr/>
        </p:nvGrpSpPr>
        <p:grpSpPr>
          <a:xfrm>
            <a:off x="1275991" y="3220080"/>
            <a:ext cx="290052" cy="341916"/>
            <a:chOff x="2627313" y="3071813"/>
            <a:chExt cx="239713" cy="282575"/>
          </a:xfrm>
          <a:solidFill>
            <a:srgbClr val="404040"/>
          </a:solidFill>
        </p:grpSpPr>
        <p:sp>
          <p:nvSpPr>
            <p:cNvPr id="47" name="Freeform 747">
              <a:extLst>
                <a:ext uri="{FF2B5EF4-FFF2-40B4-BE49-F238E27FC236}">
                  <a16:creationId xmlns:a16="http://schemas.microsoft.com/office/drawing/2014/main" id="{DA05B168-1E9F-4460-A1FD-380F7A803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138" y="3071813"/>
              <a:ext cx="115888" cy="125413"/>
            </a:xfrm>
            <a:custGeom>
              <a:avLst/>
              <a:gdLst>
                <a:gd name="T0" fmla="*/ 352 w 361"/>
                <a:gd name="T1" fmla="*/ 21 h 396"/>
                <a:gd name="T2" fmla="*/ 347 w 361"/>
                <a:gd name="T3" fmla="*/ 20 h 396"/>
                <a:gd name="T4" fmla="*/ 343 w 361"/>
                <a:gd name="T5" fmla="*/ 20 h 396"/>
                <a:gd name="T6" fmla="*/ 339 w 361"/>
                <a:gd name="T7" fmla="*/ 22 h 396"/>
                <a:gd name="T8" fmla="*/ 336 w 361"/>
                <a:gd name="T9" fmla="*/ 24 h 396"/>
                <a:gd name="T10" fmla="*/ 321 w 361"/>
                <a:gd name="T11" fmla="*/ 39 h 396"/>
                <a:gd name="T12" fmla="*/ 305 w 361"/>
                <a:gd name="T13" fmla="*/ 51 h 396"/>
                <a:gd name="T14" fmla="*/ 290 w 361"/>
                <a:gd name="T15" fmla="*/ 61 h 396"/>
                <a:gd name="T16" fmla="*/ 273 w 361"/>
                <a:gd name="T17" fmla="*/ 68 h 396"/>
                <a:gd name="T18" fmla="*/ 256 w 361"/>
                <a:gd name="T19" fmla="*/ 74 h 396"/>
                <a:gd name="T20" fmla="*/ 238 w 361"/>
                <a:gd name="T21" fmla="*/ 78 h 396"/>
                <a:gd name="T22" fmla="*/ 218 w 361"/>
                <a:gd name="T23" fmla="*/ 80 h 396"/>
                <a:gd name="T24" fmla="*/ 195 w 361"/>
                <a:gd name="T25" fmla="*/ 80 h 396"/>
                <a:gd name="T26" fmla="*/ 181 w 361"/>
                <a:gd name="T27" fmla="*/ 80 h 396"/>
                <a:gd name="T28" fmla="*/ 167 w 361"/>
                <a:gd name="T29" fmla="*/ 79 h 396"/>
                <a:gd name="T30" fmla="*/ 153 w 361"/>
                <a:gd name="T31" fmla="*/ 77 h 396"/>
                <a:gd name="T32" fmla="*/ 139 w 361"/>
                <a:gd name="T33" fmla="*/ 75 h 396"/>
                <a:gd name="T34" fmla="*/ 125 w 361"/>
                <a:gd name="T35" fmla="*/ 71 h 396"/>
                <a:gd name="T36" fmla="*/ 112 w 361"/>
                <a:gd name="T37" fmla="*/ 67 h 396"/>
                <a:gd name="T38" fmla="*/ 99 w 361"/>
                <a:gd name="T39" fmla="*/ 63 h 396"/>
                <a:gd name="T40" fmla="*/ 86 w 361"/>
                <a:gd name="T41" fmla="*/ 58 h 396"/>
                <a:gd name="T42" fmla="*/ 73 w 361"/>
                <a:gd name="T43" fmla="*/ 52 h 396"/>
                <a:gd name="T44" fmla="*/ 60 w 361"/>
                <a:gd name="T45" fmla="*/ 46 h 396"/>
                <a:gd name="T46" fmla="*/ 48 w 361"/>
                <a:gd name="T47" fmla="*/ 39 h 396"/>
                <a:gd name="T48" fmla="*/ 38 w 361"/>
                <a:gd name="T49" fmla="*/ 32 h 396"/>
                <a:gd name="T50" fmla="*/ 27 w 361"/>
                <a:gd name="T51" fmla="*/ 24 h 396"/>
                <a:gd name="T52" fmla="*/ 17 w 361"/>
                <a:gd name="T53" fmla="*/ 17 h 396"/>
                <a:gd name="T54" fmla="*/ 7 w 361"/>
                <a:gd name="T55" fmla="*/ 8 h 396"/>
                <a:gd name="T56" fmla="*/ 0 w 361"/>
                <a:gd name="T57" fmla="*/ 0 h 396"/>
                <a:gd name="T58" fmla="*/ 0 w 361"/>
                <a:gd name="T59" fmla="*/ 396 h 396"/>
                <a:gd name="T60" fmla="*/ 361 w 361"/>
                <a:gd name="T61" fmla="*/ 396 h 396"/>
                <a:gd name="T62" fmla="*/ 361 w 361"/>
                <a:gd name="T63" fmla="*/ 35 h 396"/>
                <a:gd name="T64" fmla="*/ 360 w 361"/>
                <a:gd name="T65" fmla="*/ 31 h 396"/>
                <a:gd name="T66" fmla="*/ 358 w 361"/>
                <a:gd name="T67" fmla="*/ 26 h 396"/>
                <a:gd name="T68" fmla="*/ 356 w 361"/>
                <a:gd name="T69" fmla="*/ 23 h 396"/>
                <a:gd name="T70" fmla="*/ 352 w 361"/>
                <a:gd name="T71" fmla="*/ 21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1" h="396">
                  <a:moveTo>
                    <a:pt x="352" y="21"/>
                  </a:moveTo>
                  <a:lnTo>
                    <a:pt x="347" y="20"/>
                  </a:lnTo>
                  <a:lnTo>
                    <a:pt x="343" y="20"/>
                  </a:lnTo>
                  <a:lnTo>
                    <a:pt x="339" y="22"/>
                  </a:lnTo>
                  <a:lnTo>
                    <a:pt x="336" y="24"/>
                  </a:lnTo>
                  <a:lnTo>
                    <a:pt x="321" y="39"/>
                  </a:lnTo>
                  <a:lnTo>
                    <a:pt x="305" y="51"/>
                  </a:lnTo>
                  <a:lnTo>
                    <a:pt x="290" y="61"/>
                  </a:lnTo>
                  <a:lnTo>
                    <a:pt x="273" y="68"/>
                  </a:lnTo>
                  <a:lnTo>
                    <a:pt x="256" y="74"/>
                  </a:lnTo>
                  <a:lnTo>
                    <a:pt x="238" y="78"/>
                  </a:lnTo>
                  <a:lnTo>
                    <a:pt x="218" y="80"/>
                  </a:lnTo>
                  <a:lnTo>
                    <a:pt x="195" y="80"/>
                  </a:lnTo>
                  <a:lnTo>
                    <a:pt x="181" y="80"/>
                  </a:lnTo>
                  <a:lnTo>
                    <a:pt x="167" y="79"/>
                  </a:lnTo>
                  <a:lnTo>
                    <a:pt x="153" y="77"/>
                  </a:lnTo>
                  <a:lnTo>
                    <a:pt x="139" y="75"/>
                  </a:lnTo>
                  <a:lnTo>
                    <a:pt x="125" y="71"/>
                  </a:lnTo>
                  <a:lnTo>
                    <a:pt x="112" y="67"/>
                  </a:lnTo>
                  <a:lnTo>
                    <a:pt x="99" y="63"/>
                  </a:lnTo>
                  <a:lnTo>
                    <a:pt x="86" y="58"/>
                  </a:lnTo>
                  <a:lnTo>
                    <a:pt x="73" y="52"/>
                  </a:lnTo>
                  <a:lnTo>
                    <a:pt x="60" y="46"/>
                  </a:lnTo>
                  <a:lnTo>
                    <a:pt x="48" y="39"/>
                  </a:lnTo>
                  <a:lnTo>
                    <a:pt x="38" y="32"/>
                  </a:lnTo>
                  <a:lnTo>
                    <a:pt x="27" y="24"/>
                  </a:lnTo>
                  <a:lnTo>
                    <a:pt x="17" y="17"/>
                  </a:lnTo>
                  <a:lnTo>
                    <a:pt x="7" y="8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361" y="396"/>
                  </a:lnTo>
                  <a:lnTo>
                    <a:pt x="361" y="35"/>
                  </a:lnTo>
                  <a:lnTo>
                    <a:pt x="360" y="31"/>
                  </a:lnTo>
                  <a:lnTo>
                    <a:pt x="358" y="26"/>
                  </a:lnTo>
                  <a:lnTo>
                    <a:pt x="356" y="23"/>
                  </a:lnTo>
                  <a:lnTo>
                    <a:pt x="352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748">
              <a:extLst>
                <a:ext uri="{FF2B5EF4-FFF2-40B4-BE49-F238E27FC236}">
                  <a16:creationId xmlns:a16="http://schemas.microsoft.com/office/drawing/2014/main" id="{9E7D57B1-B4D4-414C-A0D8-33BDD0298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313" y="3206750"/>
              <a:ext cx="114300" cy="147638"/>
            </a:xfrm>
            <a:custGeom>
              <a:avLst/>
              <a:gdLst>
                <a:gd name="T0" fmla="*/ 0 w 361"/>
                <a:gd name="T1" fmla="*/ 152 h 464"/>
                <a:gd name="T2" fmla="*/ 0 w 361"/>
                <a:gd name="T3" fmla="*/ 153 h 464"/>
                <a:gd name="T4" fmla="*/ 0 w 361"/>
                <a:gd name="T5" fmla="*/ 154 h 464"/>
                <a:gd name="T6" fmla="*/ 3 w 361"/>
                <a:gd name="T7" fmla="*/ 166 h 464"/>
                <a:gd name="T8" fmla="*/ 12 w 361"/>
                <a:gd name="T9" fmla="*/ 192 h 464"/>
                <a:gd name="T10" fmla="*/ 20 w 361"/>
                <a:gd name="T11" fmla="*/ 211 h 464"/>
                <a:gd name="T12" fmla="*/ 31 w 361"/>
                <a:gd name="T13" fmla="*/ 231 h 464"/>
                <a:gd name="T14" fmla="*/ 45 w 361"/>
                <a:gd name="T15" fmla="*/ 253 h 464"/>
                <a:gd name="T16" fmla="*/ 61 w 361"/>
                <a:gd name="T17" fmla="*/ 277 h 464"/>
                <a:gd name="T18" fmla="*/ 71 w 361"/>
                <a:gd name="T19" fmla="*/ 289 h 464"/>
                <a:gd name="T20" fmla="*/ 82 w 361"/>
                <a:gd name="T21" fmla="*/ 302 h 464"/>
                <a:gd name="T22" fmla="*/ 94 w 361"/>
                <a:gd name="T23" fmla="*/ 314 h 464"/>
                <a:gd name="T24" fmla="*/ 107 w 361"/>
                <a:gd name="T25" fmla="*/ 327 h 464"/>
                <a:gd name="T26" fmla="*/ 121 w 361"/>
                <a:gd name="T27" fmla="*/ 339 h 464"/>
                <a:gd name="T28" fmla="*/ 136 w 361"/>
                <a:gd name="T29" fmla="*/ 352 h 464"/>
                <a:gd name="T30" fmla="*/ 152 w 361"/>
                <a:gd name="T31" fmla="*/ 364 h 464"/>
                <a:gd name="T32" fmla="*/ 170 w 361"/>
                <a:gd name="T33" fmla="*/ 377 h 464"/>
                <a:gd name="T34" fmla="*/ 188 w 361"/>
                <a:gd name="T35" fmla="*/ 389 h 464"/>
                <a:gd name="T36" fmla="*/ 209 w 361"/>
                <a:gd name="T37" fmla="*/ 401 h 464"/>
                <a:gd name="T38" fmla="*/ 230 w 361"/>
                <a:gd name="T39" fmla="*/ 412 h 464"/>
                <a:gd name="T40" fmla="*/ 254 w 361"/>
                <a:gd name="T41" fmla="*/ 423 h 464"/>
                <a:gd name="T42" fmla="*/ 278 w 361"/>
                <a:gd name="T43" fmla="*/ 434 h 464"/>
                <a:gd name="T44" fmla="*/ 304 w 361"/>
                <a:gd name="T45" fmla="*/ 445 h 464"/>
                <a:gd name="T46" fmla="*/ 332 w 361"/>
                <a:gd name="T47" fmla="*/ 454 h 464"/>
                <a:gd name="T48" fmla="*/ 361 w 361"/>
                <a:gd name="T49" fmla="*/ 464 h 464"/>
                <a:gd name="T50" fmla="*/ 361 w 361"/>
                <a:gd name="T51" fmla="*/ 0 h 464"/>
                <a:gd name="T52" fmla="*/ 0 w 361"/>
                <a:gd name="T53" fmla="*/ 0 h 464"/>
                <a:gd name="T54" fmla="*/ 0 w 361"/>
                <a:gd name="T55" fmla="*/ 152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1" h="464">
                  <a:moveTo>
                    <a:pt x="0" y="152"/>
                  </a:moveTo>
                  <a:lnTo>
                    <a:pt x="0" y="153"/>
                  </a:lnTo>
                  <a:lnTo>
                    <a:pt x="0" y="154"/>
                  </a:lnTo>
                  <a:lnTo>
                    <a:pt x="3" y="166"/>
                  </a:lnTo>
                  <a:lnTo>
                    <a:pt x="12" y="192"/>
                  </a:lnTo>
                  <a:lnTo>
                    <a:pt x="20" y="211"/>
                  </a:lnTo>
                  <a:lnTo>
                    <a:pt x="31" y="231"/>
                  </a:lnTo>
                  <a:lnTo>
                    <a:pt x="45" y="253"/>
                  </a:lnTo>
                  <a:lnTo>
                    <a:pt x="61" y="277"/>
                  </a:lnTo>
                  <a:lnTo>
                    <a:pt x="71" y="289"/>
                  </a:lnTo>
                  <a:lnTo>
                    <a:pt x="82" y="302"/>
                  </a:lnTo>
                  <a:lnTo>
                    <a:pt x="94" y="314"/>
                  </a:lnTo>
                  <a:lnTo>
                    <a:pt x="107" y="327"/>
                  </a:lnTo>
                  <a:lnTo>
                    <a:pt x="121" y="339"/>
                  </a:lnTo>
                  <a:lnTo>
                    <a:pt x="136" y="352"/>
                  </a:lnTo>
                  <a:lnTo>
                    <a:pt x="152" y="364"/>
                  </a:lnTo>
                  <a:lnTo>
                    <a:pt x="170" y="377"/>
                  </a:lnTo>
                  <a:lnTo>
                    <a:pt x="188" y="389"/>
                  </a:lnTo>
                  <a:lnTo>
                    <a:pt x="209" y="401"/>
                  </a:lnTo>
                  <a:lnTo>
                    <a:pt x="230" y="412"/>
                  </a:lnTo>
                  <a:lnTo>
                    <a:pt x="254" y="423"/>
                  </a:lnTo>
                  <a:lnTo>
                    <a:pt x="278" y="434"/>
                  </a:lnTo>
                  <a:lnTo>
                    <a:pt x="304" y="445"/>
                  </a:lnTo>
                  <a:lnTo>
                    <a:pt x="332" y="454"/>
                  </a:lnTo>
                  <a:lnTo>
                    <a:pt x="361" y="464"/>
                  </a:lnTo>
                  <a:lnTo>
                    <a:pt x="361" y="0"/>
                  </a:lnTo>
                  <a:lnTo>
                    <a:pt x="0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749">
              <a:extLst>
                <a:ext uri="{FF2B5EF4-FFF2-40B4-BE49-F238E27FC236}">
                  <a16:creationId xmlns:a16="http://schemas.microsoft.com/office/drawing/2014/main" id="{52863FE1-5CD0-43B1-947A-D15784807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313" y="3071813"/>
              <a:ext cx="114300" cy="125413"/>
            </a:xfrm>
            <a:custGeom>
              <a:avLst/>
              <a:gdLst>
                <a:gd name="T0" fmla="*/ 165 w 361"/>
                <a:gd name="T1" fmla="*/ 81 h 397"/>
                <a:gd name="T2" fmla="*/ 143 w 361"/>
                <a:gd name="T3" fmla="*/ 81 h 397"/>
                <a:gd name="T4" fmla="*/ 123 w 361"/>
                <a:gd name="T5" fmla="*/ 79 h 397"/>
                <a:gd name="T6" fmla="*/ 105 w 361"/>
                <a:gd name="T7" fmla="*/ 75 h 397"/>
                <a:gd name="T8" fmla="*/ 87 w 361"/>
                <a:gd name="T9" fmla="*/ 69 h 397"/>
                <a:gd name="T10" fmla="*/ 71 w 361"/>
                <a:gd name="T11" fmla="*/ 62 h 397"/>
                <a:gd name="T12" fmla="*/ 55 w 361"/>
                <a:gd name="T13" fmla="*/ 52 h 397"/>
                <a:gd name="T14" fmla="*/ 40 w 361"/>
                <a:gd name="T15" fmla="*/ 40 h 397"/>
                <a:gd name="T16" fmla="*/ 25 w 361"/>
                <a:gd name="T17" fmla="*/ 25 h 397"/>
                <a:gd name="T18" fmla="*/ 22 w 361"/>
                <a:gd name="T19" fmla="*/ 23 h 397"/>
                <a:gd name="T20" fmla="*/ 18 w 361"/>
                <a:gd name="T21" fmla="*/ 21 h 397"/>
                <a:gd name="T22" fmla="*/ 13 w 361"/>
                <a:gd name="T23" fmla="*/ 21 h 397"/>
                <a:gd name="T24" fmla="*/ 9 w 361"/>
                <a:gd name="T25" fmla="*/ 22 h 397"/>
                <a:gd name="T26" fmla="*/ 5 w 361"/>
                <a:gd name="T27" fmla="*/ 24 h 397"/>
                <a:gd name="T28" fmla="*/ 2 w 361"/>
                <a:gd name="T29" fmla="*/ 27 h 397"/>
                <a:gd name="T30" fmla="*/ 1 w 361"/>
                <a:gd name="T31" fmla="*/ 32 h 397"/>
                <a:gd name="T32" fmla="*/ 0 w 361"/>
                <a:gd name="T33" fmla="*/ 36 h 397"/>
                <a:gd name="T34" fmla="*/ 0 w 361"/>
                <a:gd name="T35" fmla="*/ 397 h 397"/>
                <a:gd name="T36" fmla="*/ 361 w 361"/>
                <a:gd name="T37" fmla="*/ 397 h 397"/>
                <a:gd name="T38" fmla="*/ 361 w 361"/>
                <a:gd name="T39" fmla="*/ 0 h 397"/>
                <a:gd name="T40" fmla="*/ 352 w 361"/>
                <a:gd name="T41" fmla="*/ 8 h 397"/>
                <a:gd name="T42" fmla="*/ 344 w 361"/>
                <a:gd name="T43" fmla="*/ 17 h 397"/>
                <a:gd name="T44" fmla="*/ 334 w 361"/>
                <a:gd name="T45" fmla="*/ 25 h 397"/>
                <a:gd name="T46" fmla="*/ 323 w 361"/>
                <a:gd name="T47" fmla="*/ 33 h 397"/>
                <a:gd name="T48" fmla="*/ 313 w 361"/>
                <a:gd name="T49" fmla="*/ 40 h 397"/>
                <a:gd name="T50" fmla="*/ 301 w 361"/>
                <a:gd name="T51" fmla="*/ 47 h 397"/>
                <a:gd name="T52" fmla="*/ 288 w 361"/>
                <a:gd name="T53" fmla="*/ 53 h 397"/>
                <a:gd name="T54" fmla="*/ 275 w 361"/>
                <a:gd name="T55" fmla="*/ 59 h 397"/>
                <a:gd name="T56" fmla="*/ 262 w 361"/>
                <a:gd name="T57" fmla="*/ 64 h 397"/>
                <a:gd name="T58" fmla="*/ 248 w 361"/>
                <a:gd name="T59" fmla="*/ 68 h 397"/>
                <a:gd name="T60" fmla="*/ 235 w 361"/>
                <a:gd name="T61" fmla="*/ 72 h 397"/>
                <a:gd name="T62" fmla="*/ 222 w 361"/>
                <a:gd name="T63" fmla="*/ 76 h 397"/>
                <a:gd name="T64" fmla="*/ 208 w 361"/>
                <a:gd name="T65" fmla="*/ 78 h 397"/>
                <a:gd name="T66" fmla="*/ 194 w 361"/>
                <a:gd name="T67" fmla="*/ 80 h 397"/>
                <a:gd name="T68" fmla="*/ 179 w 361"/>
                <a:gd name="T69" fmla="*/ 81 h 397"/>
                <a:gd name="T70" fmla="*/ 165 w 361"/>
                <a:gd name="T71" fmla="*/ 8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1" h="397">
                  <a:moveTo>
                    <a:pt x="165" y="81"/>
                  </a:moveTo>
                  <a:lnTo>
                    <a:pt x="143" y="81"/>
                  </a:lnTo>
                  <a:lnTo>
                    <a:pt x="123" y="79"/>
                  </a:lnTo>
                  <a:lnTo>
                    <a:pt x="105" y="75"/>
                  </a:lnTo>
                  <a:lnTo>
                    <a:pt x="87" y="69"/>
                  </a:lnTo>
                  <a:lnTo>
                    <a:pt x="71" y="62"/>
                  </a:lnTo>
                  <a:lnTo>
                    <a:pt x="55" y="52"/>
                  </a:lnTo>
                  <a:lnTo>
                    <a:pt x="40" y="40"/>
                  </a:lnTo>
                  <a:lnTo>
                    <a:pt x="25" y="25"/>
                  </a:lnTo>
                  <a:lnTo>
                    <a:pt x="22" y="23"/>
                  </a:lnTo>
                  <a:lnTo>
                    <a:pt x="18" y="21"/>
                  </a:lnTo>
                  <a:lnTo>
                    <a:pt x="13" y="21"/>
                  </a:lnTo>
                  <a:lnTo>
                    <a:pt x="9" y="22"/>
                  </a:lnTo>
                  <a:lnTo>
                    <a:pt x="5" y="24"/>
                  </a:lnTo>
                  <a:lnTo>
                    <a:pt x="2" y="27"/>
                  </a:lnTo>
                  <a:lnTo>
                    <a:pt x="1" y="32"/>
                  </a:lnTo>
                  <a:lnTo>
                    <a:pt x="0" y="36"/>
                  </a:lnTo>
                  <a:lnTo>
                    <a:pt x="0" y="397"/>
                  </a:lnTo>
                  <a:lnTo>
                    <a:pt x="361" y="397"/>
                  </a:lnTo>
                  <a:lnTo>
                    <a:pt x="361" y="0"/>
                  </a:lnTo>
                  <a:lnTo>
                    <a:pt x="352" y="8"/>
                  </a:lnTo>
                  <a:lnTo>
                    <a:pt x="344" y="17"/>
                  </a:lnTo>
                  <a:lnTo>
                    <a:pt x="334" y="25"/>
                  </a:lnTo>
                  <a:lnTo>
                    <a:pt x="323" y="33"/>
                  </a:lnTo>
                  <a:lnTo>
                    <a:pt x="313" y="40"/>
                  </a:lnTo>
                  <a:lnTo>
                    <a:pt x="301" y="47"/>
                  </a:lnTo>
                  <a:lnTo>
                    <a:pt x="288" y="53"/>
                  </a:lnTo>
                  <a:lnTo>
                    <a:pt x="275" y="59"/>
                  </a:lnTo>
                  <a:lnTo>
                    <a:pt x="262" y="64"/>
                  </a:lnTo>
                  <a:lnTo>
                    <a:pt x="248" y="68"/>
                  </a:lnTo>
                  <a:lnTo>
                    <a:pt x="235" y="72"/>
                  </a:lnTo>
                  <a:lnTo>
                    <a:pt x="222" y="76"/>
                  </a:lnTo>
                  <a:lnTo>
                    <a:pt x="208" y="78"/>
                  </a:lnTo>
                  <a:lnTo>
                    <a:pt x="194" y="80"/>
                  </a:lnTo>
                  <a:lnTo>
                    <a:pt x="179" y="81"/>
                  </a:lnTo>
                  <a:lnTo>
                    <a:pt x="165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750">
              <a:extLst>
                <a:ext uri="{FF2B5EF4-FFF2-40B4-BE49-F238E27FC236}">
                  <a16:creationId xmlns:a16="http://schemas.microsoft.com/office/drawing/2014/main" id="{6B19F8E1-A9A2-4C7C-B4DA-EA52D96D1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138" y="3206750"/>
              <a:ext cx="115888" cy="147638"/>
            </a:xfrm>
            <a:custGeom>
              <a:avLst/>
              <a:gdLst>
                <a:gd name="T0" fmla="*/ 0 w 361"/>
                <a:gd name="T1" fmla="*/ 464 h 464"/>
                <a:gd name="T2" fmla="*/ 29 w 361"/>
                <a:gd name="T3" fmla="*/ 454 h 464"/>
                <a:gd name="T4" fmla="*/ 57 w 361"/>
                <a:gd name="T5" fmla="*/ 445 h 464"/>
                <a:gd name="T6" fmla="*/ 83 w 361"/>
                <a:gd name="T7" fmla="*/ 434 h 464"/>
                <a:gd name="T8" fmla="*/ 107 w 361"/>
                <a:gd name="T9" fmla="*/ 423 h 464"/>
                <a:gd name="T10" fmla="*/ 130 w 361"/>
                <a:gd name="T11" fmla="*/ 412 h 464"/>
                <a:gd name="T12" fmla="*/ 152 w 361"/>
                <a:gd name="T13" fmla="*/ 401 h 464"/>
                <a:gd name="T14" fmla="*/ 172 w 361"/>
                <a:gd name="T15" fmla="*/ 389 h 464"/>
                <a:gd name="T16" fmla="*/ 191 w 361"/>
                <a:gd name="T17" fmla="*/ 377 h 464"/>
                <a:gd name="T18" fmla="*/ 209 w 361"/>
                <a:gd name="T19" fmla="*/ 364 h 464"/>
                <a:gd name="T20" fmla="*/ 225 w 361"/>
                <a:gd name="T21" fmla="*/ 352 h 464"/>
                <a:gd name="T22" fmla="*/ 240 w 361"/>
                <a:gd name="T23" fmla="*/ 339 h 464"/>
                <a:gd name="T24" fmla="*/ 254 w 361"/>
                <a:gd name="T25" fmla="*/ 327 h 464"/>
                <a:gd name="T26" fmla="*/ 267 w 361"/>
                <a:gd name="T27" fmla="*/ 314 h 464"/>
                <a:gd name="T28" fmla="*/ 279 w 361"/>
                <a:gd name="T29" fmla="*/ 302 h 464"/>
                <a:gd name="T30" fmla="*/ 290 w 361"/>
                <a:gd name="T31" fmla="*/ 289 h 464"/>
                <a:gd name="T32" fmla="*/ 299 w 361"/>
                <a:gd name="T33" fmla="*/ 277 h 464"/>
                <a:gd name="T34" fmla="*/ 316 w 361"/>
                <a:gd name="T35" fmla="*/ 254 h 464"/>
                <a:gd name="T36" fmla="*/ 330 w 361"/>
                <a:gd name="T37" fmla="*/ 231 h 464"/>
                <a:gd name="T38" fmla="*/ 341 w 361"/>
                <a:gd name="T39" fmla="*/ 211 h 464"/>
                <a:gd name="T40" fmla="*/ 349 w 361"/>
                <a:gd name="T41" fmla="*/ 192 h 464"/>
                <a:gd name="T42" fmla="*/ 358 w 361"/>
                <a:gd name="T43" fmla="*/ 166 h 464"/>
                <a:gd name="T44" fmla="*/ 361 w 361"/>
                <a:gd name="T45" fmla="*/ 154 h 464"/>
                <a:gd name="T46" fmla="*/ 361 w 361"/>
                <a:gd name="T47" fmla="*/ 153 h 464"/>
                <a:gd name="T48" fmla="*/ 361 w 361"/>
                <a:gd name="T49" fmla="*/ 152 h 464"/>
                <a:gd name="T50" fmla="*/ 361 w 361"/>
                <a:gd name="T51" fmla="*/ 0 h 464"/>
                <a:gd name="T52" fmla="*/ 0 w 361"/>
                <a:gd name="T53" fmla="*/ 0 h 464"/>
                <a:gd name="T54" fmla="*/ 0 w 361"/>
                <a:gd name="T55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1" h="464">
                  <a:moveTo>
                    <a:pt x="0" y="464"/>
                  </a:moveTo>
                  <a:lnTo>
                    <a:pt x="29" y="454"/>
                  </a:lnTo>
                  <a:lnTo>
                    <a:pt x="57" y="445"/>
                  </a:lnTo>
                  <a:lnTo>
                    <a:pt x="83" y="434"/>
                  </a:lnTo>
                  <a:lnTo>
                    <a:pt x="107" y="423"/>
                  </a:lnTo>
                  <a:lnTo>
                    <a:pt x="130" y="412"/>
                  </a:lnTo>
                  <a:lnTo>
                    <a:pt x="152" y="401"/>
                  </a:lnTo>
                  <a:lnTo>
                    <a:pt x="172" y="389"/>
                  </a:lnTo>
                  <a:lnTo>
                    <a:pt x="191" y="377"/>
                  </a:lnTo>
                  <a:lnTo>
                    <a:pt x="209" y="364"/>
                  </a:lnTo>
                  <a:lnTo>
                    <a:pt x="225" y="352"/>
                  </a:lnTo>
                  <a:lnTo>
                    <a:pt x="240" y="339"/>
                  </a:lnTo>
                  <a:lnTo>
                    <a:pt x="254" y="327"/>
                  </a:lnTo>
                  <a:lnTo>
                    <a:pt x="267" y="314"/>
                  </a:lnTo>
                  <a:lnTo>
                    <a:pt x="279" y="302"/>
                  </a:lnTo>
                  <a:lnTo>
                    <a:pt x="290" y="289"/>
                  </a:lnTo>
                  <a:lnTo>
                    <a:pt x="299" y="277"/>
                  </a:lnTo>
                  <a:lnTo>
                    <a:pt x="316" y="254"/>
                  </a:lnTo>
                  <a:lnTo>
                    <a:pt x="330" y="231"/>
                  </a:lnTo>
                  <a:lnTo>
                    <a:pt x="341" y="211"/>
                  </a:lnTo>
                  <a:lnTo>
                    <a:pt x="349" y="192"/>
                  </a:lnTo>
                  <a:lnTo>
                    <a:pt x="358" y="166"/>
                  </a:lnTo>
                  <a:lnTo>
                    <a:pt x="361" y="154"/>
                  </a:lnTo>
                  <a:lnTo>
                    <a:pt x="361" y="153"/>
                  </a:lnTo>
                  <a:lnTo>
                    <a:pt x="361" y="152"/>
                  </a:lnTo>
                  <a:lnTo>
                    <a:pt x="361" y="0"/>
                  </a:lnTo>
                  <a:lnTo>
                    <a:pt x="0" y="0"/>
                  </a:lnTo>
                  <a:lnTo>
                    <a:pt x="0" y="4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DB8CB02-1F59-467A-A02B-16D250F91CF2}"/>
              </a:ext>
            </a:extLst>
          </p:cNvPr>
          <p:cNvGrpSpPr/>
          <p:nvPr/>
        </p:nvGrpSpPr>
        <p:grpSpPr>
          <a:xfrm>
            <a:off x="1248138" y="1627440"/>
            <a:ext cx="345758" cy="334233"/>
            <a:chOff x="3741701" y="1930400"/>
            <a:chExt cx="285750" cy="276225"/>
          </a:xfrm>
          <a:solidFill>
            <a:srgbClr val="CE295E"/>
          </a:solidFill>
        </p:grpSpPr>
        <p:sp>
          <p:nvSpPr>
            <p:cNvPr id="52" name="Freeform 3129">
              <a:extLst>
                <a:ext uri="{FF2B5EF4-FFF2-40B4-BE49-F238E27FC236}">
                  <a16:creationId xmlns:a16="http://schemas.microsoft.com/office/drawing/2014/main" id="{18284948-A782-4EB8-A7BB-AFC8CA7DB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701" y="2063750"/>
              <a:ext cx="285750" cy="142875"/>
            </a:xfrm>
            <a:custGeom>
              <a:avLst/>
              <a:gdLst>
                <a:gd name="T0" fmla="*/ 706 w 718"/>
                <a:gd name="T1" fmla="*/ 0 h 359"/>
                <a:gd name="T2" fmla="*/ 247 w 718"/>
                <a:gd name="T3" fmla="*/ 0 h 359"/>
                <a:gd name="T4" fmla="*/ 138 w 718"/>
                <a:gd name="T5" fmla="*/ 81 h 359"/>
                <a:gd name="T6" fmla="*/ 135 w 718"/>
                <a:gd name="T7" fmla="*/ 83 h 359"/>
                <a:gd name="T8" fmla="*/ 130 w 718"/>
                <a:gd name="T9" fmla="*/ 83 h 359"/>
                <a:gd name="T10" fmla="*/ 128 w 718"/>
                <a:gd name="T11" fmla="*/ 83 h 359"/>
                <a:gd name="T12" fmla="*/ 126 w 718"/>
                <a:gd name="T13" fmla="*/ 82 h 359"/>
                <a:gd name="T14" fmla="*/ 123 w 718"/>
                <a:gd name="T15" fmla="*/ 80 h 359"/>
                <a:gd name="T16" fmla="*/ 121 w 718"/>
                <a:gd name="T17" fmla="*/ 77 h 359"/>
                <a:gd name="T18" fmla="*/ 120 w 718"/>
                <a:gd name="T19" fmla="*/ 75 h 359"/>
                <a:gd name="T20" fmla="*/ 118 w 718"/>
                <a:gd name="T21" fmla="*/ 71 h 359"/>
                <a:gd name="T22" fmla="*/ 118 w 718"/>
                <a:gd name="T23" fmla="*/ 0 h 359"/>
                <a:gd name="T24" fmla="*/ 11 w 718"/>
                <a:gd name="T25" fmla="*/ 0 h 359"/>
                <a:gd name="T26" fmla="*/ 7 w 718"/>
                <a:gd name="T27" fmla="*/ 0 h 359"/>
                <a:gd name="T28" fmla="*/ 3 w 718"/>
                <a:gd name="T29" fmla="*/ 3 h 359"/>
                <a:gd name="T30" fmla="*/ 0 w 718"/>
                <a:gd name="T31" fmla="*/ 7 h 359"/>
                <a:gd name="T32" fmla="*/ 0 w 718"/>
                <a:gd name="T33" fmla="*/ 12 h 359"/>
                <a:gd name="T34" fmla="*/ 0 w 718"/>
                <a:gd name="T35" fmla="*/ 227 h 359"/>
                <a:gd name="T36" fmla="*/ 0 w 718"/>
                <a:gd name="T37" fmla="*/ 232 h 359"/>
                <a:gd name="T38" fmla="*/ 3 w 718"/>
                <a:gd name="T39" fmla="*/ 235 h 359"/>
                <a:gd name="T40" fmla="*/ 7 w 718"/>
                <a:gd name="T41" fmla="*/ 238 h 359"/>
                <a:gd name="T42" fmla="*/ 11 w 718"/>
                <a:gd name="T43" fmla="*/ 239 h 359"/>
                <a:gd name="T44" fmla="*/ 425 w 718"/>
                <a:gd name="T45" fmla="*/ 239 h 359"/>
                <a:gd name="T46" fmla="*/ 554 w 718"/>
                <a:gd name="T47" fmla="*/ 356 h 359"/>
                <a:gd name="T48" fmla="*/ 557 w 718"/>
                <a:gd name="T49" fmla="*/ 358 h 359"/>
                <a:gd name="T50" fmla="*/ 562 w 718"/>
                <a:gd name="T51" fmla="*/ 359 h 359"/>
                <a:gd name="T52" fmla="*/ 565 w 718"/>
                <a:gd name="T53" fmla="*/ 359 h 359"/>
                <a:gd name="T54" fmla="*/ 567 w 718"/>
                <a:gd name="T55" fmla="*/ 358 h 359"/>
                <a:gd name="T56" fmla="*/ 569 w 718"/>
                <a:gd name="T57" fmla="*/ 356 h 359"/>
                <a:gd name="T58" fmla="*/ 572 w 718"/>
                <a:gd name="T59" fmla="*/ 353 h 359"/>
                <a:gd name="T60" fmla="*/ 573 w 718"/>
                <a:gd name="T61" fmla="*/ 351 h 359"/>
                <a:gd name="T62" fmla="*/ 574 w 718"/>
                <a:gd name="T63" fmla="*/ 347 h 359"/>
                <a:gd name="T64" fmla="*/ 574 w 718"/>
                <a:gd name="T65" fmla="*/ 239 h 359"/>
                <a:gd name="T66" fmla="*/ 706 w 718"/>
                <a:gd name="T67" fmla="*/ 239 h 359"/>
                <a:gd name="T68" fmla="*/ 711 w 718"/>
                <a:gd name="T69" fmla="*/ 238 h 359"/>
                <a:gd name="T70" fmla="*/ 714 w 718"/>
                <a:gd name="T71" fmla="*/ 235 h 359"/>
                <a:gd name="T72" fmla="*/ 717 w 718"/>
                <a:gd name="T73" fmla="*/ 232 h 359"/>
                <a:gd name="T74" fmla="*/ 718 w 718"/>
                <a:gd name="T75" fmla="*/ 227 h 359"/>
                <a:gd name="T76" fmla="*/ 718 w 718"/>
                <a:gd name="T77" fmla="*/ 12 h 359"/>
                <a:gd name="T78" fmla="*/ 717 w 718"/>
                <a:gd name="T79" fmla="*/ 7 h 359"/>
                <a:gd name="T80" fmla="*/ 714 w 718"/>
                <a:gd name="T81" fmla="*/ 3 h 359"/>
                <a:gd name="T82" fmla="*/ 711 w 718"/>
                <a:gd name="T83" fmla="*/ 0 h 359"/>
                <a:gd name="T84" fmla="*/ 706 w 718"/>
                <a:gd name="T85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18" h="359">
                  <a:moveTo>
                    <a:pt x="706" y="0"/>
                  </a:moveTo>
                  <a:lnTo>
                    <a:pt x="247" y="0"/>
                  </a:lnTo>
                  <a:lnTo>
                    <a:pt x="138" y="81"/>
                  </a:lnTo>
                  <a:lnTo>
                    <a:pt x="135" y="83"/>
                  </a:lnTo>
                  <a:lnTo>
                    <a:pt x="130" y="83"/>
                  </a:lnTo>
                  <a:lnTo>
                    <a:pt x="128" y="83"/>
                  </a:lnTo>
                  <a:lnTo>
                    <a:pt x="126" y="82"/>
                  </a:lnTo>
                  <a:lnTo>
                    <a:pt x="123" y="80"/>
                  </a:lnTo>
                  <a:lnTo>
                    <a:pt x="121" y="77"/>
                  </a:lnTo>
                  <a:lnTo>
                    <a:pt x="120" y="75"/>
                  </a:lnTo>
                  <a:lnTo>
                    <a:pt x="118" y="71"/>
                  </a:lnTo>
                  <a:lnTo>
                    <a:pt x="118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227"/>
                  </a:lnTo>
                  <a:lnTo>
                    <a:pt x="0" y="232"/>
                  </a:lnTo>
                  <a:lnTo>
                    <a:pt x="3" y="235"/>
                  </a:lnTo>
                  <a:lnTo>
                    <a:pt x="7" y="238"/>
                  </a:lnTo>
                  <a:lnTo>
                    <a:pt x="11" y="239"/>
                  </a:lnTo>
                  <a:lnTo>
                    <a:pt x="425" y="239"/>
                  </a:lnTo>
                  <a:lnTo>
                    <a:pt x="554" y="356"/>
                  </a:lnTo>
                  <a:lnTo>
                    <a:pt x="557" y="358"/>
                  </a:lnTo>
                  <a:lnTo>
                    <a:pt x="562" y="359"/>
                  </a:lnTo>
                  <a:lnTo>
                    <a:pt x="565" y="359"/>
                  </a:lnTo>
                  <a:lnTo>
                    <a:pt x="567" y="358"/>
                  </a:lnTo>
                  <a:lnTo>
                    <a:pt x="569" y="356"/>
                  </a:lnTo>
                  <a:lnTo>
                    <a:pt x="572" y="353"/>
                  </a:lnTo>
                  <a:lnTo>
                    <a:pt x="573" y="351"/>
                  </a:lnTo>
                  <a:lnTo>
                    <a:pt x="574" y="347"/>
                  </a:lnTo>
                  <a:lnTo>
                    <a:pt x="574" y="239"/>
                  </a:lnTo>
                  <a:lnTo>
                    <a:pt x="706" y="239"/>
                  </a:lnTo>
                  <a:lnTo>
                    <a:pt x="711" y="238"/>
                  </a:lnTo>
                  <a:lnTo>
                    <a:pt x="714" y="235"/>
                  </a:lnTo>
                  <a:lnTo>
                    <a:pt x="717" y="232"/>
                  </a:lnTo>
                  <a:lnTo>
                    <a:pt x="718" y="227"/>
                  </a:lnTo>
                  <a:lnTo>
                    <a:pt x="718" y="12"/>
                  </a:lnTo>
                  <a:lnTo>
                    <a:pt x="717" y="7"/>
                  </a:lnTo>
                  <a:lnTo>
                    <a:pt x="714" y="3"/>
                  </a:lnTo>
                  <a:lnTo>
                    <a:pt x="711" y="0"/>
                  </a:lnTo>
                  <a:lnTo>
                    <a:pt x="7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130">
              <a:extLst>
                <a:ext uri="{FF2B5EF4-FFF2-40B4-BE49-F238E27FC236}">
                  <a16:creationId xmlns:a16="http://schemas.microsoft.com/office/drawing/2014/main" id="{DD111FD2-544C-43E5-B327-170E1A1BC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701" y="1930400"/>
              <a:ext cx="285750" cy="152400"/>
            </a:xfrm>
            <a:custGeom>
              <a:avLst/>
              <a:gdLst>
                <a:gd name="T0" fmla="*/ 706 w 718"/>
                <a:gd name="T1" fmla="*/ 0 h 383"/>
                <a:gd name="T2" fmla="*/ 11 w 718"/>
                <a:gd name="T3" fmla="*/ 0 h 383"/>
                <a:gd name="T4" fmla="*/ 7 w 718"/>
                <a:gd name="T5" fmla="*/ 2 h 383"/>
                <a:gd name="T6" fmla="*/ 3 w 718"/>
                <a:gd name="T7" fmla="*/ 4 h 383"/>
                <a:gd name="T8" fmla="*/ 0 w 718"/>
                <a:gd name="T9" fmla="*/ 8 h 383"/>
                <a:gd name="T10" fmla="*/ 0 w 718"/>
                <a:gd name="T11" fmla="*/ 12 h 383"/>
                <a:gd name="T12" fmla="*/ 0 w 718"/>
                <a:gd name="T13" fmla="*/ 251 h 383"/>
                <a:gd name="T14" fmla="*/ 0 w 718"/>
                <a:gd name="T15" fmla="*/ 256 h 383"/>
                <a:gd name="T16" fmla="*/ 3 w 718"/>
                <a:gd name="T17" fmla="*/ 260 h 383"/>
                <a:gd name="T18" fmla="*/ 7 w 718"/>
                <a:gd name="T19" fmla="*/ 262 h 383"/>
                <a:gd name="T20" fmla="*/ 11 w 718"/>
                <a:gd name="T21" fmla="*/ 263 h 383"/>
                <a:gd name="T22" fmla="*/ 130 w 718"/>
                <a:gd name="T23" fmla="*/ 263 h 383"/>
                <a:gd name="T24" fmla="*/ 142 w 718"/>
                <a:gd name="T25" fmla="*/ 263 h 383"/>
                <a:gd name="T26" fmla="*/ 142 w 718"/>
                <a:gd name="T27" fmla="*/ 275 h 383"/>
                <a:gd name="T28" fmla="*/ 142 w 718"/>
                <a:gd name="T29" fmla="*/ 360 h 383"/>
                <a:gd name="T30" fmla="*/ 142 w 718"/>
                <a:gd name="T31" fmla="*/ 383 h 383"/>
                <a:gd name="T32" fmla="*/ 207 w 718"/>
                <a:gd name="T33" fmla="*/ 336 h 383"/>
                <a:gd name="T34" fmla="*/ 233 w 718"/>
                <a:gd name="T35" fmla="*/ 317 h 383"/>
                <a:gd name="T36" fmla="*/ 299 w 718"/>
                <a:gd name="T37" fmla="*/ 266 h 383"/>
                <a:gd name="T38" fmla="*/ 299 w 718"/>
                <a:gd name="T39" fmla="*/ 266 h 383"/>
                <a:gd name="T40" fmla="*/ 299 w 718"/>
                <a:gd name="T41" fmla="*/ 266 h 383"/>
                <a:gd name="T42" fmla="*/ 303 w 718"/>
                <a:gd name="T43" fmla="*/ 263 h 383"/>
                <a:gd name="T44" fmla="*/ 306 w 718"/>
                <a:gd name="T45" fmla="*/ 263 h 383"/>
                <a:gd name="T46" fmla="*/ 706 w 718"/>
                <a:gd name="T47" fmla="*/ 263 h 383"/>
                <a:gd name="T48" fmla="*/ 711 w 718"/>
                <a:gd name="T49" fmla="*/ 262 h 383"/>
                <a:gd name="T50" fmla="*/ 714 w 718"/>
                <a:gd name="T51" fmla="*/ 260 h 383"/>
                <a:gd name="T52" fmla="*/ 717 w 718"/>
                <a:gd name="T53" fmla="*/ 256 h 383"/>
                <a:gd name="T54" fmla="*/ 718 w 718"/>
                <a:gd name="T55" fmla="*/ 251 h 383"/>
                <a:gd name="T56" fmla="*/ 718 w 718"/>
                <a:gd name="T57" fmla="*/ 12 h 383"/>
                <a:gd name="T58" fmla="*/ 717 w 718"/>
                <a:gd name="T59" fmla="*/ 8 h 383"/>
                <a:gd name="T60" fmla="*/ 714 w 718"/>
                <a:gd name="T61" fmla="*/ 4 h 383"/>
                <a:gd name="T62" fmla="*/ 711 w 718"/>
                <a:gd name="T63" fmla="*/ 2 h 383"/>
                <a:gd name="T64" fmla="*/ 706 w 718"/>
                <a:gd name="T65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18" h="383">
                  <a:moveTo>
                    <a:pt x="706" y="0"/>
                  </a:moveTo>
                  <a:lnTo>
                    <a:pt x="11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251"/>
                  </a:lnTo>
                  <a:lnTo>
                    <a:pt x="0" y="256"/>
                  </a:lnTo>
                  <a:lnTo>
                    <a:pt x="3" y="260"/>
                  </a:lnTo>
                  <a:lnTo>
                    <a:pt x="7" y="262"/>
                  </a:lnTo>
                  <a:lnTo>
                    <a:pt x="11" y="263"/>
                  </a:lnTo>
                  <a:lnTo>
                    <a:pt x="130" y="263"/>
                  </a:lnTo>
                  <a:lnTo>
                    <a:pt x="142" y="263"/>
                  </a:lnTo>
                  <a:lnTo>
                    <a:pt x="142" y="275"/>
                  </a:lnTo>
                  <a:lnTo>
                    <a:pt x="142" y="360"/>
                  </a:lnTo>
                  <a:lnTo>
                    <a:pt x="142" y="383"/>
                  </a:lnTo>
                  <a:lnTo>
                    <a:pt x="207" y="336"/>
                  </a:lnTo>
                  <a:lnTo>
                    <a:pt x="233" y="317"/>
                  </a:lnTo>
                  <a:lnTo>
                    <a:pt x="299" y="266"/>
                  </a:lnTo>
                  <a:lnTo>
                    <a:pt x="299" y="266"/>
                  </a:lnTo>
                  <a:lnTo>
                    <a:pt x="299" y="266"/>
                  </a:lnTo>
                  <a:lnTo>
                    <a:pt x="303" y="263"/>
                  </a:lnTo>
                  <a:lnTo>
                    <a:pt x="306" y="263"/>
                  </a:lnTo>
                  <a:lnTo>
                    <a:pt x="706" y="263"/>
                  </a:lnTo>
                  <a:lnTo>
                    <a:pt x="711" y="262"/>
                  </a:lnTo>
                  <a:lnTo>
                    <a:pt x="714" y="260"/>
                  </a:lnTo>
                  <a:lnTo>
                    <a:pt x="717" y="256"/>
                  </a:lnTo>
                  <a:lnTo>
                    <a:pt x="718" y="251"/>
                  </a:lnTo>
                  <a:lnTo>
                    <a:pt x="718" y="12"/>
                  </a:lnTo>
                  <a:lnTo>
                    <a:pt x="717" y="8"/>
                  </a:lnTo>
                  <a:lnTo>
                    <a:pt x="714" y="4"/>
                  </a:lnTo>
                  <a:lnTo>
                    <a:pt x="711" y="2"/>
                  </a:lnTo>
                  <a:lnTo>
                    <a:pt x="7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249C24E5-AEAF-44E7-B2F8-531B026CF7D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791" t="1819" r="-1" b="2654"/>
          <a:stretch/>
        </p:blipFill>
        <p:spPr>
          <a:xfrm>
            <a:off x="7286170" y="0"/>
            <a:ext cx="4905829" cy="6858000"/>
          </a:xfrm>
          <a:prstGeom prst="rect">
            <a:avLst/>
          </a:prstGeom>
        </p:spPr>
      </p:pic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18CE4845-D1D1-4E87-AAAF-B518DB8579AE}"/>
              </a:ext>
            </a:extLst>
          </p:cNvPr>
          <p:cNvGraphicFramePr/>
          <p:nvPr/>
        </p:nvGraphicFramePr>
        <p:xfrm>
          <a:off x="2644693" y="2012553"/>
          <a:ext cx="4522275" cy="301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47706530-92A5-4C68-9FE7-03A5E61B729D}"/>
              </a:ext>
            </a:extLst>
          </p:cNvPr>
          <p:cNvSpPr/>
          <p:nvPr/>
        </p:nvSpPr>
        <p:spPr>
          <a:xfrm>
            <a:off x="7286170" y="0"/>
            <a:ext cx="490583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B53C114-CB63-41F6-A5C6-8C207D3C5EA8}"/>
              </a:ext>
            </a:extLst>
          </p:cNvPr>
          <p:cNvGrpSpPr/>
          <p:nvPr/>
        </p:nvGrpSpPr>
        <p:grpSpPr>
          <a:xfrm>
            <a:off x="7792861" y="1811436"/>
            <a:ext cx="3892448" cy="3235128"/>
            <a:chOff x="7792861" y="1860738"/>
            <a:chExt cx="3892448" cy="3235128"/>
          </a:xfrm>
        </p:grpSpPr>
        <p:sp>
          <p:nvSpPr>
            <p:cNvPr id="54" name="TextBox 47">
              <a:extLst>
                <a:ext uri="{FF2B5EF4-FFF2-40B4-BE49-F238E27FC236}">
                  <a16:creationId xmlns:a16="http://schemas.microsoft.com/office/drawing/2014/main" id="{E7D27B29-4AA1-461C-A69F-75D8EA5EFE64}"/>
                </a:ext>
              </a:extLst>
            </p:cNvPr>
            <p:cNvSpPr txBox="1"/>
            <p:nvPr/>
          </p:nvSpPr>
          <p:spPr>
            <a:xfrm>
              <a:off x="7792861" y="2508806"/>
              <a:ext cx="3892448" cy="193899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. </a:t>
              </a:r>
              <a:r>
                <a:rPr lang="en-US" sz="1400" dirty="0" err="1">
                  <a:solidFill>
                    <a:schemeClr val="bg1"/>
                  </a:solidFill>
                </a:rPr>
                <a:t>Pellentesque</a:t>
              </a:r>
              <a:r>
                <a:rPr lang="en-US" sz="1400" dirty="0">
                  <a:solidFill>
                    <a:schemeClr val="bg1"/>
                  </a:solidFill>
                </a:rPr>
                <a:t>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feugiat</a:t>
              </a:r>
              <a:r>
                <a:rPr lang="en-US" sz="1400" dirty="0">
                  <a:solidFill>
                    <a:schemeClr val="bg1"/>
                  </a:solidFill>
                </a:rPr>
                <a:t> mi. Maecenas </a:t>
              </a:r>
              <a:r>
                <a:rPr lang="en-US" sz="1400" dirty="0" err="1">
                  <a:solidFill>
                    <a:schemeClr val="bg1"/>
                  </a:solidFill>
                </a:rPr>
                <a:t>volutpat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hendrerit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odio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quis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mattis</a:t>
              </a:r>
              <a:r>
                <a:rPr lang="en-US" sz="1400" dirty="0">
                  <a:solidFill>
                    <a:schemeClr val="bg1"/>
                  </a:solidFill>
                </a:rPr>
                <a:t>. </a:t>
              </a:r>
              <a:r>
                <a:rPr lang="en-US" sz="1400" dirty="0" err="1">
                  <a:solidFill>
                    <a:schemeClr val="bg1"/>
                  </a:solidFill>
                </a:rPr>
                <a:t>Quisque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get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leo</a:t>
              </a:r>
              <a:r>
                <a:rPr lang="en-US" sz="1400" dirty="0">
                  <a:solidFill>
                    <a:schemeClr val="bg1"/>
                  </a:solidFill>
                </a:rPr>
                <a:t> sit </a:t>
              </a:r>
              <a:r>
                <a:rPr lang="en-US" sz="1400" dirty="0" err="1">
                  <a:solidFill>
                    <a:schemeClr val="bg1"/>
                  </a:solidFill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nulla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dapibus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lobortis</a:t>
              </a:r>
              <a:r>
                <a:rPr lang="en-US" sz="1400" dirty="0">
                  <a:solidFill>
                    <a:schemeClr val="bg1"/>
                  </a:solidFill>
                </a:rPr>
                <a:t> id </a:t>
              </a:r>
              <a:r>
                <a:rPr lang="en-US" sz="1400" dirty="0" err="1">
                  <a:solidFill>
                    <a:schemeClr val="bg1"/>
                  </a:solidFill>
                </a:rPr>
                <a:t>nec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felis</a:t>
              </a:r>
              <a:r>
                <a:rPr lang="en-US" sz="1400" dirty="0">
                  <a:solidFill>
                    <a:schemeClr val="bg1"/>
                  </a:solidFill>
                </a:rPr>
                <a:t>. Vestibulum </a:t>
              </a:r>
              <a:r>
                <a:rPr lang="en-US" sz="1400" dirty="0" err="1">
                  <a:solidFill>
                    <a:schemeClr val="bg1"/>
                  </a:solidFill>
                </a:rPr>
                <a:t>malesuada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porttitor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st</a:t>
              </a:r>
              <a:r>
                <a:rPr lang="en-US" sz="1400" dirty="0">
                  <a:solidFill>
                    <a:schemeClr val="bg1"/>
                  </a:solidFill>
                </a:rPr>
                <a:t> et pulvinar. </a:t>
              </a:r>
              <a:r>
                <a:rPr lang="en-US" sz="1400" dirty="0" err="1">
                  <a:solidFill>
                    <a:schemeClr val="bg1"/>
                  </a:solidFill>
                </a:rPr>
                <a:t>Vivamus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fermentum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nim</a:t>
              </a:r>
              <a:r>
                <a:rPr lang="en-US" sz="1400" dirty="0">
                  <a:solidFill>
                    <a:schemeClr val="bg1"/>
                  </a:solidFill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</a:rPr>
                <a:t>ut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uismod</a:t>
              </a:r>
              <a:r>
                <a:rPr lang="en-US" sz="1400" dirty="0">
                  <a:solidFill>
                    <a:schemeClr val="bg1"/>
                  </a:solidFill>
                </a:rPr>
                <a:t> dolor </a:t>
              </a:r>
              <a:r>
                <a:rPr lang="en-US" sz="1400" dirty="0" err="1">
                  <a:solidFill>
                    <a:schemeClr val="bg1"/>
                  </a:solidFill>
                </a:rPr>
                <a:t>eleifend</a:t>
              </a:r>
              <a:r>
                <a:rPr lang="en-US" sz="1400" dirty="0">
                  <a:solidFill>
                    <a:schemeClr val="bg1"/>
                  </a:solidFill>
                </a:rPr>
                <a:t> in. </a:t>
              </a:r>
              <a:r>
                <a:rPr lang="en-US" sz="1400" dirty="0" err="1">
                  <a:solidFill>
                    <a:schemeClr val="bg1"/>
                  </a:solidFill>
                </a:rPr>
                <a:t>Aenean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sed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risus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vel</a:t>
              </a:r>
              <a:r>
                <a:rPr lang="en-US" sz="1400" dirty="0">
                  <a:solidFill>
                    <a:schemeClr val="bg1"/>
                  </a:solidFill>
                </a:rPr>
                <a:t> nisi </a:t>
              </a:r>
              <a:r>
                <a:rPr lang="en-US" sz="1400" dirty="0" err="1">
                  <a:solidFill>
                    <a:schemeClr val="bg1"/>
                  </a:solidFill>
                </a:rPr>
                <a:t>molestie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condimentum</a:t>
              </a:r>
              <a:r>
                <a:rPr lang="en-US" sz="1400" dirty="0">
                  <a:solidFill>
                    <a:schemeClr val="bg1"/>
                  </a:solidFill>
                </a:rPr>
                <a:t>. </a:t>
              </a:r>
              <a:r>
                <a:rPr lang="en-US" sz="1400" dirty="0" err="1">
                  <a:solidFill>
                    <a:schemeClr val="bg1"/>
                  </a:solidFill>
                </a:rPr>
                <a:t>Donec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viverra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mauris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</a:rPr>
                <a:t>eros</a:t>
              </a:r>
              <a:r>
                <a:rPr lang="en-US" sz="1400" dirty="0">
                  <a:solidFill>
                    <a:schemeClr val="bg1"/>
                  </a:solidFill>
                </a:rPr>
                <a:t>, non </a:t>
              </a:r>
              <a:r>
                <a:rPr lang="en-US" sz="1400" dirty="0" err="1">
                  <a:solidFill>
                    <a:schemeClr val="bg1"/>
                  </a:solidFill>
                </a:rPr>
                <a:t>feugiat</a:t>
              </a:r>
              <a:r>
                <a:rPr lang="en-US" sz="1400" dirty="0">
                  <a:solidFill>
                    <a:schemeClr val="bg1"/>
                  </a:solidFill>
                </a:rPr>
                <a:t> ex </a:t>
              </a:r>
              <a:r>
                <a:rPr lang="en-US" sz="1400" dirty="0" err="1">
                  <a:solidFill>
                    <a:schemeClr val="bg1"/>
                  </a:solidFill>
                </a:rPr>
                <a:t>placerat</a:t>
              </a:r>
              <a:r>
                <a:rPr lang="en-US" sz="1400" dirty="0">
                  <a:solidFill>
                    <a:schemeClr val="bg1"/>
                  </a:solidFill>
                </a:rPr>
                <a:t> non. </a:t>
              </a: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33D23131-A48A-491A-AD96-201010235D83}"/>
                </a:ext>
              </a:extLst>
            </p:cNvPr>
            <p:cNvCxnSpPr/>
            <p:nvPr/>
          </p:nvCxnSpPr>
          <p:spPr>
            <a:xfrm>
              <a:off x="8088085" y="1860738"/>
              <a:ext cx="330200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9C96BDEF-9902-4BA3-B5E7-230F802445FC}"/>
                </a:ext>
              </a:extLst>
            </p:cNvPr>
            <p:cNvCxnSpPr/>
            <p:nvPr/>
          </p:nvCxnSpPr>
          <p:spPr>
            <a:xfrm>
              <a:off x="8088085" y="5095866"/>
              <a:ext cx="330200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8AFA9225-189E-46DC-BDA1-C08D56D0BD92}"/>
              </a:ext>
            </a:extLst>
          </p:cNvPr>
          <p:cNvSpPr/>
          <p:nvPr/>
        </p:nvSpPr>
        <p:spPr>
          <a:xfrm>
            <a:off x="10506497" y="-18450"/>
            <a:ext cx="1685503" cy="1288708"/>
          </a:xfrm>
          <a:custGeom>
            <a:avLst/>
            <a:gdLst>
              <a:gd name="connsiteX0" fmla="*/ 167913 w 1685503"/>
              <a:gd name="connsiteY0" fmla="*/ 0 h 1288708"/>
              <a:gd name="connsiteX1" fmla="*/ 1685503 w 1685503"/>
              <a:gd name="connsiteY1" fmla="*/ 0 h 1288708"/>
              <a:gd name="connsiteX2" fmla="*/ 1685503 w 1685503"/>
              <a:gd name="connsiteY2" fmla="*/ 724000 h 1288708"/>
              <a:gd name="connsiteX3" fmla="*/ 1172233 w 1685503"/>
              <a:gd name="connsiteY3" fmla="*/ 1237270 h 1288708"/>
              <a:gd name="connsiteX4" fmla="*/ 923865 w 1685503"/>
              <a:gd name="connsiteY4" fmla="*/ 1237270 h 1288708"/>
              <a:gd name="connsiteX5" fmla="*/ 51438 w 1685503"/>
              <a:gd name="connsiteY5" fmla="*/ 364843 h 1288708"/>
              <a:gd name="connsiteX6" fmla="*/ 51438 w 1685503"/>
              <a:gd name="connsiteY6" fmla="*/ 116475 h 1288708"/>
              <a:gd name="connsiteX7" fmla="*/ 167913 w 1685503"/>
              <a:gd name="connsiteY7" fmla="*/ 0 h 1288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85503" h="1288708">
                <a:moveTo>
                  <a:pt x="167913" y="0"/>
                </a:moveTo>
                <a:lnTo>
                  <a:pt x="1685503" y="0"/>
                </a:lnTo>
                <a:lnTo>
                  <a:pt x="1685503" y="724000"/>
                </a:lnTo>
                <a:lnTo>
                  <a:pt x="1172233" y="1237270"/>
                </a:lnTo>
                <a:cubicBezTo>
                  <a:pt x="1103648" y="1305855"/>
                  <a:pt x="992450" y="1305855"/>
                  <a:pt x="923865" y="1237270"/>
                </a:cubicBezTo>
                <a:lnTo>
                  <a:pt x="51438" y="364843"/>
                </a:lnTo>
                <a:cubicBezTo>
                  <a:pt x="-17147" y="296258"/>
                  <a:pt x="-17147" y="185060"/>
                  <a:pt x="51438" y="116475"/>
                </a:cubicBezTo>
                <a:lnTo>
                  <a:pt x="167913" y="0"/>
                </a:lnTo>
                <a:close/>
              </a:path>
            </a:pathLst>
          </a:cu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2F53A894-128F-470D-A36D-330A5994E8C5}"/>
              </a:ext>
            </a:extLst>
          </p:cNvPr>
          <p:cNvSpPr/>
          <p:nvPr/>
        </p:nvSpPr>
        <p:spPr>
          <a:xfrm>
            <a:off x="7389386" y="5177132"/>
            <a:ext cx="3332296" cy="1680868"/>
          </a:xfrm>
          <a:custGeom>
            <a:avLst/>
            <a:gdLst>
              <a:gd name="connsiteX0" fmla="*/ 1666148 w 3332296"/>
              <a:gd name="connsiteY0" fmla="*/ 0 h 1680868"/>
              <a:gd name="connsiteX1" fmla="*/ 1863571 w 3332296"/>
              <a:gd name="connsiteY1" fmla="*/ 81776 h 1680868"/>
              <a:gd name="connsiteX2" fmla="*/ 3250521 w 3332296"/>
              <a:gd name="connsiteY2" fmla="*/ 1468726 h 1680868"/>
              <a:gd name="connsiteX3" fmla="*/ 3332296 w 3332296"/>
              <a:gd name="connsiteY3" fmla="*/ 1666149 h 1680868"/>
              <a:gd name="connsiteX4" fmla="*/ 3330886 w 3332296"/>
              <a:gd name="connsiteY4" fmla="*/ 1680868 h 1680868"/>
              <a:gd name="connsiteX5" fmla="*/ 1411 w 3332296"/>
              <a:gd name="connsiteY5" fmla="*/ 1680868 h 1680868"/>
              <a:gd name="connsiteX6" fmla="*/ 0 w 3332296"/>
              <a:gd name="connsiteY6" fmla="*/ 1666149 h 1680868"/>
              <a:gd name="connsiteX7" fmla="*/ 81775 w 3332296"/>
              <a:gd name="connsiteY7" fmla="*/ 1468726 h 1680868"/>
              <a:gd name="connsiteX8" fmla="*/ 1468725 w 3332296"/>
              <a:gd name="connsiteY8" fmla="*/ 81776 h 1680868"/>
              <a:gd name="connsiteX9" fmla="*/ 1666148 w 3332296"/>
              <a:gd name="connsiteY9" fmla="*/ 0 h 1680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2296" h="1680868">
                <a:moveTo>
                  <a:pt x="1666148" y="0"/>
                </a:moveTo>
                <a:cubicBezTo>
                  <a:pt x="1737601" y="0"/>
                  <a:pt x="1809054" y="27259"/>
                  <a:pt x="1863571" y="81776"/>
                </a:cubicBezTo>
                <a:lnTo>
                  <a:pt x="3250521" y="1468726"/>
                </a:lnTo>
                <a:cubicBezTo>
                  <a:pt x="3305038" y="1523243"/>
                  <a:pt x="3332296" y="1594696"/>
                  <a:pt x="3332296" y="1666149"/>
                </a:cubicBezTo>
                <a:lnTo>
                  <a:pt x="3330886" y="1680868"/>
                </a:lnTo>
                <a:lnTo>
                  <a:pt x="1411" y="1680868"/>
                </a:lnTo>
                <a:lnTo>
                  <a:pt x="0" y="1666149"/>
                </a:lnTo>
                <a:cubicBezTo>
                  <a:pt x="0" y="1594696"/>
                  <a:pt x="27258" y="1523243"/>
                  <a:pt x="81775" y="1468726"/>
                </a:cubicBezTo>
                <a:lnTo>
                  <a:pt x="1468725" y="81776"/>
                </a:lnTo>
                <a:cubicBezTo>
                  <a:pt x="1523242" y="27259"/>
                  <a:pt x="1594695" y="0"/>
                  <a:pt x="1666148" y="0"/>
                </a:cubicBez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1003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19464-7408-4CB8-9C8D-6CAE84CA4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21D134-7BBF-451B-A631-5F4F57ABC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189828-C3DA-4597-BCE6-9ABD37A41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473A0FD-0576-413F-B773-3FD940B32A03}"/>
              </a:ext>
            </a:extLst>
          </p:cNvPr>
          <p:cNvSpPr/>
          <p:nvPr/>
        </p:nvSpPr>
        <p:spPr>
          <a:xfrm rot="18900000">
            <a:off x="-1093206" y="4691650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198D5520-0D79-462C-A3B1-F44A5A874706}"/>
              </a:ext>
            </a:extLst>
          </p:cNvPr>
          <p:cNvGraphicFramePr/>
          <p:nvPr/>
        </p:nvGraphicFramePr>
        <p:xfrm>
          <a:off x="514801" y="1331157"/>
          <a:ext cx="11162399" cy="3213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2F262482-E3E6-4492-8A0F-4EB079969074}"/>
              </a:ext>
            </a:extLst>
          </p:cNvPr>
          <p:cNvSpPr/>
          <p:nvPr/>
        </p:nvSpPr>
        <p:spPr>
          <a:xfrm>
            <a:off x="0" y="4825999"/>
            <a:ext cx="12192000" cy="1574801"/>
          </a:xfrm>
          <a:prstGeom prst="rect">
            <a:avLst/>
          </a:prstGeom>
          <a:pattFill prst="lt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TextBox 47">
            <a:extLst>
              <a:ext uri="{FF2B5EF4-FFF2-40B4-BE49-F238E27FC236}">
                <a16:creationId xmlns:a16="http://schemas.microsoft.com/office/drawing/2014/main" id="{2B5BB5A9-EBF5-4B8A-9F43-73BA73A14309}"/>
              </a:ext>
            </a:extLst>
          </p:cNvPr>
          <p:cNvSpPr txBox="1"/>
          <p:nvPr/>
        </p:nvSpPr>
        <p:spPr>
          <a:xfrm>
            <a:off x="448622" y="5151733"/>
            <a:ext cx="3450278" cy="92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ellentesque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i. Maecenas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olutpat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dio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i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tti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isque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get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eo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apibu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oborti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c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li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Vestibulum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lesuada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rttitor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st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pulvinar.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0C89A7C-22CD-4EA2-8D41-03122A25549C}"/>
              </a:ext>
            </a:extLst>
          </p:cNvPr>
          <p:cNvCxnSpPr/>
          <p:nvPr/>
        </p:nvCxnSpPr>
        <p:spPr>
          <a:xfrm>
            <a:off x="4152900" y="4967068"/>
            <a:ext cx="0" cy="12926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812232B-830B-45D4-B2FA-6E45FE8B1F3C}"/>
              </a:ext>
            </a:extLst>
          </p:cNvPr>
          <p:cNvCxnSpPr/>
          <p:nvPr/>
        </p:nvCxnSpPr>
        <p:spPr>
          <a:xfrm>
            <a:off x="6958239" y="4967068"/>
            <a:ext cx="0" cy="12926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F95A916-8E19-4600-AA32-AD3EA52A5E00}"/>
              </a:ext>
            </a:extLst>
          </p:cNvPr>
          <p:cNvCxnSpPr/>
          <p:nvPr/>
        </p:nvCxnSpPr>
        <p:spPr>
          <a:xfrm>
            <a:off x="9763579" y="4967068"/>
            <a:ext cx="0" cy="12926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99366DF-55F9-4DAD-B4AA-19F758893012}"/>
              </a:ext>
            </a:extLst>
          </p:cNvPr>
          <p:cNvGrpSpPr/>
          <p:nvPr/>
        </p:nvGrpSpPr>
        <p:grpSpPr>
          <a:xfrm>
            <a:off x="7204325" y="5007455"/>
            <a:ext cx="142875" cy="285750"/>
            <a:chOff x="8243888" y="5922963"/>
            <a:chExt cx="142875" cy="285750"/>
          </a:xfrm>
          <a:solidFill>
            <a:srgbClr val="CE295E"/>
          </a:solidFill>
        </p:grpSpPr>
        <p:sp>
          <p:nvSpPr>
            <p:cNvPr id="47" name="Freeform 3404">
              <a:extLst>
                <a:ext uri="{FF2B5EF4-FFF2-40B4-BE49-F238E27FC236}">
                  <a16:creationId xmlns:a16="http://schemas.microsoft.com/office/drawing/2014/main" id="{BA9D6795-82C4-401C-AC5B-270619D00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405">
              <a:extLst>
                <a:ext uri="{FF2B5EF4-FFF2-40B4-BE49-F238E27FC236}">
                  <a16:creationId xmlns:a16="http://schemas.microsoft.com/office/drawing/2014/main" id="{B82B79F5-636F-420F-8B8E-C373BA3028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16EE5B6-604E-4E32-9786-36D540E8F489}"/>
              </a:ext>
            </a:extLst>
          </p:cNvPr>
          <p:cNvGrpSpPr/>
          <p:nvPr/>
        </p:nvGrpSpPr>
        <p:grpSpPr>
          <a:xfrm>
            <a:off x="7445469" y="5007455"/>
            <a:ext cx="142875" cy="285750"/>
            <a:chOff x="8243888" y="5922963"/>
            <a:chExt cx="142875" cy="285750"/>
          </a:xfrm>
          <a:solidFill>
            <a:srgbClr val="CE295E"/>
          </a:solidFill>
        </p:grpSpPr>
        <p:sp>
          <p:nvSpPr>
            <p:cNvPr id="50" name="Freeform 3404">
              <a:extLst>
                <a:ext uri="{FF2B5EF4-FFF2-40B4-BE49-F238E27FC236}">
                  <a16:creationId xmlns:a16="http://schemas.microsoft.com/office/drawing/2014/main" id="{3BC3B015-1EC6-416D-96E5-C0F89067A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05">
              <a:extLst>
                <a:ext uri="{FF2B5EF4-FFF2-40B4-BE49-F238E27FC236}">
                  <a16:creationId xmlns:a16="http://schemas.microsoft.com/office/drawing/2014/main" id="{DDAAEA0D-BADA-4832-B74D-F1F1F8960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72E8F5E-9919-4F1F-A68E-D2914CB188A3}"/>
              </a:ext>
            </a:extLst>
          </p:cNvPr>
          <p:cNvGrpSpPr/>
          <p:nvPr/>
        </p:nvGrpSpPr>
        <p:grpSpPr>
          <a:xfrm>
            <a:off x="7686613" y="5007455"/>
            <a:ext cx="142875" cy="285750"/>
            <a:chOff x="8243888" y="5922963"/>
            <a:chExt cx="142875" cy="285750"/>
          </a:xfrm>
          <a:solidFill>
            <a:srgbClr val="CE295E"/>
          </a:solidFill>
        </p:grpSpPr>
        <p:sp>
          <p:nvSpPr>
            <p:cNvPr id="53" name="Freeform 3404">
              <a:extLst>
                <a:ext uri="{FF2B5EF4-FFF2-40B4-BE49-F238E27FC236}">
                  <a16:creationId xmlns:a16="http://schemas.microsoft.com/office/drawing/2014/main" id="{EA2E6D7A-A585-4528-9DBC-8D853D64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405">
              <a:extLst>
                <a:ext uri="{FF2B5EF4-FFF2-40B4-BE49-F238E27FC236}">
                  <a16:creationId xmlns:a16="http://schemas.microsoft.com/office/drawing/2014/main" id="{3E2016B3-1238-42D2-9E3B-EA63AB8DE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AA67257-5B1E-40FE-9D45-5FC443D2E57D}"/>
              </a:ext>
            </a:extLst>
          </p:cNvPr>
          <p:cNvGrpSpPr/>
          <p:nvPr/>
        </p:nvGrpSpPr>
        <p:grpSpPr>
          <a:xfrm>
            <a:off x="7927757" y="5007455"/>
            <a:ext cx="142875" cy="285750"/>
            <a:chOff x="8243888" y="5922963"/>
            <a:chExt cx="142875" cy="285750"/>
          </a:xfrm>
          <a:solidFill>
            <a:srgbClr val="CE295E"/>
          </a:solidFill>
        </p:grpSpPr>
        <p:sp>
          <p:nvSpPr>
            <p:cNvPr id="56" name="Freeform 3404">
              <a:extLst>
                <a:ext uri="{FF2B5EF4-FFF2-40B4-BE49-F238E27FC236}">
                  <a16:creationId xmlns:a16="http://schemas.microsoft.com/office/drawing/2014/main" id="{717A0EEE-7243-44C3-B5B3-7D2AF85C9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405">
              <a:extLst>
                <a:ext uri="{FF2B5EF4-FFF2-40B4-BE49-F238E27FC236}">
                  <a16:creationId xmlns:a16="http://schemas.microsoft.com/office/drawing/2014/main" id="{2BF833CF-D9B7-4288-8842-6295175F1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AF3F997-F74B-44D5-ADC7-3A6A3E8F33D4}"/>
              </a:ext>
            </a:extLst>
          </p:cNvPr>
          <p:cNvGrpSpPr/>
          <p:nvPr/>
        </p:nvGrpSpPr>
        <p:grpSpPr>
          <a:xfrm>
            <a:off x="8168901" y="5007455"/>
            <a:ext cx="142875" cy="285750"/>
            <a:chOff x="8243888" y="5922963"/>
            <a:chExt cx="142875" cy="285750"/>
          </a:xfrm>
          <a:solidFill>
            <a:srgbClr val="CE295E"/>
          </a:solidFill>
        </p:grpSpPr>
        <p:sp>
          <p:nvSpPr>
            <p:cNvPr id="59" name="Freeform 3404">
              <a:extLst>
                <a:ext uri="{FF2B5EF4-FFF2-40B4-BE49-F238E27FC236}">
                  <a16:creationId xmlns:a16="http://schemas.microsoft.com/office/drawing/2014/main" id="{F260AC42-CAD9-4D1A-B377-83FAF40622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405">
              <a:extLst>
                <a:ext uri="{FF2B5EF4-FFF2-40B4-BE49-F238E27FC236}">
                  <a16:creationId xmlns:a16="http://schemas.microsoft.com/office/drawing/2014/main" id="{DDF78094-8117-41A7-9B35-4CC7CF502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DFBB68F4-0F5F-426F-A4AB-882F8CE2D844}"/>
              </a:ext>
            </a:extLst>
          </p:cNvPr>
          <p:cNvGrpSpPr/>
          <p:nvPr/>
        </p:nvGrpSpPr>
        <p:grpSpPr>
          <a:xfrm>
            <a:off x="8410045" y="5007455"/>
            <a:ext cx="142875" cy="285750"/>
            <a:chOff x="8243888" y="5922963"/>
            <a:chExt cx="142875" cy="285750"/>
          </a:xfrm>
          <a:solidFill>
            <a:srgbClr val="CE295E"/>
          </a:solidFill>
        </p:grpSpPr>
        <p:sp>
          <p:nvSpPr>
            <p:cNvPr id="62" name="Freeform 3404">
              <a:extLst>
                <a:ext uri="{FF2B5EF4-FFF2-40B4-BE49-F238E27FC236}">
                  <a16:creationId xmlns:a16="http://schemas.microsoft.com/office/drawing/2014/main" id="{0038A68E-2052-4CF2-B8D3-9ACEAE5AA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405">
              <a:extLst>
                <a:ext uri="{FF2B5EF4-FFF2-40B4-BE49-F238E27FC236}">
                  <a16:creationId xmlns:a16="http://schemas.microsoft.com/office/drawing/2014/main" id="{1B3A066B-C6DA-4FDE-BEA2-EE41AB090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F84D129-FCE6-4AC4-ACE8-B7104E617F1C}"/>
              </a:ext>
            </a:extLst>
          </p:cNvPr>
          <p:cNvGrpSpPr/>
          <p:nvPr/>
        </p:nvGrpSpPr>
        <p:grpSpPr>
          <a:xfrm>
            <a:off x="8651189" y="5007455"/>
            <a:ext cx="142875" cy="285750"/>
            <a:chOff x="8243888" y="5922963"/>
            <a:chExt cx="142875" cy="285750"/>
          </a:xfrm>
          <a:solidFill>
            <a:srgbClr val="CE295E"/>
          </a:solidFill>
        </p:grpSpPr>
        <p:sp>
          <p:nvSpPr>
            <p:cNvPr id="65" name="Freeform 3404">
              <a:extLst>
                <a:ext uri="{FF2B5EF4-FFF2-40B4-BE49-F238E27FC236}">
                  <a16:creationId xmlns:a16="http://schemas.microsoft.com/office/drawing/2014/main" id="{F8FE8340-F143-4C08-A96E-C631244EC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405">
              <a:extLst>
                <a:ext uri="{FF2B5EF4-FFF2-40B4-BE49-F238E27FC236}">
                  <a16:creationId xmlns:a16="http://schemas.microsoft.com/office/drawing/2014/main" id="{2B4C23AD-B526-42D5-B1FB-BBB3B0C6A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9FBD5D5C-4132-4D5A-BFD0-253BC5B17321}"/>
              </a:ext>
            </a:extLst>
          </p:cNvPr>
          <p:cNvGrpSpPr/>
          <p:nvPr/>
        </p:nvGrpSpPr>
        <p:grpSpPr>
          <a:xfrm>
            <a:off x="8892333" y="5007455"/>
            <a:ext cx="142875" cy="285750"/>
            <a:chOff x="8243888" y="5922963"/>
            <a:chExt cx="142875" cy="285750"/>
          </a:xfrm>
          <a:solidFill>
            <a:srgbClr val="404040"/>
          </a:solidFill>
        </p:grpSpPr>
        <p:sp>
          <p:nvSpPr>
            <p:cNvPr id="68" name="Freeform 3404">
              <a:extLst>
                <a:ext uri="{FF2B5EF4-FFF2-40B4-BE49-F238E27FC236}">
                  <a16:creationId xmlns:a16="http://schemas.microsoft.com/office/drawing/2014/main" id="{0D483D32-A4B8-4F76-9714-02CE4757A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405">
              <a:extLst>
                <a:ext uri="{FF2B5EF4-FFF2-40B4-BE49-F238E27FC236}">
                  <a16:creationId xmlns:a16="http://schemas.microsoft.com/office/drawing/2014/main" id="{BDB860C7-27AD-47A5-9339-09F74DE4A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D5F139B-37E3-4135-BF09-9FC9464608F4}"/>
              </a:ext>
            </a:extLst>
          </p:cNvPr>
          <p:cNvGrpSpPr/>
          <p:nvPr/>
        </p:nvGrpSpPr>
        <p:grpSpPr>
          <a:xfrm>
            <a:off x="9133477" y="5007455"/>
            <a:ext cx="142875" cy="285750"/>
            <a:chOff x="8243888" y="5922963"/>
            <a:chExt cx="142875" cy="285750"/>
          </a:xfrm>
          <a:solidFill>
            <a:srgbClr val="404040"/>
          </a:solidFill>
        </p:grpSpPr>
        <p:sp>
          <p:nvSpPr>
            <p:cNvPr id="71" name="Freeform 3404">
              <a:extLst>
                <a:ext uri="{FF2B5EF4-FFF2-40B4-BE49-F238E27FC236}">
                  <a16:creationId xmlns:a16="http://schemas.microsoft.com/office/drawing/2014/main" id="{842F7458-0CC1-46F1-9FC7-86BC4E3A2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3405">
              <a:extLst>
                <a:ext uri="{FF2B5EF4-FFF2-40B4-BE49-F238E27FC236}">
                  <a16:creationId xmlns:a16="http://schemas.microsoft.com/office/drawing/2014/main" id="{B943DC6D-D6F7-4732-9B88-AB23187B3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CA12D67-A5CF-4E2D-934D-F0F789A371A6}"/>
              </a:ext>
            </a:extLst>
          </p:cNvPr>
          <p:cNvGrpSpPr/>
          <p:nvPr/>
        </p:nvGrpSpPr>
        <p:grpSpPr>
          <a:xfrm>
            <a:off x="9374619" y="5007455"/>
            <a:ext cx="142875" cy="285750"/>
            <a:chOff x="8243888" y="5922963"/>
            <a:chExt cx="142875" cy="285750"/>
          </a:xfrm>
          <a:solidFill>
            <a:srgbClr val="404040"/>
          </a:solidFill>
        </p:grpSpPr>
        <p:sp>
          <p:nvSpPr>
            <p:cNvPr id="74" name="Freeform 3404">
              <a:extLst>
                <a:ext uri="{FF2B5EF4-FFF2-40B4-BE49-F238E27FC236}">
                  <a16:creationId xmlns:a16="http://schemas.microsoft.com/office/drawing/2014/main" id="{09AF100D-3B02-43C5-A04F-75F2171CE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3405">
              <a:extLst>
                <a:ext uri="{FF2B5EF4-FFF2-40B4-BE49-F238E27FC236}">
                  <a16:creationId xmlns:a16="http://schemas.microsoft.com/office/drawing/2014/main" id="{F6FAF6C3-6FD1-4675-867E-596F3B655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4175BCD-213B-40CA-9CAE-8B9ED737540C}"/>
              </a:ext>
            </a:extLst>
          </p:cNvPr>
          <p:cNvGrpSpPr/>
          <p:nvPr/>
        </p:nvGrpSpPr>
        <p:grpSpPr>
          <a:xfrm>
            <a:off x="7204325" y="5470525"/>
            <a:ext cx="142875" cy="285750"/>
            <a:chOff x="8243888" y="5922963"/>
            <a:chExt cx="142875" cy="285750"/>
          </a:xfrm>
          <a:solidFill>
            <a:srgbClr val="404040"/>
          </a:solidFill>
        </p:grpSpPr>
        <p:sp>
          <p:nvSpPr>
            <p:cNvPr id="105" name="Freeform 3404">
              <a:extLst>
                <a:ext uri="{FF2B5EF4-FFF2-40B4-BE49-F238E27FC236}">
                  <a16:creationId xmlns:a16="http://schemas.microsoft.com/office/drawing/2014/main" id="{2785BA74-D166-4FF6-97C6-15E06EA9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405">
              <a:extLst>
                <a:ext uri="{FF2B5EF4-FFF2-40B4-BE49-F238E27FC236}">
                  <a16:creationId xmlns:a16="http://schemas.microsoft.com/office/drawing/2014/main" id="{20C6EF87-9E51-43B7-B2E5-D53ABB6D0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FE49F8B6-6642-4190-A120-D592265F22A2}"/>
              </a:ext>
            </a:extLst>
          </p:cNvPr>
          <p:cNvGrpSpPr/>
          <p:nvPr/>
        </p:nvGrpSpPr>
        <p:grpSpPr>
          <a:xfrm>
            <a:off x="7445469" y="5470525"/>
            <a:ext cx="142875" cy="285750"/>
            <a:chOff x="8243888" y="5922963"/>
            <a:chExt cx="142875" cy="285750"/>
          </a:xfrm>
          <a:solidFill>
            <a:srgbClr val="404040"/>
          </a:solidFill>
        </p:grpSpPr>
        <p:sp>
          <p:nvSpPr>
            <p:cNvPr id="103" name="Freeform 3404">
              <a:extLst>
                <a:ext uri="{FF2B5EF4-FFF2-40B4-BE49-F238E27FC236}">
                  <a16:creationId xmlns:a16="http://schemas.microsoft.com/office/drawing/2014/main" id="{337E5B85-BEE6-45EF-B5B7-94A7EFA30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405">
              <a:extLst>
                <a:ext uri="{FF2B5EF4-FFF2-40B4-BE49-F238E27FC236}">
                  <a16:creationId xmlns:a16="http://schemas.microsoft.com/office/drawing/2014/main" id="{1DFFB19F-0DA6-4EAF-B017-E6295A454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E8B12FCD-7CF6-4B62-812E-F853579B4DDB}"/>
              </a:ext>
            </a:extLst>
          </p:cNvPr>
          <p:cNvGrpSpPr/>
          <p:nvPr/>
        </p:nvGrpSpPr>
        <p:grpSpPr>
          <a:xfrm>
            <a:off x="7686613" y="5470525"/>
            <a:ext cx="142875" cy="285750"/>
            <a:chOff x="8243888" y="5922963"/>
            <a:chExt cx="142875" cy="285750"/>
          </a:xfrm>
          <a:solidFill>
            <a:srgbClr val="7F7F7F"/>
          </a:solidFill>
        </p:grpSpPr>
        <p:sp>
          <p:nvSpPr>
            <p:cNvPr id="101" name="Freeform 3404">
              <a:extLst>
                <a:ext uri="{FF2B5EF4-FFF2-40B4-BE49-F238E27FC236}">
                  <a16:creationId xmlns:a16="http://schemas.microsoft.com/office/drawing/2014/main" id="{FF46E9CB-B554-4301-8DF4-73EFF9AD7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405">
              <a:extLst>
                <a:ext uri="{FF2B5EF4-FFF2-40B4-BE49-F238E27FC236}">
                  <a16:creationId xmlns:a16="http://schemas.microsoft.com/office/drawing/2014/main" id="{C968827B-DE9D-479B-92A2-005568450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8323390A-1919-4FA1-B4AE-98F3EEA705CB}"/>
              </a:ext>
            </a:extLst>
          </p:cNvPr>
          <p:cNvGrpSpPr/>
          <p:nvPr/>
        </p:nvGrpSpPr>
        <p:grpSpPr>
          <a:xfrm>
            <a:off x="7927757" y="5470525"/>
            <a:ext cx="142875" cy="285750"/>
            <a:chOff x="8243888" y="5922963"/>
            <a:chExt cx="142875" cy="285750"/>
          </a:xfrm>
          <a:solidFill>
            <a:srgbClr val="7F7F7F"/>
          </a:solidFill>
        </p:grpSpPr>
        <p:sp>
          <p:nvSpPr>
            <p:cNvPr id="99" name="Freeform 3404">
              <a:extLst>
                <a:ext uri="{FF2B5EF4-FFF2-40B4-BE49-F238E27FC236}">
                  <a16:creationId xmlns:a16="http://schemas.microsoft.com/office/drawing/2014/main" id="{31956A3E-2771-413E-A157-EBF8216A6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405">
              <a:extLst>
                <a:ext uri="{FF2B5EF4-FFF2-40B4-BE49-F238E27FC236}">
                  <a16:creationId xmlns:a16="http://schemas.microsoft.com/office/drawing/2014/main" id="{9FD2BDE0-7D57-4260-BA90-79A523658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C6186F0-B018-432B-81F3-DA5CC38C35F6}"/>
              </a:ext>
            </a:extLst>
          </p:cNvPr>
          <p:cNvGrpSpPr/>
          <p:nvPr/>
        </p:nvGrpSpPr>
        <p:grpSpPr>
          <a:xfrm>
            <a:off x="8168901" y="5470525"/>
            <a:ext cx="142875" cy="285750"/>
            <a:chOff x="8243888" y="5922963"/>
            <a:chExt cx="142875" cy="285750"/>
          </a:xfrm>
          <a:solidFill>
            <a:srgbClr val="7F7F7F"/>
          </a:solidFill>
        </p:grpSpPr>
        <p:sp>
          <p:nvSpPr>
            <p:cNvPr id="97" name="Freeform 3404">
              <a:extLst>
                <a:ext uri="{FF2B5EF4-FFF2-40B4-BE49-F238E27FC236}">
                  <a16:creationId xmlns:a16="http://schemas.microsoft.com/office/drawing/2014/main" id="{0F4443F5-6527-4A2B-A6CD-B92C28523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405">
              <a:extLst>
                <a:ext uri="{FF2B5EF4-FFF2-40B4-BE49-F238E27FC236}">
                  <a16:creationId xmlns:a16="http://schemas.microsoft.com/office/drawing/2014/main" id="{4B43D785-443F-4F72-89B4-3858C501F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C67F7F5-BBFC-4FE7-953C-A46DF0BABBB3}"/>
              </a:ext>
            </a:extLst>
          </p:cNvPr>
          <p:cNvGrpSpPr/>
          <p:nvPr/>
        </p:nvGrpSpPr>
        <p:grpSpPr>
          <a:xfrm>
            <a:off x="8410045" y="5470525"/>
            <a:ext cx="142875" cy="285750"/>
            <a:chOff x="8243888" y="5922963"/>
            <a:chExt cx="142875" cy="285750"/>
          </a:xfrm>
          <a:solidFill>
            <a:srgbClr val="7F7F7F"/>
          </a:solidFill>
        </p:grpSpPr>
        <p:sp>
          <p:nvSpPr>
            <p:cNvPr id="95" name="Freeform 3404">
              <a:extLst>
                <a:ext uri="{FF2B5EF4-FFF2-40B4-BE49-F238E27FC236}">
                  <a16:creationId xmlns:a16="http://schemas.microsoft.com/office/drawing/2014/main" id="{93DB736A-FD44-48F8-B403-41A434526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405">
              <a:extLst>
                <a:ext uri="{FF2B5EF4-FFF2-40B4-BE49-F238E27FC236}">
                  <a16:creationId xmlns:a16="http://schemas.microsoft.com/office/drawing/2014/main" id="{B0549F2A-0891-4F53-A455-54E06D58E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8A37DE26-294C-4ACD-93AB-CB44DF217416}"/>
              </a:ext>
            </a:extLst>
          </p:cNvPr>
          <p:cNvGrpSpPr/>
          <p:nvPr/>
        </p:nvGrpSpPr>
        <p:grpSpPr>
          <a:xfrm>
            <a:off x="8651189" y="5470525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93" name="Freeform 3404">
              <a:extLst>
                <a:ext uri="{FF2B5EF4-FFF2-40B4-BE49-F238E27FC236}">
                  <a16:creationId xmlns:a16="http://schemas.microsoft.com/office/drawing/2014/main" id="{4B3DADA7-BCB9-4F2E-A8C1-D648C8A8E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3405">
              <a:extLst>
                <a:ext uri="{FF2B5EF4-FFF2-40B4-BE49-F238E27FC236}">
                  <a16:creationId xmlns:a16="http://schemas.microsoft.com/office/drawing/2014/main" id="{373A2FB0-CB69-4317-89D1-301FB1351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4575471-E1B1-41F1-81EF-064A394ACBC7}"/>
              </a:ext>
            </a:extLst>
          </p:cNvPr>
          <p:cNvGrpSpPr/>
          <p:nvPr/>
        </p:nvGrpSpPr>
        <p:grpSpPr>
          <a:xfrm>
            <a:off x="8892333" y="5470525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91" name="Freeform 3404">
              <a:extLst>
                <a:ext uri="{FF2B5EF4-FFF2-40B4-BE49-F238E27FC236}">
                  <a16:creationId xmlns:a16="http://schemas.microsoft.com/office/drawing/2014/main" id="{9F8B4B77-06DC-4042-B00D-925502D9B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405">
              <a:extLst>
                <a:ext uri="{FF2B5EF4-FFF2-40B4-BE49-F238E27FC236}">
                  <a16:creationId xmlns:a16="http://schemas.microsoft.com/office/drawing/2014/main" id="{52D55A54-7103-4CDA-9F67-C5BF45F8A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D5F3A367-28B5-4DC4-B748-8CAF2346FE68}"/>
              </a:ext>
            </a:extLst>
          </p:cNvPr>
          <p:cNvGrpSpPr/>
          <p:nvPr/>
        </p:nvGrpSpPr>
        <p:grpSpPr>
          <a:xfrm>
            <a:off x="9133477" y="5470525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89" name="Freeform 3404">
              <a:extLst>
                <a:ext uri="{FF2B5EF4-FFF2-40B4-BE49-F238E27FC236}">
                  <a16:creationId xmlns:a16="http://schemas.microsoft.com/office/drawing/2014/main" id="{5E458340-33C8-4299-B819-8045759E7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405">
              <a:extLst>
                <a:ext uri="{FF2B5EF4-FFF2-40B4-BE49-F238E27FC236}">
                  <a16:creationId xmlns:a16="http://schemas.microsoft.com/office/drawing/2014/main" id="{8B0A44CD-2DB1-46F2-9D03-885E64456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E99E9FB-F408-4284-849E-9431A5AE5379}"/>
              </a:ext>
            </a:extLst>
          </p:cNvPr>
          <p:cNvGrpSpPr/>
          <p:nvPr/>
        </p:nvGrpSpPr>
        <p:grpSpPr>
          <a:xfrm>
            <a:off x="9374619" y="5470525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87" name="Freeform 3404">
              <a:extLst>
                <a:ext uri="{FF2B5EF4-FFF2-40B4-BE49-F238E27FC236}">
                  <a16:creationId xmlns:a16="http://schemas.microsoft.com/office/drawing/2014/main" id="{0AB84D52-0059-4A60-B492-2E7E910EA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405">
              <a:extLst>
                <a:ext uri="{FF2B5EF4-FFF2-40B4-BE49-F238E27FC236}">
                  <a16:creationId xmlns:a16="http://schemas.microsoft.com/office/drawing/2014/main" id="{FC23032B-57A1-49BD-B4CB-45B07CF8C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5183E77-9E48-4D86-A8BF-4A745BE7328C}"/>
              </a:ext>
            </a:extLst>
          </p:cNvPr>
          <p:cNvGrpSpPr/>
          <p:nvPr/>
        </p:nvGrpSpPr>
        <p:grpSpPr>
          <a:xfrm>
            <a:off x="7204325" y="5933594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136" name="Freeform 3404">
              <a:extLst>
                <a:ext uri="{FF2B5EF4-FFF2-40B4-BE49-F238E27FC236}">
                  <a16:creationId xmlns:a16="http://schemas.microsoft.com/office/drawing/2014/main" id="{31F9DC8F-FF5A-45A1-8D35-9BF454B78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405">
              <a:extLst>
                <a:ext uri="{FF2B5EF4-FFF2-40B4-BE49-F238E27FC236}">
                  <a16:creationId xmlns:a16="http://schemas.microsoft.com/office/drawing/2014/main" id="{A7DD14F2-EDA7-4460-91D5-9D89956C3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C56976A1-A27D-4891-A563-7F22794632B6}"/>
              </a:ext>
            </a:extLst>
          </p:cNvPr>
          <p:cNvGrpSpPr/>
          <p:nvPr/>
        </p:nvGrpSpPr>
        <p:grpSpPr>
          <a:xfrm>
            <a:off x="7445469" y="5933594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134" name="Freeform 3404">
              <a:extLst>
                <a:ext uri="{FF2B5EF4-FFF2-40B4-BE49-F238E27FC236}">
                  <a16:creationId xmlns:a16="http://schemas.microsoft.com/office/drawing/2014/main" id="{7652450B-3F87-4E57-88FE-EA4B50DDD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405">
              <a:extLst>
                <a:ext uri="{FF2B5EF4-FFF2-40B4-BE49-F238E27FC236}">
                  <a16:creationId xmlns:a16="http://schemas.microsoft.com/office/drawing/2014/main" id="{44F32179-5D42-43F8-B305-A897ED526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C34B1941-B089-496A-A655-13D0000F3F27}"/>
              </a:ext>
            </a:extLst>
          </p:cNvPr>
          <p:cNvGrpSpPr/>
          <p:nvPr/>
        </p:nvGrpSpPr>
        <p:grpSpPr>
          <a:xfrm>
            <a:off x="7686613" y="5933594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132" name="Freeform 3404">
              <a:extLst>
                <a:ext uri="{FF2B5EF4-FFF2-40B4-BE49-F238E27FC236}">
                  <a16:creationId xmlns:a16="http://schemas.microsoft.com/office/drawing/2014/main" id="{0E125062-72FE-4F40-B034-3D31C0AF5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05">
              <a:extLst>
                <a:ext uri="{FF2B5EF4-FFF2-40B4-BE49-F238E27FC236}">
                  <a16:creationId xmlns:a16="http://schemas.microsoft.com/office/drawing/2014/main" id="{7C7E5969-D042-46C9-8B72-5E1B3B344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1EBAA07-E141-47F7-9AC3-4FCC4033F5EA}"/>
              </a:ext>
            </a:extLst>
          </p:cNvPr>
          <p:cNvGrpSpPr/>
          <p:nvPr/>
        </p:nvGrpSpPr>
        <p:grpSpPr>
          <a:xfrm>
            <a:off x="7927757" y="5933594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130" name="Freeform 3404">
              <a:extLst>
                <a:ext uri="{FF2B5EF4-FFF2-40B4-BE49-F238E27FC236}">
                  <a16:creationId xmlns:a16="http://schemas.microsoft.com/office/drawing/2014/main" id="{A591411B-6AC1-4702-B812-7FABE88FE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05">
              <a:extLst>
                <a:ext uri="{FF2B5EF4-FFF2-40B4-BE49-F238E27FC236}">
                  <a16:creationId xmlns:a16="http://schemas.microsoft.com/office/drawing/2014/main" id="{C6F311A8-7B65-4237-8CD2-30B56CA68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E977B04C-F0C3-4EB0-A5F2-08684AAEA0DD}"/>
              </a:ext>
            </a:extLst>
          </p:cNvPr>
          <p:cNvGrpSpPr/>
          <p:nvPr/>
        </p:nvGrpSpPr>
        <p:grpSpPr>
          <a:xfrm>
            <a:off x="8168901" y="5933594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128" name="Freeform 3404">
              <a:extLst>
                <a:ext uri="{FF2B5EF4-FFF2-40B4-BE49-F238E27FC236}">
                  <a16:creationId xmlns:a16="http://schemas.microsoft.com/office/drawing/2014/main" id="{77E8BCC6-289B-481D-AA66-B7F7FFAE0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05">
              <a:extLst>
                <a:ext uri="{FF2B5EF4-FFF2-40B4-BE49-F238E27FC236}">
                  <a16:creationId xmlns:a16="http://schemas.microsoft.com/office/drawing/2014/main" id="{02E2126E-4A08-49EF-BE1C-CF5D46422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6261496A-807A-4D32-B034-690C165590EB}"/>
              </a:ext>
            </a:extLst>
          </p:cNvPr>
          <p:cNvGrpSpPr/>
          <p:nvPr/>
        </p:nvGrpSpPr>
        <p:grpSpPr>
          <a:xfrm>
            <a:off x="8410045" y="5933594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126" name="Freeform 3404">
              <a:extLst>
                <a:ext uri="{FF2B5EF4-FFF2-40B4-BE49-F238E27FC236}">
                  <a16:creationId xmlns:a16="http://schemas.microsoft.com/office/drawing/2014/main" id="{83695F11-9EB8-4A74-97A3-2444226114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405">
              <a:extLst>
                <a:ext uri="{FF2B5EF4-FFF2-40B4-BE49-F238E27FC236}">
                  <a16:creationId xmlns:a16="http://schemas.microsoft.com/office/drawing/2014/main" id="{CDBAC151-A87B-4DDE-93FA-B0FC1BAFA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8C2902A0-BCC1-4F77-9FAA-4D5AF02D1090}"/>
              </a:ext>
            </a:extLst>
          </p:cNvPr>
          <p:cNvGrpSpPr/>
          <p:nvPr/>
        </p:nvGrpSpPr>
        <p:grpSpPr>
          <a:xfrm>
            <a:off x="8651189" y="5933594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124" name="Freeform 3404">
              <a:extLst>
                <a:ext uri="{FF2B5EF4-FFF2-40B4-BE49-F238E27FC236}">
                  <a16:creationId xmlns:a16="http://schemas.microsoft.com/office/drawing/2014/main" id="{E2529654-5533-434D-8B04-70DDD2FD9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405">
              <a:extLst>
                <a:ext uri="{FF2B5EF4-FFF2-40B4-BE49-F238E27FC236}">
                  <a16:creationId xmlns:a16="http://schemas.microsoft.com/office/drawing/2014/main" id="{342B65F4-34B0-4A15-A813-63ED93FE9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F558746D-512C-4A01-AFD6-31BB27D352E3}"/>
              </a:ext>
            </a:extLst>
          </p:cNvPr>
          <p:cNvGrpSpPr/>
          <p:nvPr/>
        </p:nvGrpSpPr>
        <p:grpSpPr>
          <a:xfrm>
            <a:off x="8892333" y="5933594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122" name="Freeform 3404">
              <a:extLst>
                <a:ext uri="{FF2B5EF4-FFF2-40B4-BE49-F238E27FC236}">
                  <a16:creationId xmlns:a16="http://schemas.microsoft.com/office/drawing/2014/main" id="{4A448E7F-5CC2-4E5F-9124-D4BCDC45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405">
              <a:extLst>
                <a:ext uri="{FF2B5EF4-FFF2-40B4-BE49-F238E27FC236}">
                  <a16:creationId xmlns:a16="http://schemas.microsoft.com/office/drawing/2014/main" id="{43BC59B7-2314-4E8F-96DB-4EEA1B0B2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7289F142-A251-490A-AD54-468A6C94BCA2}"/>
              </a:ext>
            </a:extLst>
          </p:cNvPr>
          <p:cNvGrpSpPr/>
          <p:nvPr/>
        </p:nvGrpSpPr>
        <p:grpSpPr>
          <a:xfrm>
            <a:off x="9133477" y="5933594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120" name="Freeform 3404">
              <a:extLst>
                <a:ext uri="{FF2B5EF4-FFF2-40B4-BE49-F238E27FC236}">
                  <a16:creationId xmlns:a16="http://schemas.microsoft.com/office/drawing/2014/main" id="{5FF50150-E68E-4FBD-9FB3-1D30CE80C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405">
              <a:extLst>
                <a:ext uri="{FF2B5EF4-FFF2-40B4-BE49-F238E27FC236}">
                  <a16:creationId xmlns:a16="http://schemas.microsoft.com/office/drawing/2014/main" id="{59E71405-38CA-473F-8649-C0700C5F5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90053C5-E6B3-4D78-9D20-A14B162A816E}"/>
              </a:ext>
            </a:extLst>
          </p:cNvPr>
          <p:cNvGrpSpPr/>
          <p:nvPr/>
        </p:nvGrpSpPr>
        <p:grpSpPr>
          <a:xfrm>
            <a:off x="9374619" y="5933594"/>
            <a:ext cx="142875" cy="285750"/>
            <a:chOff x="8243888" y="5922963"/>
            <a:chExt cx="142875" cy="285750"/>
          </a:xfrm>
          <a:solidFill>
            <a:srgbClr val="BFBFBF"/>
          </a:solidFill>
        </p:grpSpPr>
        <p:sp>
          <p:nvSpPr>
            <p:cNvPr id="118" name="Freeform 3404">
              <a:extLst>
                <a:ext uri="{FF2B5EF4-FFF2-40B4-BE49-F238E27FC236}">
                  <a16:creationId xmlns:a16="http://schemas.microsoft.com/office/drawing/2014/main" id="{7DD44F38-95DC-4476-9041-1D325664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5922963"/>
              <a:ext cx="68262" cy="66675"/>
            </a:xfrm>
            <a:custGeom>
              <a:avLst/>
              <a:gdLst>
                <a:gd name="T0" fmla="*/ 94 w 168"/>
                <a:gd name="T1" fmla="*/ 167 h 168"/>
                <a:gd name="T2" fmla="*/ 109 w 168"/>
                <a:gd name="T3" fmla="*/ 164 h 168"/>
                <a:gd name="T4" fmla="*/ 125 w 168"/>
                <a:gd name="T5" fmla="*/ 158 h 168"/>
                <a:gd name="T6" fmla="*/ 139 w 168"/>
                <a:gd name="T7" fmla="*/ 149 h 168"/>
                <a:gd name="T8" fmla="*/ 149 w 168"/>
                <a:gd name="T9" fmla="*/ 137 h 168"/>
                <a:gd name="T10" fmla="*/ 158 w 168"/>
                <a:gd name="T11" fmla="*/ 123 h 168"/>
                <a:gd name="T12" fmla="*/ 164 w 168"/>
                <a:gd name="T13" fmla="*/ 109 h 168"/>
                <a:gd name="T14" fmla="*/ 168 w 168"/>
                <a:gd name="T15" fmla="*/ 92 h 168"/>
                <a:gd name="T16" fmla="*/ 168 w 168"/>
                <a:gd name="T17" fmla="*/ 74 h 168"/>
                <a:gd name="T18" fmla="*/ 164 w 168"/>
                <a:gd name="T19" fmla="*/ 59 h 168"/>
                <a:gd name="T20" fmla="*/ 158 w 168"/>
                <a:gd name="T21" fmla="*/ 43 h 168"/>
                <a:gd name="T22" fmla="*/ 149 w 168"/>
                <a:gd name="T23" fmla="*/ 31 h 168"/>
                <a:gd name="T24" fmla="*/ 139 w 168"/>
                <a:gd name="T25" fmla="*/ 19 h 168"/>
                <a:gd name="T26" fmla="*/ 125 w 168"/>
                <a:gd name="T27" fmla="*/ 10 h 168"/>
                <a:gd name="T28" fmla="*/ 109 w 168"/>
                <a:gd name="T29" fmla="*/ 4 h 168"/>
                <a:gd name="T30" fmla="*/ 94 w 168"/>
                <a:gd name="T31" fmla="*/ 0 h 168"/>
                <a:gd name="T32" fmla="*/ 76 w 168"/>
                <a:gd name="T33" fmla="*/ 0 h 168"/>
                <a:gd name="T34" fmla="*/ 59 w 168"/>
                <a:gd name="T35" fmla="*/ 4 h 168"/>
                <a:gd name="T36" fmla="*/ 45 w 168"/>
                <a:gd name="T37" fmla="*/ 10 h 168"/>
                <a:gd name="T38" fmla="*/ 31 w 168"/>
                <a:gd name="T39" fmla="*/ 19 h 168"/>
                <a:gd name="T40" fmla="*/ 19 w 168"/>
                <a:gd name="T41" fmla="*/ 31 h 168"/>
                <a:gd name="T42" fmla="*/ 10 w 168"/>
                <a:gd name="T43" fmla="*/ 43 h 168"/>
                <a:gd name="T44" fmla="*/ 4 w 168"/>
                <a:gd name="T45" fmla="*/ 59 h 168"/>
                <a:gd name="T46" fmla="*/ 1 w 168"/>
                <a:gd name="T47" fmla="*/ 75 h 168"/>
                <a:gd name="T48" fmla="*/ 1 w 168"/>
                <a:gd name="T49" fmla="*/ 92 h 168"/>
                <a:gd name="T50" fmla="*/ 4 w 168"/>
                <a:gd name="T51" fmla="*/ 109 h 168"/>
                <a:gd name="T52" fmla="*/ 10 w 168"/>
                <a:gd name="T53" fmla="*/ 123 h 168"/>
                <a:gd name="T54" fmla="*/ 19 w 168"/>
                <a:gd name="T55" fmla="*/ 137 h 168"/>
                <a:gd name="T56" fmla="*/ 31 w 168"/>
                <a:gd name="T57" fmla="*/ 149 h 168"/>
                <a:gd name="T58" fmla="*/ 45 w 168"/>
                <a:gd name="T59" fmla="*/ 158 h 168"/>
                <a:gd name="T60" fmla="*/ 59 w 168"/>
                <a:gd name="T61" fmla="*/ 164 h 168"/>
                <a:gd name="T62" fmla="*/ 76 w 168"/>
                <a:gd name="T6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" h="168">
                  <a:moveTo>
                    <a:pt x="85" y="168"/>
                  </a:moveTo>
                  <a:lnTo>
                    <a:pt x="94" y="167"/>
                  </a:lnTo>
                  <a:lnTo>
                    <a:pt x="101" y="165"/>
                  </a:lnTo>
                  <a:lnTo>
                    <a:pt x="109" y="164"/>
                  </a:lnTo>
                  <a:lnTo>
                    <a:pt x="117" y="162"/>
                  </a:lnTo>
                  <a:lnTo>
                    <a:pt x="125" y="158"/>
                  </a:lnTo>
                  <a:lnTo>
                    <a:pt x="132" y="153"/>
                  </a:lnTo>
                  <a:lnTo>
                    <a:pt x="139" y="149"/>
                  </a:lnTo>
                  <a:lnTo>
                    <a:pt x="144" y="142"/>
                  </a:lnTo>
                  <a:lnTo>
                    <a:pt x="149" y="137"/>
                  </a:lnTo>
                  <a:lnTo>
                    <a:pt x="154" y="131"/>
                  </a:lnTo>
                  <a:lnTo>
                    <a:pt x="158" y="123"/>
                  </a:lnTo>
                  <a:lnTo>
                    <a:pt x="162" y="117"/>
                  </a:lnTo>
                  <a:lnTo>
                    <a:pt x="164" y="109"/>
                  </a:lnTo>
                  <a:lnTo>
                    <a:pt x="167" y="100"/>
                  </a:lnTo>
                  <a:lnTo>
                    <a:pt x="168" y="92"/>
                  </a:lnTo>
                  <a:lnTo>
                    <a:pt x="168" y="83"/>
                  </a:lnTo>
                  <a:lnTo>
                    <a:pt x="168" y="74"/>
                  </a:lnTo>
                  <a:lnTo>
                    <a:pt x="167" y="66"/>
                  </a:lnTo>
                  <a:lnTo>
                    <a:pt x="164" y="59"/>
                  </a:lnTo>
                  <a:lnTo>
                    <a:pt x="162" y="51"/>
                  </a:lnTo>
                  <a:lnTo>
                    <a:pt x="158" y="43"/>
                  </a:lnTo>
                  <a:lnTo>
                    <a:pt x="154" y="37"/>
                  </a:lnTo>
                  <a:lnTo>
                    <a:pt x="149" y="31"/>
                  </a:lnTo>
                  <a:lnTo>
                    <a:pt x="144" y="24"/>
                  </a:lnTo>
                  <a:lnTo>
                    <a:pt x="139" y="19"/>
                  </a:lnTo>
                  <a:lnTo>
                    <a:pt x="132" y="14"/>
                  </a:lnTo>
                  <a:lnTo>
                    <a:pt x="125" y="10"/>
                  </a:lnTo>
                  <a:lnTo>
                    <a:pt x="117" y="6"/>
                  </a:lnTo>
                  <a:lnTo>
                    <a:pt x="109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59" y="4"/>
                  </a:lnTo>
                  <a:lnTo>
                    <a:pt x="51" y="6"/>
                  </a:lnTo>
                  <a:lnTo>
                    <a:pt x="45" y="10"/>
                  </a:lnTo>
                  <a:lnTo>
                    <a:pt x="37" y="14"/>
                  </a:lnTo>
                  <a:lnTo>
                    <a:pt x="31" y="19"/>
                  </a:lnTo>
                  <a:lnTo>
                    <a:pt x="26" y="24"/>
                  </a:lnTo>
                  <a:lnTo>
                    <a:pt x="19" y="31"/>
                  </a:lnTo>
                  <a:lnTo>
                    <a:pt x="15" y="37"/>
                  </a:lnTo>
                  <a:lnTo>
                    <a:pt x="10" y="43"/>
                  </a:lnTo>
                  <a:lnTo>
                    <a:pt x="8" y="51"/>
                  </a:lnTo>
                  <a:lnTo>
                    <a:pt x="4" y="59"/>
                  </a:lnTo>
                  <a:lnTo>
                    <a:pt x="3" y="66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1" y="92"/>
                  </a:lnTo>
                  <a:lnTo>
                    <a:pt x="3" y="100"/>
                  </a:lnTo>
                  <a:lnTo>
                    <a:pt x="4" y="109"/>
                  </a:lnTo>
                  <a:lnTo>
                    <a:pt x="8" y="117"/>
                  </a:lnTo>
                  <a:lnTo>
                    <a:pt x="10" y="123"/>
                  </a:lnTo>
                  <a:lnTo>
                    <a:pt x="15" y="131"/>
                  </a:lnTo>
                  <a:lnTo>
                    <a:pt x="19" y="137"/>
                  </a:lnTo>
                  <a:lnTo>
                    <a:pt x="26" y="142"/>
                  </a:lnTo>
                  <a:lnTo>
                    <a:pt x="31" y="149"/>
                  </a:lnTo>
                  <a:lnTo>
                    <a:pt x="37" y="153"/>
                  </a:lnTo>
                  <a:lnTo>
                    <a:pt x="45" y="158"/>
                  </a:lnTo>
                  <a:lnTo>
                    <a:pt x="51" y="162"/>
                  </a:lnTo>
                  <a:lnTo>
                    <a:pt x="59" y="164"/>
                  </a:lnTo>
                  <a:lnTo>
                    <a:pt x="68" y="165"/>
                  </a:lnTo>
                  <a:lnTo>
                    <a:pt x="76" y="167"/>
                  </a:lnTo>
                  <a:lnTo>
                    <a:pt x="8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405">
              <a:extLst>
                <a:ext uri="{FF2B5EF4-FFF2-40B4-BE49-F238E27FC236}">
                  <a16:creationId xmlns:a16="http://schemas.microsoft.com/office/drawing/2014/main" id="{DD07D6CB-1984-4815-9F55-FF78EAEAE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3888" y="5999163"/>
              <a:ext cx="142875" cy="209550"/>
            </a:xfrm>
            <a:custGeom>
              <a:avLst/>
              <a:gdLst>
                <a:gd name="T0" fmla="*/ 352 w 360"/>
                <a:gd name="T1" fmla="*/ 37 h 529"/>
                <a:gd name="T2" fmla="*/ 244 w 360"/>
                <a:gd name="T3" fmla="*/ 1 h 529"/>
                <a:gd name="T4" fmla="*/ 239 w 360"/>
                <a:gd name="T5" fmla="*/ 0 h 529"/>
                <a:gd name="T6" fmla="*/ 235 w 360"/>
                <a:gd name="T7" fmla="*/ 1 h 529"/>
                <a:gd name="T8" fmla="*/ 231 w 360"/>
                <a:gd name="T9" fmla="*/ 4 h 529"/>
                <a:gd name="T10" fmla="*/ 229 w 360"/>
                <a:gd name="T11" fmla="*/ 8 h 529"/>
                <a:gd name="T12" fmla="*/ 180 w 360"/>
                <a:gd name="T13" fmla="*/ 116 h 529"/>
                <a:gd name="T14" fmla="*/ 131 w 360"/>
                <a:gd name="T15" fmla="*/ 8 h 529"/>
                <a:gd name="T16" fmla="*/ 128 w 360"/>
                <a:gd name="T17" fmla="*/ 4 h 529"/>
                <a:gd name="T18" fmla="*/ 125 w 360"/>
                <a:gd name="T19" fmla="*/ 1 h 529"/>
                <a:gd name="T20" fmla="*/ 121 w 360"/>
                <a:gd name="T21" fmla="*/ 0 h 529"/>
                <a:gd name="T22" fmla="*/ 116 w 360"/>
                <a:gd name="T23" fmla="*/ 1 h 529"/>
                <a:gd name="T24" fmla="*/ 8 w 360"/>
                <a:gd name="T25" fmla="*/ 37 h 529"/>
                <a:gd name="T26" fmla="*/ 4 w 360"/>
                <a:gd name="T27" fmla="*/ 39 h 529"/>
                <a:gd name="T28" fmla="*/ 1 w 360"/>
                <a:gd name="T29" fmla="*/ 41 h 529"/>
                <a:gd name="T30" fmla="*/ 0 w 360"/>
                <a:gd name="T31" fmla="*/ 45 h 529"/>
                <a:gd name="T32" fmla="*/ 0 w 360"/>
                <a:gd name="T33" fmla="*/ 49 h 529"/>
                <a:gd name="T34" fmla="*/ 0 w 360"/>
                <a:gd name="T35" fmla="*/ 277 h 529"/>
                <a:gd name="T36" fmla="*/ 0 w 360"/>
                <a:gd name="T37" fmla="*/ 281 h 529"/>
                <a:gd name="T38" fmla="*/ 3 w 360"/>
                <a:gd name="T39" fmla="*/ 285 h 529"/>
                <a:gd name="T40" fmla="*/ 6 w 360"/>
                <a:gd name="T41" fmla="*/ 288 h 529"/>
                <a:gd name="T42" fmla="*/ 12 w 360"/>
                <a:gd name="T43" fmla="*/ 289 h 529"/>
                <a:gd name="T44" fmla="*/ 62 w 360"/>
                <a:gd name="T45" fmla="*/ 289 h 529"/>
                <a:gd name="T46" fmla="*/ 95 w 360"/>
                <a:gd name="T47" fmla="*/ 519 h 529"/>
                <a:gd name="T48" fmla="*/ 98 w 360"/>
                <a:gd name="T49" fmla="*/ 523 h 529"/>
                <a:gd name="T50" fmla="*/ 100 w 360"/>
                <a:gd name="T51" fmla="*/ 527 h 529"/>
                <a:gd name="T52" fmla="*/ 103 w 360"/>
                <a:gd name="T53" fmla="*/ 529 h 529"/>
                <a:gd name="T54" fmla="*/ 108 w 360"/>
                <a:gd name="T55" fmla="*/ 529 h 529"/>
                <a:gd name="T56" fmla="*/ 252 w 360"/>
                <a:gd name="T57" fmla="*/ 529 h 529"/>
                <a:gd name="T58" fmla="*/ 256 w 360"/>
                <a:gd name="T59" fmla="*/ 529 h 529"/>
                <a:gd name="T60" fmla="*/ 259 w 360"/>
                <a:gd name="T61" fmla="*/ 527 h 529"/>
                <a:gd name="T62" fmla="*/ 262 w 360"/>
                <a:gd name="T63" fmla="*/ 523 h 529"/>
                <a:gd name="T64" fmla="*/ 263 w 360"/>
                <a:gd name="T65" fmla="*/ 519 h 529"/>
                <a:gd name="T66" fmla="*/ 298 w 360"/>
                <a:gd name="T67" fmla="*/ 289 h 529"/>
                <a:gd name="T68" fmla="*/ 348 w 360"/>
                <a:gd name="T69" fmla="*/ 289 h 529"/>
                <a:gd name="T70" fmla="*/ 353 w 360"/>
                <a:gd name="T71" fmla="*/ 288 h 529"/>
                <a:gd name="T72" fmla="*/ 357 w 360"/>
                <a:gd name="T73" fmla="*/ 285 h 529"/>
                <a:gd name="T74" fmla="*/ 360 w 360"/>
                <a:gd name="T75" fmla="*/ 281 h 529"/>
                <a:gd name="T76" fmla="*/ 360 w 360"/>
                <a:gd name="T77" fmla="*/ 277 h 529"/>
                <a:gd name="T78" fmla="*/ 360 w 360"/>
                <a:gd name="T79" fmla="*/ 49 h 529"/>
                <a:gd name="T80" fmla="*/ 360 w 360"/>
                <a:gd name="T81" fmla="*/ 45 h 529"/>
                <a:gd name="T82" fmla="*/ 358 w 360"/>
                <a:gd name="T83" fmla="*/ 41 h 529"/>
                <a:gd name="T84" fmla="*/ 354 w 360"/>
                <a:gd name="T85" fmla="*/ 39 h 529"/>
                <a:gd name="T86" fmla="*/ 352 w 360"/>
                <a:gd name="T87" fmla="*/ 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529">
                  <a:moveTo>
                    <a:pt x="352" y="37"/>
                  </a:moveTo>
                  <a:lnTo>
                    <a:pt x="244" y="1"/>
                  </a:lnTo>
                  <a:lnTo>
                    <a:pt x="239" y="0"/>
                  </a:lnTo>
                  <a:lnTo>
                    <a:pt x="235" y="1"/>
                  </a:lnTo>
                  <a:lnTo>
                    <a:pt x="231" y="4"/>
                  </a:lnTo>
                  <a:lnTo>
                    <a:pt x="229" y="8"/>
                  </a:lnTo>
                  <a:lnTo>
                    <a:pt x="180" y="116"/>
                  </a:lnTo>
                  <a:lnTo>
                    <a:pt x="131" y="8"/>
                  </a:lnTo>
                  <a:lnTo>
                    <a:pt x="128" y="4"/>
                  </a:lnTo>
                  <a:lnTo>
                    <a:pt x="125" y="1"/>
                  </a:lnTo>
                  <a:lnTo>
                    <a:pt x="121" y="0"/>
                  </a:lnTo>
                  <a:lnTo>
                    <a:pt x="116" y="1"/>
                  </a:lnTo>
                  <a:lnTo>
                    <a:pt x="8" y="37"/>
                  </a:lnTo>
                  <a:lnTo>
                    <a:pt x="4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277"/>
                  </a:lnTo>
                  <a:lnTo>
                    <a:pt x="0" y="281"/>
                  </a:lnTo>
                  <a:lnTo>
                    <a:pt x="3" y="285"/>
                  </a:lnTo>
                  <a:lnTo>
                    <a:pt x="6" y="288"/>
                  </a:lnTo>
                  <a:lnTo>
                    <a:pt x="12" y="289"/>
                  </a:lnTo>
                  <a:lnTo>
                    <a:pt x="62" y="289"/>
                  </a:lnTo>
                  <a:lnTo>
                    <a:pt x="95" y="519"/>
                  </a:lnTo>
                  <a:lnTo>
                    <a:pt x="98" y="523"/>
                  </a:lnTo>
                  <a:lnTo>
                    <a:pt x="100" y="527"/>
                  </a:lnTo>
                  <a:lnTo>
                    <a:pt x="103" y="529"/>
                  </a:lnTo>
                  <a:lnTo>
                    <a:pt x="108" y="529"/>
                  </a:lnTo>
                  <a:lnTo>
                    <a:pt x="252" y="529"/>
                  </a:lnTo>
                  <a:lnTo>
                    <a:pt x="256" y="529"/>
                  </a:lnTo>
                  <a:lnTo>
                    <a:pt x="259" y="527"/>
                  </a:lnTo>
                  <a:lnTo>
                    <a:pt x="262" y="523"/>
                  </a:lnTo>
                  <a:lnTo>
                    <a:pt x="263" y="519"/>
                  </a:lnTo>
                  <a:lnTo>
                    <a:pt x="298" y="289"/>
                  </a:lnTo>
                  <a:lnTo>
                    <a:pt x="348" y="289"/>
                  </a:lnTo>
                  <a:lnTo>
                    <a:pt x="353" y="288"/>
                  </a:lnTo>
                  <a:lnTo>
                    <a:pt x="357" y="285"/>
                  </a:lnTo>
                  <a:lnTo>
                    <a:pt x="360" y="281"/>
                  </a:lnTo>
                  <a:lnTo>
                    <a:pt x="360" y="277"/>
                  </a:lnTo>
                  <a:lnTo>
                    <a:pt x="360" y="49"/>
                  </a:lnTo>
                  <a:lnTo>
                    <a:pt x="360" y="45"/>
                  </a:lnTo>
                  <a:lnTo>
                    <a:pt x="358" y="41"/>
                  </a:lnTo>
                  <a:lnTo>
                    <a:pt x="354" y="39"/>
                  </a:lnTo>
                  <a:lnTo>
                    <a:pt x="35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5" name="TextBox 47">
            <a:extLst>
              <a:ext uri="{FF2B5EF4-FFF2-40B4-BE49-F238E27FC236}">
                <a16:creationId xmlns:a16="http://schemas.microsoft.com/office/drawing/2014/main" id="{809FA2F3-8F76-4848-B55D-FA6947FE773C}"/>
              </a:ext>
            </a:extLst>
          </p:cNvPr>
          <p:cNvSpPr txBox="1"/>
          <p:nvPr/>
        </p:nvSpPr>
        <p:spPr>
          <a:xfrm>
            <a:off x="4276725" y="5122738"/>
            <a:ext cx="2561523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800" b="1" dirty="0">
                <a:solidFill>
                  <a:srgbClr val="CE295E"/>
                </a:solidFill>
                <a:latin typeface="+mj-lt"/>
              </a:rPr>
              <a:t>40%</a:t>
            </a:r>
          </a:p>
        </p:txBody>
      </p:sp>
      <p:sp>
        <p:nvSpPr>
          <p:cNvPr id="138" name="TextBox 47">
            <a:extLst>
              <a:ext uri="{FF2B5EF4-FFF2-40B4-BE49-F238E27FC236}">
                <a16:creationId xmlns:a16="http://schemas.microsoft.com/office/drawing/2014/main" id="{012B5CF6-F3B0-4A9A-AB3D-0DCFDC2E8277}"/>
              </a:ext>
            </a:extLst>
          </p:cNvPr>
          <p:cNvSpPr txBox="1"/>
          <p:nvPr/>
        </p:nvSpPr>
        <p:spPr>
          <a:xfrm>
            <a:off x="4379930" y="5888617"/>
            <a:ext cx="2355112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A1417B3-5114-4EA3-95EE-CA76D37B866C}"/>
              </a:ext>
            </a:extLst>
          </p:cNvPr>
          <p:cNvGrpSpPr/>
          <p:nvPr/>
        </p:nvGrpSpPr>
        <p:grpSpPr>
          <a:xfrm>
            <a:off x="10004721" y="5365398"/>
            <a:ext cx="525182" cy="496004"/>
            <a:chOff x="333622" y="4212342"/>
            <a:chExt cx="285751" cy="269875"/>
          </a:xfrm>
          <a:solidFill>
            <a:srgbClr val="CE295E"/>
          </a:solidFill>
        </p:grpSpPr>
        <p:sp>
          <p:nvSpPr>
            <p:cNvPr id="140" name="Freeform 4461">
              <a:extLst>
                <a:ext uri="{FF2B5EF4-FFF2-40B4-BE49-F238E27FC236}">
                  <a16:creationId xmlns:a16="http://schemas.microsoft.com/office/drawing/2014/main" id="{14BA5C71-46FC-47F2-A4D0-F8628A72D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97" y="4467929"/>
              <a:ext cx="15875" cy="14288"/>
            </a:xfrm>
            <a:custGeom>
              <a:avLst/>
              <a:gdLst>
                <a:gd name="T0" fmla="*/ 4 w 52"/>
                <a:gd name="T1" fmla="*/ 23 h 49"/>
                <a:gd name="T2" fmla="*/ 2 w 52"/>
                <a:gd name="T3" fmla="*/ 25 h 49"/>
                <a:gd name="T4" fmla="*/ 1 w 52"/>
                <a:gd name="T5" fmla="*/ 28 h 49"/>
                <a:gd name="T6" fmla="*/ 0 w 52"/>
                <a:gd name="T7" fmla="*/ 31 h 49"/>
                <a:gd name="T8" fmla="*/ 0 w 52"/>
                <a:gd name="T9" fmla="*/ 33 h 49"/>
                <a:gd name="T10" fmla="*/ 0 w 52"/>
                <a:gd name="T11" fmla="*/ 37 h 49"/>
                <a:gd name="T12" fmla="*/ 1 w 52"/>
                <a:gd name="T13" fmla="*/ 40 h 49"/>
                <a:gd name="T14" fmla="*/ 2 w 52"/>
                <a:gd name="T15" fmla="*/ 43 h 49"/>
                <a:gd name="T16" fmla="*/ 4 w 52"/>
                <a:gd name="T17" fmla="*/ 45 h 49"/>
                <a:gd name="T18" fmla="*/ 6 w 52"/>
                <a:gd name="T19" fmla="*/ 47 h 49"/>
                <a:gd name="T20" fmla="*/ 9 w 52"/>
                <a:gd name="T21" fmla="*/ 48 h 49"/>
                <a:gd name="T22" fmla="*/ 11 w 52"/>
                <a:gd name="T23" fmla="*/ 49 h 49"/>
                <a:gd name="T24" fmla="*/ 15 w 52"/>
                <a:gd name="T25" fmla="*/ 49 h 49"/>
                <a:gd name="T26" fmla="*/ 18 w 52"/>
                <a:gd name="T27" fmla="*/ 49 h 49"/>
                <a:gd name="T28" fmla="*/ 20 w 52"/>
                <a:gd name="T29" fmla="*/ 48 h 49"/>
                <a:gd name="T30" fmla="*/ 23 w 52"/>
                <a:gd name="T31" fmla="*/ 47 h 49"/>
                <a:gd name="T32" fmla="*/ 25 w 52"/>
                <a:gd name="T33" fmla="*/ 45 h 49"/>
                <a:gd name="T34" fmla="*/ 52 w 52"/>
                <a:gd name="T35" fmla="*/ 18 h 49"/>
                <a:gd name="T36" fmla="*/ 39 w 52"/>
                <a:gd name="T37" fmla="*/ 9 h 49"/>
                <a:gd name="T38" fmla="*/ 26 w 52"/>
                <a:gd name="T39" fmla="*/ 0 h 49"/>
                <a:gd name="T40" fmla="*/ 4 w 52"/>
                <a:gd name="T41" fmla="*/ 2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" h="49">
                  <a:moveTo>
                    <a:pt x="4" y="23"/>
                  </a:moveTo>
                  <a:lnTo>
                    <a:pt x="2" y="25"/>
                  </a:lnTo>
                  <a:lnTo>
                    <a:pt x="1" y="28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1" y="40"/>
                  </a:lnTo>
                  <a:lnTo>
                    <a:pt x="2" y="43"/>
                  </a:lnTo>
                  <a:lnTo>
                    <a:pt x="4" y="45"/>
                  </a:lnTo>
                  <a:lnTo>
                    <a:pt x="6" y="47"/>
                  </a:lnTo>
                  <a:lnTo>
                    <a:pt x="9" y="48"/>
                  </a:lnTo>
                  <a:lnTo>
                    <a:pt x="11" y="49"/>
                  </a:lnTo>
                  <a:lnTo>
                    <a:pt x="15" y="49"/>
                  </a:lnTo>
                  <a:lnTo>
                    <a:pt x="18" y="49"/>
                  </a:lnTo>
                  <a:lnTo>
                    <a:pt x="20" y="48"/>
                  </a:lnTo>
                  <a:lnTo>
                    <a:pt x="23" y="47"/>
                  </a:lnTo>
                  <a:lnTo>
                    <a:pt x="25" y="45"/>
                  </a:lnTo>
                  <a:lnTo>
                    <a:pt x="52" y="18"/>
                  </a:lnTo>
                  <a:lnTo>
                    <a:pt x="39" y="9"/>
                  </a:lnTo>
                  <a:lnTo>
                    <a:pt x="26" y="0"/>
                  </a:lnTo>
                  <a:lnTo>
                    <a:pt x="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4462">
              <a:extLst>
                <a:ext uri="{FF2B5EF4-FFF2-40B4-BE49-F238E27FC236}">
                  <a16:creationId xmlns:a16="http://schemas.microsoft.com/office/drawing/2014/main" id="{5C0F049E-6249-4E8B-88BF-562BB8BBD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60" y="4464754"/>
              <a:ext cx="19050" cy="17463"/>
            </a:xfrm>
            <a:custGeom>
              <a:avLst/>
              <a:gdLst>
                <a:gd name="T0" fmla="*/ 24 w 61"/>
                <a:gd name="T1" fmla="*/ 0 h 59"/>
                <a:gd name="T2" fmla="*/ 12 w 61"/>
                <a:gd name="T3" fmla="*/ 9 h 59"/>
                <a:gd name="T4" fmla="*/ 0 w 61"/>
                <a:gd name="T5" fmla="*/ 18 h 59"/>
                <a:gd name="T6" fmla="*/ 36 w 61"/>
                <a:gd name="T7" fmla="*/ 55 h 59"/>
                <a:gd name="T8" fmla="*/ 39 w 61"/>
                <a:gd name="T9" fmla="*/ 57 h 59"/>
                <a:gd name="T10" fmla="*/ 41 w 61"/>
                <a:gd name="T11" fmla="*/ 58 h 59"/>
                <a:gd name="T12" fmla="*/ 44 w 61"/>
                <a:gd name="T13" fmla="*/ 59 h 59"/>
                <a:gd name="T14" fmla="*/ 46 w 61"/>
                <a:gd name="T15" fmla="*/ 59 h 59"/>
                <a:gd name="T16" fmla="*/ 49 w 61"/>
                <a:gd name="T17" fmla="*/ 59 h 59"/>
                <a:gd name="T18" fmla="*/ 53 w 61"/>
                <a:gd name="T19" fmla="*/ 58 h 59"/>
                <a:gd name="T20" fmla="*/ 55 w 61"/>
                <a:gd name="T21" fmla="*/ 57 h 59"/>
                <a:gd name="T22" fmla="*/ 57 w 61"/>
                <a:gd name="T23" fmla="*/ 55 h 59"/>
                <a:gd name="T24" fmla="*/ 59 w 61"/>
                <a:gd name="T25" fmla="*/ 53 h 59"/>
                <a:gd name="T26" fmla="*/ 60 w 61"/>
                <a:gd name="T27" fmla="*/ 50 h 59"/>
                <a:gd name="T28" fmla="*/ 61 w 61"/>
                <a:gd name="T29" fmla="*/ 47 h 59"/>
                <a:gd name="T30" fmla="*/ 61 w 61"/>
                <a:gd name="T31" fmla="*/ 43 h 59"/>
                <a:gd name="T32" fmla="*/ 61 w 61"/>
                <a:gd name="T33" fmla="*/ 41 h 59"/>
                <a:gd name="T34" fmla="*/ 60 w 61"/>
                <a:gd name="T35" fmla="*/ 38 h 59"/>
                <a:gd name="T36" fmla="*/ 59 w 61"/>
                <a:gd name="T37" fmla="*/ 35 h 59"/>
                <a:gd name="T38" fmla="*/ 57 w 61"/>
                <a:gd name="T39" fmla="*/ 33 h 59"/>
                <a:gd name="T40" fmla="*/ 24 w 61"/>
                <a:gd name="T4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59">
                  <a:moveTo>
                    <a:pt x="24" y="0"/>
                  </a:moveTo>
                  <a:lnTo>
                    <a:pt x="12" y="9"/>
                  </a:lnTo>
                  <a:lnTo>
                    <a:pt x="0" y="18"/>
                  </a:lnTo>
                  <a:lnTo>
                    <a:pt x="36" y="55"/>
                  </a:lnTo>
                  <a:lnTo>
                    <a:pt x="39" y="57"/>
                  </a:lnTo>
                  <a:lnTo>
                    <a:pt x="41" y="58"/>
                  </a:lnTo>
                  <a:lnTo>
                    <a:pt x="44" y="59"/>
                  </a:lnTo>
                  <a:lnTo>
                    <a:pt x="46" y="59"/>
                  </a:lnTo>
                  <a:lnTo>
                    <a:pt x="49" y="59"/>
                  </a:lnTo>
                  <a:lnTo>
                    <a:pt x="53" y="58"/>
                  </a:lnTo>
                  <a:lnTo>
                    <a:pt x="55" y="57"/>
                  </a:lnTo>
                  <a:lnTo>
                    <a:pt x="57" y="55"/>
                  </a:lnTo>
                  <a:lnTo>
                    <a:pt x="59" y="53"/>
                  </a:lnTo>
                  <a:lnTo>
                    <a:pt x="60" y="50"/>
                  </a:lnTo>
                  <a:lnTo>
                    <a:pt x="61" y="47"/>
                  </a:lnTo>
                  <a:lnTo>
                    <a:pt x="61" y="43"/>
                  </a:lnTo>
                  <a:lnTo>
                    <a:pt x="61" y="41"/>
                  </a:lnTo>
                  <a:lnTo>
                    <a:pt x="60" y="38"/>
                  </a:lnTo>
                  <a:lnTo>
                    <a:pt x="59" y="35"/>
                  </a:lnTo>
                  <a:lnTo>
                    <a:pt x="57" y="33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4463">
              <a:extLst>
                <a:ext uri="{FF2B5EF4-FFF2-40B4-BE49-F238E27FC236}">
                  <a16:creationId xmlns:a16="http://schemas.microsoft.com/office/drawing/2014/main" id="{7D56D959-F061-44AD-B765-620988DAF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22" y="4212342"/>
              <a:ext cx="93663" cy="90488"/>
            </a:xfrm>
            <a:custGeom>
              <a:avLst/>
              <a:gdLst>
                <a:gd name="T0" fmla="*/ 286 w 291"/>
                <a:gd name="T1" fmla="*/ 91 h 283"/>
                <a:gd name="T2" fmla="*/ 276 w 291"/>
                <a:gd name="T3" fmla="*/ 70 h 283"/>
                <a:gd name="T4" fmla="*/ 262 w 291"/>
                <a:gd name="T5" fmla="*/ 52 h 283"/>
                <a:gd name="T6" fmla="*/ 246 w 291"/>
                <a:gd name="T7" fmla="*/ 36 h 283"/>
                <a:gd name="T8" fmla="*/ 228 w 291"/>
                <a:gd name="T9" fmla="*/ 23 h 283"/>
                <a:gd name="T10" fmla="*/ 207 w 291"/>
                <a:gd name="T11" fmla="*/ 13 h 283"/>
                <a:gd name="T12" fmla="*/ 185 w 291"/>
                <a:gd name="T13" fmla="*/ 5 h 283"/>
                <a:gd name="T14" fmla="*/ 161 w 291"/>
                <a:gd name="T15" fmla="*/ 1 h 283"/>
                <a:gd name="T16" fmla="*/ 133 w 291"/>
                <a:gd name="T17" fmla="*/ 1 h 283"/>
                <a:gd name="T18" fmla="*/ 105 w 291"/>
                <a:gd name="T19" fmla="*/ 7 h 283"/>
                <a:gd name="T20" fmla="*/ 78 w 291"/>
                <a:gd name="T21" fmla="*/ 18 h 283"/>
                <a:gd name="T22" fmla="*/ 54 w 291"/>
                <a:gd name="T23" fmla="*/ 34 h 283"/>
                <a:gd name="T24" fmla="*/ 34 w 291"/>
                <a:gd name="T25" fmla="*/ 54 h 283"/>
                <a:gd name="T26" fmla="*/ 18 w 291"/>
                <a:gd name="T27" fmla="*/ 79 h 283"/>
                <a:gd name="T28" fmla="*/ 6 w 291"/>
                <a:gd name="T29" fmla="*/ 106 h 283"/>
                <a:gd name="T30" fmla="*/ 1 w 291"/>
                <a:gd name="T31" fmla="*/ 135 h 283"/>
                <a:gd name="T32" fmla="*/ 0 w 291"/>
                <a:gd name="T33" fmla="*/ 160 h 283"/>
                <a:gd name="T34" fmla="*/ 3 w 291"/>
                <a:gd name="T35" fmla="*/ 182 h 283"/>
                <a:gd name="T36" fmla="*/ 8 w 291"/>
                <a:gd name="T37" fmla="*/ 201 h 283"/>
                <a:gd name="T38" fmla="*/ 17 w 291"/>
                <a:gd name="T39" fmla="*/ 220 h 283"/>
                <a:gd name="T40" fmla="*/ 28 w 291"/>
                <a:gd name="T41" fmla="*/ 237 h 283"/>
                <a:gd name="T42" fmla="*/ 40 w 291"/>
                <a:gd name="T43" fmla="*/ 252 h 283"/>
                <a:gd name="T44" fmla="*/ 55 w 291"/>
                <a:gd name="T45" fmla="*/ 266 h 283"/>
                <a:gd name="T46" fmla="*/ 71 w 291"/>
                <a:gd name="T47" fmla="*/ 278 h 283"/>
                <a:gd name="T48" fmla="*/ 90 w 291"/>
                <a:gd name="T49" fmla="*/ 267 h 283"/>
                <a:gd name="T50" fmla="*/ 110 w 291"/>
                <a:gd name="T51" fmla="*/ 238 h 283"/>
                <a:gd name="T52" fmla="*/ 131 w 291"/>
                <a:gd name="T53" fmla="*/ 212 h 283"/>
                <a:gd name="T54" fmla="*/ 156 w 291"/>
                <a:gd name="T55" fmla="*/ 186 h 283"/>
                <a:gd name="T56" fmla="*/ 183 w 291"/>
                <a:gd name="T57" fmla="*/ 163 h 283"/>
                <a:gd name="T58" fmla="*/ 212 w 291"/>
                <a:gd name="T59" fmla="*/ 142 h 283"/>
                <a:gd name="T60" fmla="*/ 242 w 291"/>
                <a:gd name="T61" fmla="*/ 124 h 283"/>
                <a:gd name="T62" fmla="*/ 274 w 291"/>
                <a:gd name="T63" fmla="*/ 10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1" h="283">
                  <a:moveTo>
                    <a:pt x="291" y="102"/>
                  </a:moveTo>
                  <a:lnTo>
                    <a:pt x="286" y="91"/>
                  </a:lnTo>
                  <a:lnTo>
                    <a:pt x="281" y="81"/>
                  </a:lnTo>
                  <a:lnTo>
                    <a:pt x="276" y="70"/>
                  </a:lnTo>
                  <a:lnTo>
                    <a:pt x="269" y="62"/>
                  </a:lnTo>
                  <a:lnTo>
                    <a:pt x="262" y="52"/>
                  </a:lnTo>
                  <a:lnTo>
                    <a:pt x="254" y="44"/>
                  </a:lnTo>
                  <a:lnTo>
                    <a:pt x="246" y="36"/>
                  </a:lnTo>
                  <a:lnTo>
                    <a:pt x="237" y="30"/>
                  </a:lnTo>
                  <a:lnTo>
                    <a:pt x="228" y="23"/>
                  </a:lnTo>
                  <a:lnTo>
                    <a:pt x="217" y="17"/>
                  </a:lnTo>
                  <a:lnTo>
                    <a:pt x="207" y="13"/>
                  </a:lnTo>
                  <a:lnTo>
                    <a:pt x="196" y="8"/>
                  </a:lnTo>
                  <a:lnTo>
                    <a:pt x="185" y="5"/>
                  </a:lnTo>
                  <a:lnTo>
                    <a:pt x="173" y="2"/>
                  </a:lnTo>
                  <a:lnTo>
                    <a:pt x="161" y="1"/>
                  </a:lnTo>
                  <a:lnTo>
                    <a:pt x="149" y="0"/>
                  </a:lnTo>
                  <a:lnTo>
                    <a:pt x="133" y="1"/>
                  </a:lnTo>
                  <a:lnTo>
                    <a:pt x="120" y="3"/>
                  </a:lnTo>
                  <a:lnTo>
                    <a:pt x="105" y="7"/>
                  </a:lnTo>
                  <a:lnTo>
                    <a:pt x="91" y="12"/>
                  </a:lnTo>
                  <a:lnTo>
                    <a:pt x="78" y="18"/>
                  </a:lnTo>
                  <a:lnTo>
                    <a:pt x="66" y="25"/>
                  </a:lnTo>
                  <a:lnTo>
                    <a:pt x="54" y="34"/>
                  </a:lnTo>
                  <a:lnTo>
                    <a:pt x="44" y="45"/>
                  </a:lnTo>
                  <a:lnTo>
                    <a:pt x="34" y="54"/>
                  </a:lnTo>
                  <a:lnTo>
                    <a:pt x="25" y="66"/>
                  </a:lnTo>
                  <a:lnTo>
                    <a:pt x="18" y="79"/>
                  </a:lnTo>
                  <a:lnTo>
                    <a:pt x="11" y="92"/>
                  </a:lnTo>
                  <a:lnTo>
                    <a:pt x="6" y="106"/>
                  </a:lnTo>
                  <a:lnTo>
                    <a:pt x="3" y="120"/>
                  </a:lnTo>
                  <a:lnTo>
                    <a:pt x="1" y="135"/>
                  </a:lnTo>
                  <a:lnTo>
                    <a:pt x="0" y="150"/>
                  </a:lnTo>
                  <a:lnTo>
                    <a:pt x="0" y="160"/>
                  </a:lnTo>
                  <a:lnTo>
                    <a:pt x="1" y="171"/>
                  </a:lnTo>
                  <a:lnTo>
                    <a:pt x="3" y="182"/>
                  </a:lnTo>
                  <a:lnTo>
                    <a:pt x="5" y="191"/>
                  </a:lnTo>
                  <a:lnTo>
                    <a:pt x="8" y="201"/>
                  </a:lnTo>
                  <a:lnTo>
                    <a:pt x="13" y="211"/>
                  </a:lnTo>
                  <a:lnTo>
                    <a:pt x="17" y="220"/>
                  </a:lnTo>
                  <a:lnTo>
                    <a:pt x="22" y="229"/>
                  </a:lnTo>
                  <a:lnTo>
                    <a:pt x="28" y="237"/>
                  </a:lnTo>
                  <a:lnTo>
                    <a:pt x="34" y="245"/>
                  </a:lnTo>
                  <a:lnTo>
                    <a:pt x="40" y="252"/>
                  </a:lnTo>
                  <a:lnTo>
                    <a:pt x="48" y="260"/>
                  </a:lnTo>
                  <a:lnTo>
                    <a:pt x="55" y="266"/>
                  </a:lnTo>
                  <a:lnTo>
                    <a:pt x="63" y="273"/>
                  </a:lnTo>
                  <a:lnTo>
                    <a:pt x="71" y="278"/>
                  </a:lnTo>
                  <a:lnTo>
                    <a:pt x="81" y="283"/>
                  </a:lnTo>
                  <a:lnTo>
                    <a:pt x="90" y="267"/>
                  </a:lnTo>
                  <a:lnTo>
                    <a:pt x="99" y="253"/>
                  </a:lnTo>
                  <a:lnTo>
                    <a:pt x="110" y="238"/>
                  </a:lnTo>
                  <a:lnTo>
                    <a:pt x="121" y="224"/>
                  </a:lnTo>
                  <a:lnTo>
                    <a:pt x="131" y="212"/>
                  </a:lnTo>
                  <a:lnTo>
                    <a:pt x="144" y="199"/>
                  </a:lnTo>
                  <a:lnTo>
                    <a:pt x="156" y="186"/>
                  </a:lnTo>
                  <a:lnTo>
                    <a:pt x="169" y="174"/>
                  </a:lnTo>
                  <a:lnTo>
                    <a:pt x="183" y="163"/>
                  </a:lnTo>
                  <a:lnTo>
                    <a:pt x="197" y="153"/>
                  </a:lnTo>
                  <a:lnTo>
                    <a:pt x="212" y="142"/>
                  </a:lnTo>
                  <a:lnTo>
                    <a:pt x="227" y="133"/>
                  </a:lnTo>
                  <a:lnTo>
                    <a:pt x="242" y="124"/>
                  </a:lnTo>
                  <a:lnTo>
                    <a:pt x="258" y="116"/>
                  </a:lnTo>
                  <a:lnTo>
                    <a:pt x="274" y="109"/>
                  </a:lnTo>
                  <a:lnTo>
                    <a:pt x="291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4464">
              <a:extLst>
                <a:ext uri="{FF2B5EF4-FFF2-40B4-BE49-F238E27FC236}">
                  <a16:creationId xmlns:a16="http://schemas.microsoft.com/office/drawing/2014/main" id="{61F6550A-DE9F-49BE-BC2F-1FDA5EF69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710" y="4212342"/>
              <a:ext cx="93663" cy="93663"/>
            </a:xfrm>
            <a:custGeom>
              <a:avLst/>
              <a:gdLst>
                <a:gd name="T0" fmla="*/ 132 w 293"/>
                <a:gd name="T1" fmla="*/ 1 h 293"/>
                <a:gd name="T2" fmla="*/ 106 w 293"/>
                <a:gd name="T3" fmla="*/ 5 h 293"/>
                <a:gd name="T4" fmla="*/ 84 w 293"/>
                <a:gd name="T5" fmla="*/ 14 h 293"/>
                <a:gd name="T6" fmla="*/ 62 w 293"/>
                <a:gd name="T7" fmla="*/ 25 h 293"/>
                <a:gd name="T8" fmla="*/ 43 w 293"/>
                <a:gd name="T9" fmla="*/ 40 h 293"/>
                <a:gd name="T10" fmla="*/ 27 w 293"/>
                <a:gd name="T11" fmla="*/ 58 h 293"/>
                <a:gd name="T12" fmla="*/ 13 w 293"/>
                <a:gd name="T13" fmla="*/ 78 h 293"/>
                <a:gd name="T14" fmla="*/ 3 w 293"/>
                <a:gd name="T15" fmla="*/ 100 h 293"/>
                <a:gd name="T16" fmla="*/ 15 w 293"/>
                <a:gd name="T17" fmla="*/ 120 h 293"/>
                <a:gd name="T18" fmla="*/ 44 w 293"/>
                <a:gd name="T19" fmla="*/ 137 h 293"/>
                <a:gd name="T20" fmla="*/ 71 w 293"/>
                <a:gd name="T21" fmla="*/ 156 h 293"/>
                <a:gd name="T22" fmla="*/ 96 w 293"/>
                <a:gd name="T23" fmla="*/ 176 h 293"/>
                <a:gd name="T24" fmla="*/ 121 w 293"/>
                <a:gd name="T25" fmla="*/ 200 h 293"/>
                <a:gd name="T26" fmla="*/ 142 w 293"/>
                <a:gd name="T27" fmla="*/ 224 h 293"/>
                <a:gd name="T28" fmla="*/ 163 w 293"/>
                <a:gd name="T29" fmla="*/ 250 h 293"/>
                <a:gd name="T30" fmla="*/ 180 w 293"/>
                <a:gd name="T31" fmla="*/ 279 h 293"/>
                <a:gd name="T32" fmla="*/ 199 w 293"/>
                <a:gd name="T33" fmla="*/ 290 h 293"/>
                <a:gd name="T34" fmla="*/ 221 w 293"/>
                <a:gd name="T35" fmla="*/ 279 h 293"/>
                <a:gd name="T36" fmla="*/ 240 w 293"/>
                <a:gd name="T37" fmla="*/ 265 h 293"/>
                <a:gd name="T38" fmla="*/ 257 w 293"/>
                <a:gd name="T39" fmla="*/ 249 h 293"/>
                <a:gd name="T40" fmla="*/ 271 w 293"/>
                <a:gd name="T41" fmla="*/ 230 h 293"/>
                <a:gd name="T42" fmla="*/ 282 w 293"/>
                <a:gd name="T43" fmla="*/ 209 h 293"/>
                <a:gd name="T44" fmla="*/ 289 w 293"/>
                <a:gd name="T45" fmla="*/ 186 h 293"/>
                <a:gd name="T46" fmla="*/ 293 w 293"/>
                <a:gd name="T47" fmla="*/ 162 h 293"/>
                <a:gd name="T48" fmla="*/ 293 w 293"/>
                <a:gd name="T49" fmla="*/ 135 h 293"/>
                <a:gd name="T50" fmla="*/ 287 w 293"/>
                <a:gd name="T51" fmla="*/ 106 h 293"/>
                <a:gd name="T52" fmla="*/ 276 w 293"/>
                <a:gd name="T53" fmla="*/ 79 h 293"/>
                <a:gd name="T54" fmla="*/ 260 w 293"/>
                <a:gd name="T55" fmla="*/ 54 h 293"/>
                <a:gd name="T56" fmla="*/ 240 w 293"/>
                <a:gd name="T57" fmla="*/ 34 h 293"/>
                <a:gd name="T58" fmla="*/ 215 w 293"/>
                <a:gd name="T59" fmla="*/ 18 h 293"/>
                <a:gd name="T60" fmla="*/ 188 w 293"/>
                <a:gd name="T61" fmla="*/ 7 h 293"/>
                <a:gd name="T62" fmla="*/ 160 w 293"/>
                <a:gd name="T63" fmla="*/ 1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3" h="293">
                  <a:moveTo>
                    <a:pt x="145" y="0"/>
                  </a:moveTo>
                  <a:lnTo>
                    <a:pt x="132" y="1"/>
                  </a:lnTo>
                  <a:lnTo>
                    <a:pt x="119" y="3"/>
                  </a:lnTo>
                  <a:lnTo>
                    <a:pt x="106" y="5"/>
                  </a:lnTo>
                  <a:lnTo>
                    <a:pt x="94" y="8"/>
                  </a:lnTo>
                  <a:lnTo>
                    <a:pt x="84" y="14"/>
                  </a:lnTo>
                  <a:lnTo>
                    <a:pt x="72" y="19"/>
                  </a:lnTo>
                  <a:lnTo>
                    <a:pt x="62" y="25"/>
                  </a:lnTo>
                  <a:lnTo>
                    <a:pt x="53" y="32"/>
                  </a:lnTo>
                  <a:lnTo>
                    <a:pt x="43" y="40"/>
                  </a:lnTo>
                  <a:lnTo>
                    <a:pt x="34" y="49"/>
                  </a:lnTo>
                  <a:lnTo>
                    <a:pt x="27" y="58"/>
                  </a:lnTo>
                  <a:lnTo>
                    <a:pt x="19" y="68"/>
                  </a:lnTo>
                  <a:lnTo>
                    <a:pt x="13" y="78"/>
                  </a:lnTo>
                  <a:lnTo>
                    <a:pt x="8" y="90"/>
                  </a:lnTo>
                  <a:lnTo>
                    <a:pt x="3" y="100"/>
                  </a:lnTo>
                  <a:lnTo>
                    <a:pt x="0" y="112"/>
                  </a:lnTo>
                  <a:lnTo>
                    <a:pt x="15" y="120"/>
                  </a:lnTo>
                  <a:lnTo>
                    <a:pt x="29" y="128"/>
                  </a:lnTo>
                  <a:lnTo>
                    <a:pt x="44" y="137"/>
                  </a:lnTo>
                  <a:lnTo>
                    <a:pt x="58" y="146"/>
                  </a:lnTo>
                  <a:lnTo>
                    <a:pt x="71" y="156"/>
                  </a:lnTo>
                  <a:lnTo>
                    <a:pt x="84" y="166"/>
                  </a:lnTo>
                  <a:lnTo>
                    <a:pt x="96" y="176"/>
                  </a:lnTo>
                  <a:lnTo>
                    <a:pt x="109" y="188"/>
                  </a:lnTo>
                  <a:lnTo>
                    <a:pt x="121" y="200"/>
                  </a:lnTo>
                  <a:lnTo>
                    <a:pt x="132" y="212"/>
                  </a:lnTo>
                  <a:lnTo>
                    <a:pt x="142" y="224"/>
                  </a:lnTo>
                  <a:lnTo>
                    <a:pt x="153" y="237"/>
                  </a:lnTo>
                  <a:lnTo>
                    <a:pt x="163" y="250"/>
                  </a:lnTo>
                  <a:lnTo>
                    <a:pt x="171" y="264"/>
                  </a:lnTo>
                  <a:lnTo>
                    <a:pt x="180" y="279"/>
                  </a:lnTo>
                  <a:lnTo>
                    <a:pt x="188" y="293"/>
                  </a:lnTo>
                  <a:lnTo>
                    <a:pt x="199" y="290"/>
                  </a:lnTo>
                  <a:lnTo>
                    <a:pt x="211" y="284"/>
                  </a:lnTo>
                  <a:lnTo>
                    <a:pt x="221" y="279"/>
                  </a:lnTo>
                  <a:lnTo>
                    <a:pt x="230" y="273"/>
                  </a:lnTo>
                  <a:lnTo>
                    <a:pt x="240" y="265"/>
                  </a:lnTo>
                  <a:lnTo>
                    <a:pt x="248" y="258"/>
                  </a:lnTo>
                  <a:lnTo>
                    <a:pt x="257" y="249"/>
                  </a:lnTo>
                  <a:lnTo>
                    <a:pt x="264" y="239"/>
                  </a:lnTo>
                  <a:lnTo>
                    <a:pt x="271" y="230"/>
                  </a:lnTo>
                  <a:lnTo>
                    <a:pt x="276" y="220"/>
                  </a:lnTo>
                  <a:lnTo>
                    <a:pt x="282" y="209"/>
                  </a:lnTo>
                  <a:lnTo>
                    <a:pt x="286" y="198"/>
                  </a:lnTo>
                  <a:lnTo>
                    <a:pt x="289" y="186"/>
                  </a:lnTo>
                  <a:lnTo>
                    <a:pt x="292" y="174"/>
                  </a:lnTo>
                  <a:lnTo>
                    <a:pt x="293" y="162"/>
                  </a:lnTo>
                  <a:lnTo>
                    <a:pt x="293" y="150"/>
                  </a:lnTo>
                  <a:lnTo>
                    <a:pt x="293" y="135"/>
                  </a:lnTo>
                  <a:lnTo>
                    <a:pt x="291" y="120"/>
                  </a:lnTo>
                  <a:lnTo>
                    <a:pt x="287" y="106"/>
                  </a:lnTo>
                  <a:lnTo>
                    <a:pt x="282" y="92"/>
                  </a:lnTo>
                  <a:lnTo>
                    <a:pt x="276" y="79"/>
                  </a:lnTo>
                  <a:lnTo>
                    <a:pt x="269" y="66"/>
                  </a:lnTo>
                  <a:lnTo>
                    <a:pt x="260" y="54"/>
                  </a:lnTo>
                  <a:lnTo>
                    <a:pt x="249" y="45"/>
                  </a:lnTo>
                  <a:lnTo>
                    <a:pt x="240" y="34"/>
                  </a:lnTo>
                  <a:lnTo>
                    <a:pt x="228" y="25"/>
                  </a:lnTo>
                  <a:lnTo>
                    <a:pt x="215" y="18"/>
                  </a:lnTo>
                  <a:lnTo>
                    <a:pt x="202" y="12"/>
                  </a:lnTo>
                  <a:lnTo>
                    <a:pt x="188" y="7"/>
                  </a:lnTo>
                  <a:lnTo>
                    <a:pt x="175" y="3"/>
                  </a:lnTo>
                  <a:lnTo>
                    <a:pt x="160" y="1"/>
                  </a:lnTo>
                  <a:lnTo>
                    <a:pt x="1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4465">
              <a:extLst>
                <a:ext uri="{FF2B5EF4-FFF2-40B4-BE49-F238E27FC236}">
                  <a16:creationId xmlns:a16="http://schemas.microsoft.com/office/drawing/2014/main" id="{7AF3F264-B865-48CF-AF69-966E32D16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672" y="4245679"/>
              <a:ext cx="238125" cy="236538"/>
            </a:xfrm>
            <a:custGeom>
              <a:avLst/>
              <a:gdLst>
                <a:gd name="T0" fmla="*/ 418 w 748"/>
                <a:gd name="T1" fmla="*/ 394 h 747"/>
                <a:gd name="T2" fmla="*/ 413 w 748"/>
                <a:gd name="T3" fmla="*/ 401 h 747"/>
                <a:gd name="T4" fmla="*/ 404 w 748"/>
                <a:gd name="T5" fmla="*/ 404 h 747"/>
                <a:gd name="T6" fmla="*/ 248 w 748"/>
                <a:gd name="T7" fmla="*/ 403 h 747"/>
                <a:gd name="T8" fmla="*/ 241 w 748"/>
                <a:gd name="T9" fmla="*/ 398 h 747"/>
                <a:gd name="T10" fmla="*/ 238 w 748"/>
                <a:gd name="T11" fmla="*/ 389 h 747"/>
                <a:gd name="T12" fmla="*/ 241 w 748"/>
                <a:gd name="T13" fmla="*/ 380 h 747"/>
                <a:gd name="T14" fmla="*/ 248 w 748"/>
                <a:gd name="T15" fmla="*/ 375 h 747"/>
                <a:gd name="T16" fmla="*/ 389 w 748"/>
                <a:gd name="T17" fmla="*/ 374 h 747"/>
                <a:gd name="T18" fmla="*/ 391 w 748"/>
                <a:gd name="T19" fmla="*/ 160 h 747"/>
                <a:gd name="T20" fmla="*/ 397 w 748"/>
                <a:gd name="T21" fmla="*/ 154 h 747"/>
                <a:gd name="T22" fmla="*/ 404 w 748"/>
                <a:gd name="T23" fmla="*/ 150 h 747"/>
                <a:gd name="T24" fmla="*/ 413 w 748"/>
                <a:gd name="T25" fmla="*/ 154 h 747"/>
                <a:gd name="T26" fmla="*/ 418 w 748"/>
                <a:gd name="T27" fmla="*/ 160 h 747"/>
                <a:gd name="T28" fmla="*/ 419 w 748"/>
                <a:gd name="T29" fmla="*/ 389 h 747"/>
                <a:gd name="T30" fmla="*/ 336 w 748"/>
                <a:gd name="T31" fmla="*/ 2 h 747"/>
                <a:gd name="T32" fmla="*/ 280 w 748"/>
                <a:gd name="T33" fmla="*/ 11 h 747"/>
                <a:gd name="T34" fmla="*/ 228 w 748"/>
                <a:gd name="T35" fmla="*/ 30 h 747"/>
                <a:gd name="T36" fmla="*/ 179 w 748"/>
                <a:gd name="T37" fmla="*/ 54 h 747"/>
                <a:gd name="T38" fmla="*/ 136 w 748"/>
                <a:gd name="T39" fmla="*/ 86 h 747"/>
                <a:gd name="T40" fmla="*/ 97 w 748"/>
                <a:gd name="T41" fmla="*/ 123 h 747"/>
                <a:gd name="T42" fmla="*/ 64 w 748"/>
                <a:gd name="T43" fmla="*/ 165 h 747"/>
                <a:gd name="T44" fmla="*/ 36 w 748"/>
                <a:gd name="T45" fmla="*/ 212 h 747"/>
                <a:gd name="T46" fmla="*/ 17 w 748"/>
                <a:gd name="T47" fmla="*/ 263 h 747"/>
                <a:gd name="T48" fmla="*/ 4 w 748"/>
                <a:gd name="T49" fmla="*/ 317 h 747"/>
                <a:gd name="T50" fmla="*/ 0 w 748"/>
                <a:gd name="T51" fmla="*/ 374 h 747"/>
                <a:gd name="T52" fmla="*/ 4 w 748"/>
                <a:gd name="T53" fmla="*/ 431 h 747"/>
                <a:gd name="T54" fmla="*/ 17 w 748"/>
                <a:gd name="T55" fmla="*/ 485 h 747"/>
                <a:gd name="T56" fmla="*/ 36 w 748"/>
                <a:gd name="T57" fmla="*/ 536 h 747"/>
                <a:gd name="T58" fmla="*/ 64 w 748"/>
                <a:gd name="T59" fmla="*/ 583 h 747"/>
                <a:gd name="T60" fmla="*/ 97 w 748"/>
                <a:gd name="T61" fmla="*/ 625 h 747"/>
                <a:gd name="T62" fmla="*/ 136 w 748"/>
                <a:gd name="T63" fmla="*/ 662 h 747"/>
                <a:gd name="T64" fmla="*/ 179 w 748"/>
                <a:gd name="T65" fmla="*/ 694 h 747"/>
                <a:gd name="T66" fmla="*/ 228 w 748"/>
                <a:gd name="T67" fmla="*/ 719 h 747"/>
                <a:gd name="T68" fmla="*/ 280 w 748"/>
                <a:gd name="T69" fmla="*/ 736 h 747"/>
                <a:gd name="T70" fmla="*/ 336 w 748"/>
                <a:gd name="T71" fmla="*/ 745 h 747"/>
                <a:gd name="T72" fmla="*/ 392 w 748"/>
                <a:gd name="T73" fmla="*/ 747 h 747"/>
                <a:gd name="T74" fmla="*/ 449 w 748"/>
                <a:gd name="T75" fmla="*/ 740 h 747"/>
                <a:gd name="T76" fmla="*/ 501 w 748"/>
                <a:gd name="T77" fmla="*/ 725 h 747"/>
                <a:gd name="T78" fmla="*/ 552 w 748"/>
                <a:gd name="T79" fmla="*/ 702 h 747"/>
                <a:gd name="T80" fmla="*/ 597 w 748"/>
                <a:gd name="T81" fmla="*/ 674 h 747"/>
                <a:gd name="T82" fmla="*/ 637 w 748"/>
                <a:gd name="T83" fmla="*/ 638 h 747"/>
                <a:gd name="T84" fmla="*/ 673 w 748"/>
                <a:gd name="T85" fmla="*/ 598 h 747"/>
                <a:gd name="T86" fmla="*/ 702 w 748"/>
                <a:gd name="T87" fmla="*/ 552 h 747"/>
                <a:gd name="T88" fmla="*/ 724 w 748"/>
                <a:gd name="T89" fmla="*/ 502 h 747"/>
                <a:gd name="T90" fmla="*/ 739 w 748"/>
                <a:gd name="T91" fmla="*/ 449 h 747"/>
                <a:gd name="T92" fmla="*/ 746 w 748"/>
                <a:gd name="T93" fmla="*/ 393 h 747"/>
                <a:gd name="T94" fmla="*/ 745 w 748"/>
                <a:gd name="T95" fmla="*/ 336 h 747"/>
                <a:gd name="T96" fmla="*/ 736 w 748"/>
                <a:gd name="T97" fmla="*/ 281 h 747"/>
                <a:gd name="T98" fmla="*/ 718 w 748"/>
                <a:gd name="T99" fmla="*/ 229 h 747"/>
                <a:gd name="T100" fmla="*/ 693 w 748"/>
                <a:gd name="T101" fmla="*/ 180 h 747"/>
                <a:gd name="T102" fmla="*/ 662 w 748"/>
                <a:gd name="T103" fmla="*/ 137 h 747"/>
                <a:gd name="T104" fmla="*/ 624 w 748"/>
                <a:gd name="T105" fmla="*/ 98 h 747"/>
                <a:gd name="T106" fmla="*/ 582 w 748"/>
                <a:gd name="T107" fmla="*/ 64 h 747"/>
                <a:gd name="T108" fmla="*/ 536 w 748"/>
                <a:gd name="T109" fmla="*/ 37 h 747"/>
                <a:gd name="T110" fmla="*/ 484 w 748"/>
                <a:gd name="T111" fmla="*/ 17 h 747"/>
                <a:gd name="T112" fmla="*/ 430 w 748"/>
                <a:gd name="T113" fmla="*/ 4 h 747"/>
                <a:gd name="T114" fmla="*/ 373 w 748"/>
                <a:gd name="T115" fmla="*/ 0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8" h="747">
                  <a:moveTo>
                    <a:pt x="419" y="389"/>
                  </a:moveTo>
                  <a:lnTo>
                    <a:pt x="419" y="392"/>
                  </a:lnTo>
                  <a:lnTo>
                    <a:pt x="418" y="394"/>
                  </a:lnTo>
                  <a:lnTo>
                    <a:pt x="417" y="398"/>
                  </a:lnTo>
                  <a:lnTo>
                    <a:pt x="415" y="400"/>
                  </a:lnTo>
                  <a:lnTo>
                    <a:pt x="413" y="401"/>
                  </a:lnTo>
                  <a:lnTo>
                    <a:pt x="410" y="403"/>
                  </a:lnTo>
                  <a:lnTo>
                    <a:pt x="407" y="403"/>
                  </a:lnTo>
                  <a:lnTo>
                    <a:pt x="404" y="404"/>
                  </a:lnTo>
                  <a:lnTo>
                    <a:pt x="253" y="404"/>
                  </a:lnTo>
                  <a:lnTo>
                    <a:pt x="251" y="403"/>
                  </a:lnTo>
                  <a:lnTo>
                    <a:pt x="248" y="403"/>
                  </a:lnTo>
                  <a:lnTo>
                    <a:pt x="246" y="401"/>
                  </a:lnTo>
                  <a:lnTo>
                    <a:pt x="244" y="400"/>
                  </a:lnTo>
                  <a:lnTo>
                    <a:pt x="241" y="398"/>
                  </a:lnTo>
                  <a:lnTo>
                    <a:pt x="240" y="394"/>
                  </a:lnTo>
                  <a:lnTo>
                    <a:pt x="239" y="392"/>
                  </a:lnTo>
                  <a:lnTo>
                    <a:pt x="238" y="389"/>
                  </a:lnTo>
                  <a:lnTo>
                    <a:pt x="239" y="386"/>
                  </a:lnTo>
                  <a:lnTo>
                    <a:pt x="240" y="384"/>
                  </a:lnTo>
                  <a:lnTo>
                    <a:pt x="241" y="380"/>
                  </a:lnTo>
                  <a:lnTo>
                    <a:pt x="244" y="378"/>
                  </a:lnTo>
                  <a:lnTo>
                    <a:pt x="246" y="376"/>
                  </a:lnTo>
                  <a:lnTo>
                    <a:pt x="248" y="375"/>
                  </a:lnTo>
                  <a:lnTo>
                    <a:pt x="251" y="374"/>
                  </a:lnTo>
                  <a:lnTo>
                    <a:pt x="253" y="374"/>
                  </a:lnTo>
                  <a:lnTo>
                    <a:pt x="389" y="374"/>
                  </a:lnTo>
                  <a:lnTo>
                    <a:pt x="389" y="165"/>
                  </a:lnTo>
                  <a:lnTo>
                    <a:pt x="390" y="163"/>
                  </a:lnTo>
                  <a:lnTo>
                    <a:pt x="391" y="160"/>
                  </a:lnTo>
                  <a:lnTo>
                    <a:pt x="392" y="158"/>
                  </a:lnTo>
                  <a:lnTo>
                    <a:pt x="394" y="156"/>
                  </a:lnTo>
                  <a:lnTo>
                    <a:pt x="397" y="154"/>
                  </a:lnTo>
                  <a:lnTo>
                    <a:pt x="399" y="153"/>
                  </a:lnTo>
                  <a:lnTo>
                    <a:pt x="402" y="152"/>
                  </a:lnTo>
                  <a:lnTo>
                    <a:pt x="404" y="150"/>
                  </a:lnTo>
                  <a:lnTo>
                    <a:pt x="407" y="152"/>
                  </a:lnTo>
                  <a:lnTo>
                    <a:pt x="410" y="153"/>
                  </a:lnTo>
                  <a:lnTo>
                    <a:pt x="413" y="154"/>
                  </a:lnTo>
                  <a:lnTo>
                    <a:pt x="415" y="156"/>
                  </a:lnTo>
                  <a:lnTo>
                    <a:pt x="417" y="158"/>
                  </a:lnTo>
                  <a:lnTo>
                    <a:pt x="418" y="160"/>
                  </a:lnTo>
                  <a:lnTo>
                    <a:pt x="419" y="163"/>
                  </a:lnTo>
                  <a:lnTo>
                    <a:pt x="419" y="165"/>
                  </a:lnTo>
                  <a:lnTo>
                    <a:pt x="419" y="389"/>
                  </a:lnTo>
                  <a:close/>
                  <a:moveTo>
                    <a:pt x="373" y="0"/>
                  </a:moveTo>
                  <a:lnTo>
                    <a:pt x="354" y="1"/>
                  </a:lnTo>
                  <a:lnTo>
                    <a:pt x="336" y="2"/>
                  </a:lnTo>
                  <a:lnTo>
                    <a:pt x="316" y="4"/>
                  </a:lnTo>
                  <a:lnTo>
                    <a:pt x="298" y="7"/>
                  </a:lnTo>
                  <a:lnTo>
                    <a:pt x="280" y="11"/>
                  </a:lnTo>
                  <a:lnTo>
                    <a:pt x="262" y="17"/>
                  </a:lnTo>
                  <a:lnTo>
                    <a:pt x="245" y="23"/>
                  </a:lnTo>
                  <a:lnTo>
                    <a:pt x="228" y="30"/>
                  </a:lnTo>
                  <a:lnTo>
                    <a:pt x="211" y="37"/>
                  </a:lnTo>
                  <a:lnTo>
                    <a:pt x="195" y="46"/>
                  </a:lnTo>
                  <a:lnTo>
                    <a:pt x="179" y="54"/>
                  </a:lnTo>
                  <a:lnTo>
                    <a:pt x="164" y="64"/>
                  </a:lnTo>
                  <a:lnTo>
                    <a:pt x="149" y="74"/>
                  </a:lnTo>
                  <a:lnTo>
                    <a:pt x="136" y="86"/>
                  </a:lnTo>
                  <a:lnTo>
                    <a:pt x="122" y="98"/>
                  </a:lnTo>
                  <a:lnTo>
                    <a:pt x="109" y="110"/>
                  </a:lnTo>
                  <a:lnTo>
                    <a:pt x="97" y="123"/>
                  </a:lnTo>
                  <a:lnTo>
                    <a:pt x="85" y="137"/>
                  </a:lnTo>
                  <a:lnTo>
                    <a:pt x="73" y="150"/>
                  </a:lnTo>
                  <a:lnTo>
                    <a:pt x="64" y="165"/>
                  </a:lnTo>
                  <a:lnTo>
                    <a:pt x="53" y="180"/>
                  </a:lnTo>
                  <a:lnTo>
                    <a:pt x="45" y="196"/>
                  </a:lnTo>
                  <a:lnTo>
                    <a:pt x="36" y="212"/>
                  </a:lnTo>
                  <a:lnTo>
                    <a:pt x="29" y="229"/>
                  </a:lnTo>
                  <a:lnTo>
                    <a:pt x="22" y="246"/>
                  </a:lnTo>
                  <a:lnTo>
                    <a:pt x="17" y="263"/>
                  </a:lnTo>
                  <a:lnTo>
                    <a:pt x="11" y="281"/>
                  </a:lnTo>
                  <a:lnTo>
                    <a:pt x="7" y="299"/>
                  </a:lnTo>
                  <a:lnTo>
                    <a:pt x="4" y="317"/>
                  </a:lnTo>
                  <a:lnTo>
                    <a:pt x="2" y="336"/>
                  </a:lnTo>
                  <a:lnTo>
                    <a:pt x="0" y="355"/>
                  </a:lnTo>
                  <a:lnTo>
                    <a:pt x="0" y="374"/>
                  </a:lnTo>
                  <a:lnTo>
                    <a:pt x="0" y="393"/>
                  </a:lnTo>
                  <a:lnTo>
                    <a:pt x="2" y="411"/>
                  </a:lnTo>
                  <a:lnTo>
                    <a:pt x="4" y="431"/>
                  </a:lnTo>
                  <a:lnTo>
                    <a:pt x="7" y="449"/>
                  </a:lnTo>
                  <a:lnTo>
                    <a:pt x="11" y="467"/>
                  </a:lnTo>
                  <a:lnTo>
                    <a:pt x="17" y="485"/>
                  </a:lnTo>
                  <a:lnTo>
                    <a:pt x="22" y="502"/>
                  </a:lnTo>
                  <a:lnTo>
                    <a:pt x="29" y="520"/>
                  </a:lnTo>
                  <a:lnTo>
                    <a:pt x="36" y="536"/>
                  </a:lnTo>
                  <a:lnTo>
                    <a:pt x="45" y="552"/>
                  </a:lnTo>
                  <a:lnTo>
                    <a:pt x="53" y="568"/>
                  </a:lnTo>
                  <a:lnTo>
                    <a:pt x="64" y="583"/>
                  </a:lnTo>
                  <a:lnTo>
                    <a:pt x="73" y="598"/>
                  </a:lnTo>
                  <a:lnTo>
                    <a:pt x="85" y="612"/>
                  </a:lnTo>
                  <a:lnTo>
                    <a:pt x="97" y="625"/>
                  </a:lnTo>
                  <a:lnTo>
                    <a:pt x="109" y="638"/>
                  </a:lnTo>
                  <a:lnTo>
                    <a:pt x="122" y="650"/>
                  </a:lnTo>
                  <a:lnTo>
                    <a:pt x="136" y="662"/>
                  </a:lnTo>
                  <a:lnTo>
                    <a:pt x="149" y="674"/>
                  </a:lnTo>
                  <a:lnTo>
                    <a:pt x="164" y="683"/>
                  </a:lnTo>
                  <a:lnTo>
                    <a:pt x="179" y="694"/>
                  </a:lnTo>
                  <a:lnTo>
                    <a:pt x="195" y="702"/>
                  </a:lnTo>
                  <a:lnTo>
                    <a:pt x="211" y="711"/>
                  </a:lnTo>
                  <a:lnTo>
                    <a:pt x="228" y="719"/>
                  </a:lnTo>
                  <a:lnTo>
                    <a:pt x="245" y="725"/>
                  </a:lnTo>
                  <a:lnTo>
                    <a:pt x="262" y="730"/>
                  </a:lnTo>
                  <a:lnTo>
                    <a:pt x="280" y="736"/>
                  </a:lnTo>
                  <a:lnTo>
                    <a:pt x="298" y="740"/>
                  </a:lnTo>
                  <a:lnTo>
                    <a:pt x="316" y="743"/>
                  </a:lnTo>
                  <a:lnTo>
                    <a:pt x="336" y="745"/>
                  </a:lnTo>
                  <a:lnTo>
                    <a:pt x="354" y="747"/>
                  </a:lnTo>
                  <a:lnTo>
                    <a:pt x="373" y="747"/>
                  </a:lnTo>
                  <a:lnTo>
                    <a:pt x="392" y="747"/>
                  </a:lnTo>
                  <a:lnTo>
                    <a:pt x="412" y="745"/>
                  </a:lnTo>
                  <a:lnTo>
                    <a:pt x="430" y="743"/>
                  </a:lnTo>
                  <a:lnTo>
                    <a:pt x="449" y="740"/>
                  </a:lnTo>
                  <a:lnTo>
                    <a:pt x="466" y="736"/>
                  </a:lnTo>
                  <a:lnTo>
                    <a:pt x="484" y="730"/>
                  </a:lnTo>
                  <a:lnTo>
                    <a:pt x="501" y="725"/>
                  </a:lnTo>
                  <a:lnTo>
                    <a:pt x="519" y="719"/>
                  </a:lnTo>
                  <a:lnTo>
                    <a:pt x="536" y="711"/>
                  </a:lnTo>
                  <a:lnTo>
                    <a:pt x="552" y="702"/>
                  </a:lnTo>
                  <a:lnTo>
                    <a:pt x="567" y="694"/>
                  </a:lnTo>
                  <a:lnTo>
                    <a:pt x="582" y="683"/>
                  </a:lnTo>
                  <a:lnTo>
                    <a:pt x="597" y="674"/>
                  </a:lnTo>
                  <a:lnTo>
                    <a:pt x="611" y="662"/>
                  </a:lnTo>
                  <a:lnTo>
                    <a:pt x="624" y="650"/>
                  </a:lnTo>
                  <a:lnTo>
                    <a:pt x="637" y="638"/>
                  </a:lnTo>
                  <a:lnTo>
                    <a:pt x="650" y="625"/>
                  </a:lnTo>
                  <a:lnTo>
                    <a:pt x="662" y="612"/>
                  </a:lnTo>
                  <a:lnTo>
                    <a:pt x="673" y="598"/>
                  </a:lnTo>
                  <a:lnTo>
                    <a:pt x="683" y="583"/>
                  </a:lnTo>
                  <a:lnTo>
                    <a:pt x="693" y="568"/>
                  </a:lnTo>
                  <a:lnTo>
                    <a:pt x="702" y="552"/>
                  </a:lnTo>
                  <a:lnTo>
                    <a:pt x="710" y="536"/>
                  </a:lnTo>
                  <a:lnTo>
                    <a:pt x="718" y="520"/>
                  </a:lnTo>
                  <a:lnTo>
                    <a:pt x="724" y="502"/>
                  </a:lnTo>
                  <a:lnTo>
                    <a:pt x="730" y="485"/>
                  </a:lnTo>
                  <a:lnTo>
                    <a:pt x="736" y="467"/>
                  </a:lnTo>
                  <a:lnTo>
                    <a:pt x="739" y="449"/>
                  </a:lnTo>
                  <a:lnTo>
                    <a:pt x="743" y="431"/>
                  </a:lnTo>
                  <a:lnTo>
                    <a:pt x="745" y="411"/>
                  </a:lnTo>
                  <a:lnTo>
                    <a:pt x="746" y="393"/>
                  </a:lnTo>
                  <a:lnTo>
                    <a:pt x="748" y="374"/>
                  </a:lnTo>
                  <a:lnTo>
                    <a:pt x="746" y="355"/>
                  </a:lnTo>
                  <a:lnTo>
                    <a:pt x="745" y="336"/>
                  </a:lnTo>
                  <a:lnTo>
                    <a:pt x="743" y="317"/>
                  </a:lnTo>
                  <a:lnTo>
                    <a:pt x="739" y="299"/>
                  </a:lnTo>
                  <a:lnTo>
                    <a:pt x="736" y="281"/>
                  </a:lnTo>
                  <a:lnTo>
                    <a:pt x="730" y="263"/>
                  </a:lnTo>
                  <a:lnTo>
                    <a:pt x="724" y="246"/>
                  </a:lnTo>
                  <a:lnTo>
                    <a:pt x="718" y="229"/>
                  </a:lnTo>
                  <a:lnTo>
                    <a:pt x="710" y="212"/>
                  </a:lnTo>
                  <a:lnTo>
                    <a:pt x="702" y="196"/>
                  </a:lnTo>
                  <a:lnTo>
                    <a:pt x="693" y="180"/>
                  </a:lnTo>
                  <a:lnTo>
                    <a:pt x="683" y="165"/>
                  </a:lnTo>
                  <a:lnTo>
                    <a:pt x="673" y="150"/>
                  </a:lnTo>
                  <a:lnTo>
                    <a:pt x="662" y="137"/>
                  </a:lnTo>
                  <a:lnTo>
                    <a:pt x="650" y="123"/>
                  </a:lnTo>
                  <a:lnTo>
                    <a:pt x="637" y="110"/>
                  </a:lnTo>
                  <a:lnTo>
                    <a:pt x="624" y="98"/>
                  </a:lnTo>
                  <a:lnTo>
                    <a:pt x="611" y="86"/>
                  </a:lnTo>
                  <a:lnTo>
                    <a:pt x="597" y="74"/>
                  </a:lnTo>
                  <a:lnTo>
                    <a:pt x="582" y="64"/>
                  </a:lnTo>
                  <a:lnTo>
                    <a:pt x="567" y="54"/>
                  </a:lnTo>
                  <a:lnTo>
                    <a:pt x="552" y="46"/>
                  </a:lnTo>
                  <a:lnTo>
                    <a:pt x="536" y="37"/>
                  </a:lnTo>
                  <a:lnTo>
                    <a:pt x="519" y="30"/>
                  </a:lnTo>
                  <a:lnTo>
                    <a:pt x="501" y="23"/>
                  </a:lnTo>
                  <a:lnTo>
                    <a:pt x="484" y="17"/>
                  </a:lnTo>
                  <a:lnTo>
                    <a:pt x="466" y="11"/>
                  </a:lnTo>
                  <a:lnTo>
                    <a:pt x="449" y="7"/>
                  </a:lnTo>
                  <a:lnTo>
                    <a:pt x="430" y="4"/>
                  </a:lnTo>
                  <a:lnTo>
                    <a:pt x="412" y="2"/>
                  </a:lnTo>
                  <a:lnTo>
                    <a:pt x="392" y="1"/>
                  </a:lnTo>
                  <a:lnTo>
                    <a:pt x="37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5" name="TextBox 47">
            <a:extLst>
              <a:ext uri="{FF2B5EF4-FFF2-40B4-BE49-F238E27FC236}">
                <a16:creationId xmlns:a16="http://schemas.microsoft.com/office/drawing/2014/main" id="{A47DBF62-721A-4FB1-AD0A-811040ED7805}"/>
              </a:ext>
            </a:extLst>
          </p:cNvPr>
          <p:cNvSpPr txBox="1"/>
          <p:nvPr/>
        </p:nvSpPr>
        <p:spPr>
          <a:xfrm>
            <a:off x="10737056" y="5459509"/>
            <a:ext cx="1196817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rgbClr val="CE295E"/>
                </a:solidFill>
                <a:latin typeface="+mj-lt"/>
              </a:rPr>
              <a:t>1:00 PM</a:t>
            </a:r>
          </a:p>
        </p:txBody>
      </p:sp>
    </p:spTree>
    <p:extLst>
      <p:ext uri="{BB962C8B-B14F-4D97-AF65-F5344CB8AC3E}">
        <p14:creationId xmlns:p14="http://schemas.microsoft.com/office/powerpoint/2010/main" val="1407751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8B61B-BB92-4768-AFBB-C2D3F2084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EFF9E6-E51F-41E6-AD19-8FF84549A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55BE32-A5E1-45B4-BD01-9003A5E21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66CA3D8-2C78-46B3-B39E-61C3B1570440}"/>
              </a:ext>
            </a:extLst>
          </p:cNvPr>
          <p:cNvGraphicFramePr/>
          <p:nvPr/>
        </p:nvGraphicFramePr>
        <p:xfrm>
          <a:off x="3188051" y="1909467"/>
          <a:ext cx="5815899" cy="3877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59558963-A249-4EED-94EF-6C0741E91F31}"/>
              </a:ext>
            </a:extLst>
          </p:cNvPr>
          <p:cNvSpPr/>
          <p:nvPr/>
        </p:nvSpPr>
        <p:spPr>
          <a:xfrm>
            <a:off x="8902700" y="1490978"/>
            <a:ext cx="101600" cy="1002366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45C40C-A08D-4984-A61C-A64C2C04D4FD}"/>
              </a:ext>
            </a:extLst>
          </p:cNvPr>
          <p:cNvSpPr/>
          <p:nvPr/>
        </p:nvSpPr>
        <p:spPr>
          <a:xfrm>
            <a:off x="8902700" y="4784367"/>
            <a:ext cx="101600" cy="1002366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47">
            <a:extLst>
              <a:ext uri="{FF2B5EF4-FFF2-40B4-BE49-F238E27FC236}">
                <a16:creationId xmlns:a16="http://schemas.microsoft.com/office/drawing/2014/main" id="{2D80A1D2-265F-448F-A52C-92EA682624B2}"/>
              </a:ext>
            </a:extLst>
          </p:cNvPr>
          <p:cNvSpPr txBox="1"/>
          <p:nvPr/>
        </p:nvSpPr>
        <p:spPr>
          <a:xfrm>
            <a:off x="9231878" y="1453552"/>
            <a:ext cx="269342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ellentesq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i. Maecena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olutp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dio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t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17" name="TextBox 47">
            <a:extLst>
              <a:ext uri="{FF2B5EF4-FFF2-40B4-BE49-F238E27FC236}">
                <a16:creationId xmlns:a16="http://schemas.microsoft.com/office/drawing/2014/main" id="{6DEA7C2E-5CA4-4158-A8D2-337962DDF790}"/>
              </a:ext>
            </a:extLst>
          </p:cNvPr>
          <p:cNvSpPr txBox="1"/>
          <p:nvPr/>
        </p:nvSpPr>
        <p:spPr>
          <a:xfrm>
            <a:off x="9231878" y="4746941"/>
            <a:ext cx="269342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ellentesq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i. Maecena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olutp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dio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t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34FFC4B-C0FD-40B7-84F6-1581A1DBE100}"/>
              </a:ext>
            </a:extLst>
          </p:cNvPr>
          <p:cNvSpPr/>
          <p:nvPr/>
        </p:nvSpPr>
        <p:spPr>
          <a:xfrm flipH="1">
            <a:off x="3430022" y="1490978"/>
            <a:ext cx="101600" cy="1002366"/>
          </a:xfrm>
          <a:prstGeom prst="rect">
            <a:avLst/>
          </a:prstGeom>
          <a:solidFill>
            <a:srgbClr val="CE29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DF1C4B-6BC2-4B51-8433-E3F48420959A}"/>
              </a:ext>
            </a:extLst>
          </p:cNvPr>
          <p:cNvSpPr/>
          <p:nvPr/>
        </p:nvSpPr>
        <p:spPr>
          <a:xfrm flipH="1">
            <a:off x="3430022" y="4784367"/>
            <a:ext cx="101600" cy="1002366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/>
          </a:p>
        </p:txBody>
      </p:sp>
      <p:sp>
        <p:nvSpPr>
          <p:cNvPr id="20" name="TextBox 47">
            <a:extLst>
              <a:ext uri="{FF2B5EF4-FFF2-40B4-BE49-F238E27FC236}">
                <a16:creationId xmlns:a16="http://schemas.microsoft.com/office/drawing/2014/main" id="{37C247B4-175D-4D11-B853-D2AF3DE04EB3}"/>
              </a:ext>
            </a:extLst>
          </p:cNvPr>
          <p:cNvSpPr txBox="1"/>
          <p:nvPr/>
        </p:nvSpPr>
        <p:spPr>
          <a:xfrm flipH="1">
            <a:off x="509022" y="1453552"/>
            <a:ext cx="269342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ellentesq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i. Maecena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olutp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dio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t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21" name="TextBox 47">
            <a:extLst>
              <a:ext uri="{FF2B5EF4-FFF2-40B4-BE49-F238E27FC236}">
                <a16:creationId xmlns:a16="http://schemas.microsoft.com/office/drawing/2014/main" id="{A11FA36C-8B09-47A5-A9E8-B41DE0D47FEA}"/>
              </a:ext>
            </a:extLst>
          </p:cNvPr>
          <p:cNvSpPr txBox="1"/>
          <p:nvPr/>
        </p:nvSpPr>
        <p:spPr>
          <a:xfrm flipH="1">
            <a:off x="509022" y="4746941"/>
            <a:ext cx="269342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ellentesqu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i. Maecena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olutp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dio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tti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23" name="TextBox 47">
            <a:extLst>
              <a:ext uri="{FF2B5EF4-FFF2-40B4-BE49-F238E27FC236}">
                <a16:creationId xmlns:a16="http://schemas.microsoft.com/office/drawing/2014/main" id="{237F4DAA-F6F7-4DC2-B578-6D414BEF74B0}"/>
              </a:ext>
            </a:extLst>
          </p:cNvPr>
          <p:cNvSpPr txBox="1"/>
          <p:nvPr/>
        </p:nvSpPr>
        <p:spPr>
          <a:xfrm>
            <a:off x="6885744" y="1684385"/>
            <a:ext cx="1903168" cy="61555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4000" b="1" dirty="0">
                <a:solidFill>
                  <a:srgbClr val="7F7F7F"/>
                </a:solidFill>
                <a:latin typeface="+mj-lt"/>
              </a:rPr>
              <a:t>45%</a:t>
            </a:r>
          </a:p>
        </p:txBody>
      </p:sp>
      <p:sp>
        <p:nvSpPr>
          <p:cNvPr id="24" name="TextBox 47">
            <a:extLst>
              <a:ext uri="{FF2B5EF4-FFF2-40B4-BE49-F238E27FC236}">
                <a16:creationId xmlns:a16="http://schemas.microsoft.com/office/drawing/2014/main" id="{EE9CFF36-DC03-46FB-B2EF-37A7DD0E30C4}"/>
              </a:ext>
            </a:extLst>
          </p:cNvPr>
          <p:cNvSpPr txBox="1"/>
          <p:nvPr/>
        </p:nvSpPr>
        <p:spPr>
          <a:xfrm>
            <a:off x="6885744" y="4977774"/>
            <a:ext cx="1903168" cy="61555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4000" b="1" dirty="0">
                <a:solidFill>
                  <a:srgbClr val="A6A6A6"/>
                </a:solidFill>
                <a:latin typeface="+mj-lt"/>
              </a:rPr>
              <a:t>25%</a:t>
            </a:r>
          </a:p>
        </p:txBody>
      </p:sp>
      <p:sp>
        <p:nvSpPr>
          <p:cNvPr id="25" name="TextBox 47">
            <a:extLst>
              <a:ext uri="{FF2B5EF4-FFF2-40B4-BE49-F238E27FC236}">
                <a16:creationId xmlns:a16="http://schemas.microsoft.com/office/drawing/2014/main" id="{DC0A9957-E152-49C0-B103-E3AA9D206C7A}"/>
              </a:ext>
            </a:extLst>
          </p:cNvPr>
          <p:cNvSpPr txBox="1"/>
          <p:nvPr/>
        </p:nvSpPr>
        <p:spPr>
          <a:xfrm>
            <a:off x="3643062" y="1684385"/>
            <a:ext cx="1903168" cy="61555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b="1" dirty="0">
                <a:solidFill>
                  <a:srgbClr val="CE295E"/>
                </a:solidFill>
                <a:latin typeface="+mj-lt"/>
              </a:rPr>
              <a:t>20%</a:t>
            </a:r>
          </a:p>
        </p:txBody>
      </p:sp>
      <p:sp>
        <p:nvSpPr>
          <p:cNvPr id="26" name="TextBox 47">
            <a:extLst>
              <a:ext uri="{FF2B5EF4-FFF2-40B4-BE49-F238E27FC236}">
                <a16:creationId xmlns:a16="http://schemas.microsoft.com/office/drawing/2014/main" id="{ECA5C0CC-DE7F-4793-B26A-CEF2C3D04658}"/>
              </a:ext>
            </a:extLst>
          </p:cNvPr>
          <p:cNvSpPr txBox="1"/>
          <p:nvPr/>
        </p:nvSpPr>
        <p:spPr>
          <a:xfrm>
            <a:off x="3643062" y="4977774"/>
            <a:ext cx="1903168" cy="61555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b="1" dirty="0">
                <a:solidFill>
                  <a:srgbClr val="404040"/>
                </a:solidFill>
                <a:latin typeface="+mj-lt"/>
              </a:rPr>
              <a:t>10%</a:t>
            </a:r>
          </a:p>
        </p:txBody>
      </p:sp>
    </p:spTree>
    <p:extLst>
      <p:ext uri="{BB962C8B-B14F-4D97-AF65-F5344CB8AC3E}">
        <p14:creationId xmlns:p14="http://schemas.microsoft.com/office/powerpoint/2010/main" val="100671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291974D-94F5-468A-87AC-B7EFF95696CC}"/>
              </a:ext>
            </a:extLst>
          </p:cNvPr>
          <p:cNvSpPr/>
          <p:nvPr/>
        </p:nvSpPr>
        <p:spPr>
          <a:xfrm>
            <a:off x="0" y="1116246"/>
            <a:ext cx="12192000" cy="5295901"/>
          </a:xfrm>
          <a:prstGeom prst="rect">
            <a:avLst/>
          </a:prstGeom>
          <a:pattFill prst="lt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/>
              <a:t>Upcoming Deposits</a:t>
            </a:r>
            <a:endParaRPr lang="en-US" dirty="0"/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337509D2-0CBC-4371-A05E-AF36659B07F3}"/>
              </a:ext>
            </a:extLst>
          </p:cNvPr>
          <p:cNvGrpSpPr/>
          <p:nvPr/>
        </p:nvGrpSpPr>
        <p:grpSpPr>
          <a:xfrm>
            <a:off x="4386490" y="4060864"/>
            <a:ext cx="3419021" cy="2214588"/>
            <a:chOff x="304800" y="4060864"/>
            <a:chExt cx="3419021" cy="2214588"/>
          </a:xfr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AA28CFA6-1725-41B9-AFC0-2D9C4C887905}"/>
                </a:ext>
              </a:extLst>
            </p:cNvPr>
            <p:cNvSpPr/>
            <p:nvPr/>
          </p:nvSpPr>
          <p:spPr>
            <a:xfrm>
              <a:off x="304800" y="4060864"/>
              <a:ext cx="3419021" cy="221458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3600" b="1" dirty="0">
                <a:latin typeface="+mj-lt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AE0232FB-F1E3-4951-A55C-3F3342DF6A13}"/>
                </a:ext>
              </a:extLst>
            </p:cNvPr>
            <p:cNvSpPr/>
            <p:nvPr/>
          </p:nvSpPr>
          <p:spPr>
            <a:xfrm>
              <a:off x="304800" y="4060864"/>
              <a:ext cx="3419021" cy="419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a Market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B755EE4-AAED-40FD-A16A-259334EEE052}"/>
              </a:ext>
            </a:extLst>
          </p:cNvPr>
          <p:cNvGrpSpPr/>
          <p:nvPr/>
        </p:nvGrpSpPr>
        <p:grpSpPr>
          <a:xfrm>
            <a:off x="304800" y="4060864"/>
            <a:ext cx="3419021" cy="2214588"/>
            <a:chOff x="304800" y="4060864"/>
            <a:chExt cx="3419021" cy="2214588"/>
          </a:xfr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ECC89592-EA05-4F09-AE50-51BC0C185628}"/>
                </a:ext>
              </a:extLst>
            </p:cNvPr>
            <p:cNvSpPr/>
            <p:nvPr/>
          </p:nvSpPr>
          <p:spPr>
            <a:xfrm>
              <a:off x="304800" y="4060864"/>
              <a:ext cx="3419021" cy="22145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3600" b="1" dirty="0">
                <a:latin typeface="+mj-lt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9CFFF09D-96F9-453A-AC93-BC01E504D3BB}"/>
                </a:ext>
              </a:extLst>
            </p:cNvPr>
            <p:cNvSpPr/>
            <p:nvPr/>
          </p:nvSpPr>
          <p:spPr>
            <a:xfrm>
              <a:off x="304800" y="4060864"/>
              <a:ext cx="3419021" cy="419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rket Location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A98AD67-5AA4-441A-BB82-472C28841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529D36-DA44-4B35-931C-00DBA5384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6CA378-A42F-4D9C-A19A-0115D50F3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1550221-8258-42F2-8C5D-7698C3085D53}"/>
              </a:ext>
            </a:extLst>
          </p:cNvPr>
          <p:cNvGrpSpPr/>
          <p:nvPr/>
        </p:nvGrpSpPr>
        <p:grpSpPr>
          <a:xfrm>
            <a:off x="304800" y="1577182"/>
            <a:ext cx="3419021" cy="2214588"/>
            <a:chOff x="304800" y="1577182"/>
            <a:chExt cx="3419021" cy="2214588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DADA208-E23E-4B7A-8B30-503644571020}"/>
                </a:ext>
              </a:extLst>
            </p:cNvPr>
            <p:cNvSpPr/>
            <p:nvPr/>
          </p:nvSpPr>
          <p:spPr>
            <a:xfrm>
              <a:off x="304800" y="1577182"/>
              <a:ext cx="3419021" cy="1795488"/>
            </a:xfrm>
            <a:prstGeom prst="rect">
              <a:avLst/>
            </a:prstGeom>
            <a:solidFill>
              <a:srgbClr val="CE29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3600" b="1" dirty="0">
                  <a:latin typeface="+mj-lt"/>
                </a:rPr>
                <a:t>$ 1,373.68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5AF9DE5-C8D3-43F1-8647-AA7713F1FCEF}"/>
                </a:ext>
              </a:extLst>
            </p:cNvPr>
            <p:cNvSpPr/>
            <p:nvPr/>
          </p:nvSpPr>
          <p:spPr>
            <a:xfrm>
              <a:off x="304800" y="3372670"/>
              <a:ext cx="3419021" cy="419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ast Deposit: $1,566.34 </a:t>
              </a:r>
            </a:p>
          </p:txBody>
        </p:sp>
      </p:grpSp>
      <p:sp>
        <p:nvSpPr>
          <p:cNvPr id="6" name="Oval 5">
            <a:extLst>
              <a:ext uri="{FF2B5EF4-FFF2-40B4-BE49-F238E27FC236}">
                <a16:creationId xmlns:a16="http://schemas.microsoft.com/office/drawing/2014/main" id="{97C50A8E-3918-4827-975A-99A3EAB66BFA}"/>
              </a:ext>
            </a:extLst>
          </p:cNvPr>
          <p:cNvSpPr/>
          <p:nvPr/>
        </p:nvSpPr>
        <p:spPr>
          <a:xfrm>
            <a:off x="1685698" y="1242245"/>
            <a:ext cx="657225" cy="657225"/>
          </a:xfrm>
          <a:prstGeom prst="ellipse">
            <a:avLst/>
          </a:prstGeom>
          <a:solidFill>
            <a:srgbClr val="CE295E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5301E57-A6A4-4748-B362-9BA17072ED18}"/>
              </a:ext>
            </a:extLst>
          </p:cNvPr>
          <p:cNvGrpSpPr/>
          <p:nvPr/>
        </p:nvGrpSpPr>
        <p:grpSpPr>
          <a:xfrm>
            <a:off x="1870641" y="1439094"/>
            <a:ext cx="287338" cy="263526"/>
            <a:chOff x="3171825" y="1368425"/>
            <a:chExt cx="287338" cy="263526"/>
          </a:xfrm>
          <a:solidFill>
            <a:schemeClr val="bg1"/>
          </a:solidFill>
        </p:grpSpPr>
        <p:sp>
          <p:nvSpPr>
            <p:cNvPr id="13" name="Freeform 466">
              <a:extLst>
                <a:ext uri="{FF2B5EF4-FFF2-40B4-BE49-F238E27FC236}">
                  <a16:creationId xmlns:a16="http://schemas.microsoft.com/office/drawing/2014/main" id="{385D5C6F-FE82-4E8C-8542-1BECD761D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98613"/>
              <a:ext cx="49213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136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467">
              <a:extLst>
                <a:ext uri="{FF2B5EF4-FFF2-40B4-BE49-F238E27FC236}">
                  <a16:creationId xmlns:a16="http://schemas.microsoft.com/office/drawing/2014/main" id="{3F4AD88D-507E-4EB6-B578-88060D4CF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98613"/>
              <a:ext cx="28575" cy="33338"/>
            </a:xfrm>
            <a:custGeom>
              <a:avLst/>
              <a:gdLst>
                <a:gd name="T0" fmla="*/ 75 w 90"/>
                <a:gd name="T1" fmla="*/ 0 h 106"/>
                <a:gd name="T2" fmla="*/ 0 w 90"/>
                <a:gd name="T3" fmla="*/ 0 h 106"/>
                <a:gd name="T4" fmla="*/ 0 w 90"/>
                <a:gd name="T5" fmla="*/ 106 h 106"/>
                <a:gd name="T6" fmla="*/ 75 w 90"/>
                <a:gd name="T7" fmla="*/ 106 h 106"/>
                <a:gd name="T8" fmla="*/ 78 w 90"/>
                <a:gd name="T9" fmla="*/ 106 h 106"/>
                <a:gd name="T10" fmla="*/ 80 w 90"/>
                <a:gd name="T11" fmla="*/ 104 h 106"/>
                <a:gd name="T12" fmla="*/ 84 w 90"/>
                <a:gd name="T13" fmla="*/ 103 h 106"/>
                <a:gd name="T14" fmla="*/ 86 w 90"/>
                <a:gd name="T15" fmla="*/ 101 h 106"/>
                <a:gd name="T16" fmla="*/ 88 w 90"/>
                <a:gd name="T17" fmla="*/ 99 h 106"/>
                <a:gd name="T18" fmla="*/ 89 w 90"/>
                <a:gd name="T19" fmla="*/ 97 h 106"/>
                <a:gd name="T20" fmla="*/ 90 w 90"/>
                <a:gd name="T21" fmla="*/ 94 h 106"/>
                <a:gd name="T22" fmla="*/ 90 w 90"/>
                <a:gd name="T23" fmla="*/ 91 h 106"/>
                <a:gd name="T24" fmla="*/ 90 w 90"/>
                <a:gd name="T25" fmla="*/ 15 h 106"/>
                <a:gd name="T26" fmla="*/ 90 w 90"/>
                <a:gd name="T27" fmla="*/ 12 h 106"/>
                <a:gd name="T28" fmla="*/ 89 w 90"/>
                <a:gd name="T29" fmla="*/ 10 h 106"/>
                <a:gd name="T30" fmla="*/ 88 w 90"/>
                <a:gd name="T31" fmla="*/ 7 h 106"/>
                <a:gd name="T32" fmla="*/ 86 w 90"/>
                <a:gd name="T33" fmla="*/ 5 h 106"/>
                <a:gd name="T34" fmla="*/ 84 w 90"/>
                <a:gd name="T35" fmla="*/ 4 h 106"/>
                <a:gd name="T36" fmla="*/ 80 w 90"/>
                <a:gd name="T37" fmla="*/ 2 h 106"/>
                <a:gd name="T38" fmla="*/ 78 w 90"/>
                <a:gd name="T39" fmla="*/ 2 h 106"/>
                <a:gd name="T40" fmla="*/ 75 w 90"/>
                <a:gd name="T41" fmla="*/ 0 h 106"/>
                <a:gd name="T42" fmla="*/ 7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75" y="0"/>
                  </a:move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8" y="106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68">
              <a:extLst>
                <a:ext uri="{FF2B5EF4-FFF2-40B4-BE49-F238E27FC236}">
                  <a16:creationId xmlns:a16="http://schemas.microsoft.com/office/drawing/2014/main" id="{25BE5FD6-A410-4824-9697-31FCF7983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98613"/>
              <a:ext cx="28575" cy="33338"/>
            </a:xfrm>
            <a:custGeom>
              <a:avLst/>
              <a:gdLst>
                <a:gd name="T0" fmla="*/ 15 w 90"/>
                <a:gd name="T1" fmla="*/ 0 h 106"/>
                <a:gd name="T2" fmla="*/ 11 w 90"/>
                <a:gd name="T3" fmla="*/ 0 h 106"/>
                <a:gd name="T4" fmla="*/ 9 w 90"/>
                <a:gd name="T5" fmla="*/ 2 h 106"/>
                <a:gd name="T6" fmla="*/ 6 w 90"/>
                <a:gd name="T7" fmla="*/ 4 h 106"/>
                <a:gd name="T8" fmla="*/ 4 w 90"/>
                <a:gd name="T9" fmla="*/ 5 h 106"/>
                <a:gd name="T10" fmla="*/ 3 w 90"/>
                <a:gd name="T11" fmla="*/ 7 h 106"/>
                <a:gd name="T12" fmla="*/ 1 w 90"/>
                <a:gd name="T13" fmla="*/ 10 h 106"/>
                <a:gd name="T14" fmla="*/ 0 w 90"/>
                <a:gd name="T15" fmla="*/ 12 h 106"/>
                <a:gd name="T16" fmla="*/ 0 w 90"/>
                <a:gd name="T17" fmla="*/ 15 h 106"/>
                <a:gd name="T18" fmla="*/ 0 w 90"/>
                <a:gd name="T19" fmla="*/ 91 h 106"/>
                <a:gd name="T20" fmla="*/ 0 w 90"/>
                <a:gd name="T21" fmla="*/ 94 h 106"/>
                <a:gd name="T22" fmla="*/ 1 w 90"/>
                <a:gd name="T23" fmla="*/ 97 h 106"/>
                <a:gd name="T24" fmla="*/ 3 w 90"/>
                <a:gd name="T25" fmla="*/ 99 h 106"/>
                <a:gd name="T26" fmla="*/ 4 w 90"/>
                <a:gd name="T27" fmla="*/ 101 h 106"/>
                <a:gd name="T28" fmla="*/ 6 w 90"/>
                <a:gd name="T29" fmla="*/ 103 h 106"/>
                <a:gd name="T30" fmla="*/ 9 w 90"/>
                <a:gd name="T31" fmla="*/ 104 h 106"/>
                <a:gd name="T32" fmla="*/ 11 w 90"/>
                <a:gd name="T33" fmla="*/ 106 h 106"/>
                <a:gd name="T34" fmla="*/ 15 w 90"/>
                <a:gd name="T35" fmla="*/ 106 h 106"/>
                <a:gd name="T36" fmla="*/ 90 w 90"/>
                <a:gd name="T37" fmla="*/ 106 h 106"/>
                <a:gd name="T38" fmla="*/ 90 w 90"/>
                <a:gd name="T39" fmla="*/ 0 h 106"/>
                <a:gd name="T40" fmla="*/ 75 w 90"/>
                <a:gd name="T41" fmla="*/ 0 h 106"/>
                <a:gd name="T42" fmla="*/ 1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15" y="0"/>
                  </a:moveTo>
                  <a:lnTo>
                    <a:pt x="11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469">
              <a:extLst>
                <a:ext uri="{FF2B5EF4-FFF2-40B4-BE49-F238E27FC236}">
                  <a16:creationId xmlns:a16="http://schemas.microsoft.com/office/drawing/2014/main" id="{70C956FB-1840-44F1-8377-516D0A87B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22413"/>
              <a:ext cx="49213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136 w 151"/>
                <a:gd name="T5" fmla="*/ 0 h 105"/>
                <a:gd name="T6" fmla="*/ 0 w 151"/>
                <a:gd name="T7" fmla="*/ 0 h 105"/>
                <a:gd name="T8" fmla="*/ 0 w 151"/>
                <a:gd name="T9" fmla="*/ 105 h 105"/>
                <a:gd name="T10" fmla="*/ 136 w 151"/>
                <a:gd name="T11" fmla="*/ 105 h 105"/>
                <a:gd name="T12" fmla="*/ 151 w 151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36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70">
              <a:extLst>
                <a:ext uri="{FF2B5EF4-FFF2-40B4-BE49-F238E27FC236}">
                  <a16:creationId xmlns:a16="http://schemas.microsoft.com/office/drawing/2014/main" id="{31F34C55-620E-437B-84B4-9120D2B17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22413"/>
              <a:ext cx="28575" cy="33338"/>
            </a:xfrm>
            <a:custGeom>
              <a:avLst/>
              <a:gdLst>
                <a:gd name="T0" fmla="*/ 15 w 90"/>
                <a:gd name="T1" fmla="*/ 0 h 105"/>
                <a:gd name="T2" fmla="*/ 11 w 90"/>
                <a:gd name="T3" fmla="*/ 0 h 105"/>
                <a:gd name="T4" fmla="*/ 9 w 90"/>
                <a:gd name="T5" fmla="*/ 1 h 105"/>
                <a:gd name="T6" fmla="*/ 6 w 90"/>
                <a:gd name="T7" fmla="*/ 2 h 105"/>
                <a:gd name="T8" fmla="*/ 4 w 90"/>
                <a:gd name="T9" fmla="*/ 4 h 105"/>
                <a:gd name="T10" fmla="*/ 3 w 90"/>
                <a:gd name="T11" fmla="*/ 7 h 105"/>
                <a:gd name="T12" fmla="*/ 1 w 90"/>
                <a:gd name="T13" fmla="*/ 9 h 105"/>
                <a:gd name="T14" fmla="*/ 0 w 90"/>
                <a:gd name="T15" fmla="*/ 12 h 105"/>
                <a:gd name="T16" fmla="*/ 0 w 90"/>
                <a:gd name="T17" fmla="*/ 15 h 105"/>
                <a:gd name="T18" fmla="*/ 0 w 90"/>
                <a:gd name="T19" fmla="*/ 90 h 105"/>
                <a:gd name="T20" fmla="*/ 0 w 90"/>
                <a:gd name="T21" fmla="*/ 93 h 105"/>
                <a:gd name="T22" fmla="*/ 1 w 90"/>
                <a:gd name="T23" fmla="*/ 96 h 105"/>
                <a:gd name="T24" fmla="*/ 3 w 90"/>
                <a:gd name="T25" fmla="*/ 99 h 105"/>
                <a:gd name="T26" fmla="*/ 4 w 90"/>
                <a:gd name="T27" fmla="*/ 101 h 105"/>
                <a:gd name="T28" fmla="*/ 6 w 90"/>
                <a:gd name="T29" fmla="*/ 102 h 105"/>
                <a:gd name="T30" fmla="*/ 9 w 90"/>
                <a:gd name="T31" fmla="*/ 104 h 105"/>
                <a:gd name="T32" fmla="*/ 11 w 90"/>
                <a:gd name="T33" fmla="*/ 105 h 105"/>
                <a:gd name="T34" fmla="*/ 15 w 90"/>
                <a:gd name="T35" fmla="*/ 105 h 105"/>
                <a:gd name="T36" fmla="*/ 7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  <a:gd name="T42" fmla="*/ 75 w 90"/>
                <a:gd name="T43" fmla="*/ 0 h 105"/>
                <a:gd name="T44" fmla="*/ 15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15" y="0"/>
                  </a:move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71">
              <a:extLst>
                <a:ext uri="{FF2B5EF4-FFF2-40B4-BE49-F238E27FC236}">
                  <a16:creationId xmlns:a16="http://schemas.microsoft.com/office/drawing/2014/main" id="{18397A4D-BBCC-464A-A388-9BDBF3FBC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22413"/>
              <a:ext cx="28575" cy="33338"/>
            </a:xfrm>
            <a:custGeom>
              <a:avLst/>
              <a:gdLst>
                <a:gd name="T0" fmla="*/ 75 w 90"/>
                <a:gd name="T1" fmla="*/ 0 h 105"/>
                <a:gd name="T2" fmla="*/ 0 w 90"/>
                <a:gd name="T3" fmla="*/ 0 h 105"/>
                <a:gd name="T4" fmla="*/ 0 w 90"/>
                <a:gd name="T5" fmla="*/ 105 h 105"/>
                <a:gd name="T6" fmla="*/ 75 w 90"/>
                <a:gd name="T7" fmla="*/ 105 h 105"/>
                <a:gd name="T8" fmla="*/ 78 w 90"/>
                <a:gd name="T9" fmla="*/ 105 h 105"/>
                <a:gd name="T10" fmla="*/ 80 w 90"/>
                <a:gd name="T11" fmla="*/ 104 h 105"/>
                <a:gd name="T12" fmla="*/ 84 w 90"/>
                <a:gd name="T13" fmla="*/ 102 h 105"/>
                <a:gd name="T14" fmla="*/ 86 w 90"/>
                <a:gd name="T15" fmla="*/ 101 h 105"/>
                <a:gd name="T16" fmla="*/ 88 w 90"/>
                <a:gd name="T17" fmla="*/ 99 h 105"/>
                <a:gd name="T18" fmla="*/ 89 w 90"/>
                <a:gd name="T19" fmla="*/ 96 h 105"/>
                <a:gd name="T20" fmla="*/ 90 w 90"/>
                <a:gd name="T21" fmla="*/ 93 h 105"/>
                <a:gd name="T22" fmla="*/ 90 w 90"/>
                <a:gd name="T23" fmla="*/ 90 h 105"/>
                <a:gd name="T24" fmla="*/ 90 w 90"/>
                <a:gd name="T25" fmla="*/ 15 h 105"/>
                <a:gd name="T26" fmla="*/ 90 w 90"/>
                <a:gd name="T27" fmla="*/ 12 h 105"/>
                <a:gd name="T28" fmla="*/ 89 w 90"/>
                <a:gd name="T29" fmla="*/ 9 h 105"/>
                <a:gd name="T30" fmla="*/ 88 w 90"/>
                <a:gd name="T31" fmla="*/ 7 h 105"/>
                <a:gd name="T32" fmla="*/ 86 w 90"/>
                <a:gd name="T33" fmla="*/ 4 h 105"/>
                <a:gd name="T34" fmla="*/ 84 w 90"/>
                <a:gd name="T35" fmla="*/ 2 h 105"/>
                <a:gd name="T36" fmla="*/ 80 w 90"/>
                <a:gd name="T37" fmla="*/ 1 h 105"/>
                <a:gd name="T38" fmla="*/ 78 w 90"/>
                <a:gd name="T39" fmla="*/ 0 h 105"/>
                <a:gd name="T40" fmla="*/ 75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75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72">
              <a:extLst>
                <a:ext uri="{FF2B5EF4-FFF2-40B4-BE49-F238E27FC236}">
                  <a16:creationId xmlns:a16="http://schemas.microsoft.com/office/drawing/2014/main" id="{196FE97D-77A1-4D52-A288-82512B28D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0875" y="14462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4 h 105"/>
                <a:gd name="T12" fmla="*/ 3 w 90"/>
                <a:gd name="T13" fmla="*/ 6 h 105"/>
                <a:gd name="T14" fmla="*/ 1 w 90"/>
                <a:gd name="T15" fmla="*/ 9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3 h 105"/>
                <a:gd name="T24" fmla="*/ 1 w 90"/>
                <a:gd name="T25" fmla="*/ 96 h 105"/>
                <a:gd name="T26" fmla="*/ 3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45 w 90"/>
                <a:gd name="T39" fmla="*/ 105 h 105"/>
                <a:gd name="T40" fmla="*/ 90 w 90"/>
                <a:gd name="T41" fmla="*/ 105 h 105"/>
                <a:gd name="T42" fmla="*/ 90 w 90"/>
                <a:gd name="T4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73">
              <a:extLst>
                <a:ext uri="{FF2B5EF4-FFF2-40B4-BE49-F238E27FC236}">
                  <a16:creationId xmlns:a16="http://schemas.microsoft.com/office/drawing/2014/main" id="{AEEC57E4-9646-4A44-BD9D-7456C262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14462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46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06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4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6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474">
              <a:extLst>
                <a:ext uri="{FF2B5EF4-FFF2-40B4-BE49-F238E27FC236}">
                  <a16:creationId xmlns:a16="http://schemas.microsoft.com/office/drawing/2014/main" id="{3033CFA5-C735-49A7-99D6-6BC7D8DA0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713" y="1446213"/>
              <a:ext cx="28575" cy="33338"/>
            </a:xfrm>
            <a:custGeom>
              <a:avLst/>
              <a:gdLst>
                <a:gd name="T0" fmla="*/ 90 w 90"/>
                <a:gd name="T1" fmla="*/ 15 h 105"/>
                <a:gd name="T2" fmla="*/ 90 w 90"/>
                <a:gd name="T3" fmla="*/ 12 h 105"/>
                <a:gd name="T4" fmla="*/ 89 w 90"/>
                <a:gd name="T5" fmla="*/ 9 h 105"/>
                <a:gd name="T6" fmla="*/ 88 w 90"/>
                <a:gd name="T7" fmla="*/ 6 h 105"/>
                <a:gd name="T8" fmla="*/ 86 w 90"/>
                <a:gd name="T9" fmla="*/ 4 h 105"/>
                <a:gd name="T10" fmla="*/ 84 w 90"/>
                <a:gd name="T11" fmla="*/ 2 h 105"/>
                <a:gd name="T12" fmla="*/ 81 w 90"/>
                <a:gd name="T13" fmla="*/ 1 h 105"/>
                <a:gd name="T14" fmla="*/ 78 w 90"/>
                <a:gd name="T15" fmla="*/ 0 h 105"/>
                <a:gd name="T16" fmla="*/ 75 w 90"/>
                <a:gd name="T17" fmla="*/ 0 h 105"/>
                <a:gd name="T18" fmla="*/ 45 w 90"/>
                <a:gd name="T19" fmla="*/ 0 h 105"/>
                <a:gd name="T20" fmla="*/ 0 w 90"/>
                <a:gd name="T21" fmla="*/ 0 h 105"/>
                <a:gd name="T22" fmla="*/ 0 w 90"/>
                <a:gd name="T23" fmla="*/ 105 h 105"/>
                <a:gd name="T24" fmla="*/ 75 w 90"/>
                <a:gd name="T25" fmla="*/ 105 h 105"/>
                <a:gd name="T26" fmla="*/ 78 w 90"/>
                <a:gd name="T27" fmla="*/ 105 h 105"/>
                <a:gd name="T28" fmla="*/ 81 w 90"/>
                <a:gd name="T29" fmla="*/ 104 h 105"/>
                <a:gd name="T30" fmla="*/ 84 w 90"/>
                <a:gd name="T31" fmla="*/ 103 h 105"/>
                <a:gd name="T32" fmla="*/ 86 w 90"/>
                <a:gd name="T33" fmla="*/ 101 h 105"/>
                <a:gd name="T34" fmla="*/ 88 w 90"/>
                <a:gd name="T35" fmla="*/ 99 h 105"/>
                <a:gd name="T36" fmla="*/ 89 w 90"/>
                <a:gd name="T37" fmla="*/ 96 h 105"/>
                <a:gd name="T38" fmla="*/ 90 w 90"/>
                <a:gd name="T39" fmla="*/ 93 h 105"/>
                <a:gd name="T40" fmla="*/ 90 w 90"/>
                <a:gd name="T41" fmla="*/ 90 h 105"/>
                <a:gd name="T42" fmla="*/ 90 w 90"/>
                <a:gd name="T43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15"/>
                  </a:moveTo>
                  <a:lnTo>
                    <a:pt x="90" y="12"/>
                  </a:lnTo>
                  <a:lnTo>
                    <a:pt x="89" y="9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475">
              <a:extLst>
                <a:ext uri="{FF2B5EF4-FFF2-40B4-BE49-F238E27FC236}">
                  <a16:creationId xmlns:a16="http://schemas.microsoft.com/office/drawing/2014/main" id="{065F74B0-847F-49F5-9074-1CED108D1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08113"/>
              <a:ext cx="30163" cy="33338"/>
            </a:xfrm>
            <a:custGeom>
              <a:avLst/>
              <a:gdLst>
                <a:gd name="T0" fmla="*/ 0 w 91"/>
                <a:gd name="T1" fmla="*/ 90 h 105"/>
                <a:gd name="T2" fmla="*/ 1 w 91"/>
                <a:gd name="T3" fmla="*/ 93 h 105"/>
                <a:gd name="T4" fmla="*/ 1 w 91"/>
                <a:gd name="T5" fmla="*/ 95 h 105"/>
                <a:gd name="T6" fmla="*/ 3 w 91"/>
                <a:gd name="T7" fmla="*/ 98 h 105"/>
                <a:gd name="T8" fmla="*/ 4 w 91"/>
                <a:gd name="T9" fmla="*/ 101 h 105"/>
                <a:gd name="T10" fmla="*/ 7 w 91"/>
                <a:gd name="T11" fmla="*/ 103 h 105"/>
                <a:gd name="T12" fmla="*/ 9 w 91"/>
                <a:gd name="T13" fmla="*/ 104 h 105"/>
                <a:gd name="T14" fmla="*/ 13 w 91"/>
                <a:gd name="T15" fmla="*/ 105 h 105"/>
                <a:gd name="T16" fmla="*/ 15 w 91"/>
                <a:gd name="T17" fmla="*/ 105 h 105"/>
                <a:gd name="T18" fmla="*/ 45 w 91"/>
                <a:gd name="T19" fmla="*/ 105 h 105"/>
                <a:gd name="T20" fmla="*/ 91 w 91"/>
                <a:gd name="T21" fmla="*/ 105 h 105"/>
                <a:gd name="T22" fmla="*/ 91 w 91"/>
                <a:gd name="T23" fmla="*/ 0 h 105"/>
                <a:gd name="T24" fmla="*/ 15 w 91"/>
                <a:gd name="T25" fmla="*/ 0 h 105"/>
                <a:gd name="T26" fmla="*/ 13 w 91"/>
                <a:gd name="T27" fmla="*/ 0 h 105"/>
                <a:gd name="T28" fmla="*/ 9 w 91"/>
                <a:gd name="T29" fmla="*/ 1 h 105"/>
                <a:gd name="T30" fmla="*/ 7 w 91"/>
                <a:gd name="T31" fmla="*/ 2 h 105"/>
                <a:gd name="T32" fmla="*/ 4 w 91"/>
                <a:gd name="T33" fmla="*/ 4 h 105"/>
                <a:gd name="T34" fmla="*/ 3 w 91"/>
                <a:gd name="T35" fmla="*/ 6 h 105"/>
                <a:gd name="T36" fmla="*/ 1 w 91"/>
                <a:gd name="T37" fmla="*/ 8 h 105"/>
                <a:gd name="T38" fmla="*/ 1 w 91"/>
                <a:gd name="T39" fmla="*/ 11 h 105"/>
                <a:gd name="T40" fmla="*/ 0 w 91"/>
                <a:gd name="T41" fmla="*/ 15 h 105"/>
                <a:gd name="T42" fmla="*/ 0 w 91"/>
                <a:gd name="T43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0" y="90"/>
                  </a:moveTo>
                  <a:lnTo>
                    <a:pt x="1" y="93"/>
                  </a:lnTo>
                  <a:lnTo>
                    <a:pt x="1" y="95"/>
                  </a:lnTo>
                  <a:lnTo>
                    <a:pt x="3" y="98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9" y="104"/>
                  </a:lnTo>
                  <a:lnTo>
                    <a:pt x="13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1" y="105"/>
                  </a:lnTo>
                  <a:lnTo>
                    <a:pt x="91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476">
              <a:extLst>
                <a:ext uri="{FF2B5EF4-FFF2-40B4-BE49-F238E27FC236}">
                  <a16:creationId xmlns:a16="http://schemas.microsoft.com/office/drawing/2014/main" id="{DB22E8D4-6BB2-4D40-BB88-1C39D4F8E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1408113"/>
              <a:ext cx="47625" cy="33338"/>
            </a:xfrm>
            <a:custGeom>
              <a:avLst/>
              <a:gdLst>
                <a:gd name="T0" fmla="*/ 0 w 150"/>
                <a:gd name="T1" fmla="*/ 105 h 105"/>
                <a:gd name="T2" fmla="*/ 105 w 150"/>
                <a:gd name="T3" fmla="*/ 105 h 105"/>
                <a:gd name="T4" fmla="*/ 150 w 150"/>
                <a:gd name="T5" fmla="*/ 105 h 105"/>
                <a:gd name="T6" fmla="*/ 150 w 150"/>
                <a:gd name="T7" fmla="*/ 0 h 105"/>
                <a:gd name="T8" fmla="*/ 75 w 150"/>
                <a:gd name="T9" fmla="*/ 0 h 105"/>
                <a:gd name="T10" fmla="*/ 0 w 150"/>
                <a:gd name="T11" fmla="*/ 0 h 105"/>
                <a:gd name="T12" fmla="*/ 0 w 150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0" y="105"/>
                  </a:move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478">
              <a:extLst>
                <a:ext uri="{FF2B5EF4-FFF2-40B4-BE49-F238E27FC236}">
                  <a16:creationId xmlns:a16="http://schemas.microsoft.com/office/drawing/2014/main" id="{87F52D03-CB49-4783-A300-614548CAD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6763" y="1408113"/>
              <a:ext cx="28575" cy="33338"/>
            </a:xfrm>
            <a:custGeom>
              <a:avLst/>
              <a:gdLst>
                <a:gd name="T0" fmla="*/ 0 w 90"/>
                <a:gd name="T1" fmla="*/ 105 h 105"/>
                <a:gd name="T2" fmla="*/ 75 w 90"/>
                <a:gd name="T3" fmla="*/ 105 h 105"/>
                <a:gd name="T4" fmla="*/ 78 w 90"/>
                <a:gd name="T5" fmla="*/ 105 h 105"/>
                <a:gd name="T6" fmla="*/ 82 w 90"/>
                <a:gd name="T7" fmla="*/ 104 h 105"/>
                <a:gd name="T8" fmla="*/ 84 w 90"/>
                <a:gd name="T9" fmla="*/ 103 h 105"/>
                <a:gd name="T10" fmla="*/ 86 w 90"/>
                <a:gd name="T11" fmla="*/ 101 h 105"/>
                <a:gd name="T12" fmla="*/ 88 w 90"/>
                <a:gd name="T13" fmla="*/ 98 h 105"/>
                <a:gd name="T14" fmla="*/ 89 w 90"/>
                <a:gd name="T15" fmla="*/ 95 h 105"/>
                <a:gd name="T16" fmla="*/ 90 w 90"/>
                <a:gd name="T17" fmla="*/ 93 h 105"/>
                <a:gd name="T18" fmla="*/ 90 w 90"/>
                <a:gd name="T19" fmla="*/ 90 h 105"/>
                <a:gd name="T20" fmla="*/ 90 w 90"/>
                <a:gd name="T21" fmla="*/ 15 h 105"/>
                <a:gd name="T22" fmla="*/ 90 w 90"/>
                <a:gd name="T23" fmla="*/ 11 h 105"/>
                <a:gd name="T24" fmla="*/ 89 w 90"/>
                <a:gd name="T25" fmla="*/ 8 h 105"/>
                <a:gd name="T26" fmla="*/ 88 w 90"/>
                <a:gd name="T27" fmla="*/ 6 h 105"/>
                <a:gd name="T28" fmla="*/ 86 w 90"/>
                <a:gd name="T29" fmla="*/ 4 h 105"/>
                <a:gd name="T30" fmla="*/ 84 w 90"/>
                <a:gd name="T31" fmla="*/ 2 h 105"/>
                <a:gd name="T32" fmla="*/ 82 w 90"/>
                <a:gd name="T33" fmla="*/ 1 h 105"/>
                <a:gd name="T34" fmla="*/ 78 w 90"/>
                <a:gd name="T35" fmla="*/ 0 h 105"/>
                <a:gd name="T36" fmla="*/ 75 w 90"/>
                <a:gd name="T37" fmla="*/ 0 h 105"/>
                <a:gd name="T38" fmla="*/ 0 w 90"/>
                <a:gd name="T39" fmla="*/ 0 h 105"/>
                <a:gd name="T40" fmla="*/ 0 w 90"/>
                <a:gd name="T4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05"/>
                  </a:moveTo>
                  <a:lnTo>
                    <a:pt x="75" y="105"/>
                  </a:lnTo>
                  <a:lnTo>
                    <a:pt x="78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8"/>
                  </a:lnTo>
                  <a:lnTo>
                    <a:pt x="89" y="95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9" y="8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479">
              <a:extLst>
                <a:ext uri="{FF2B5EF4-FFF2-40B4-BE49-F238E27FC236}">
                  <a16:creationId xmlns:a16="http://schemas.microsoft.com/office/drawing/2014/main" id="{DBADE0C6-806F-47B9-9C52-13B9C417A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560513"/>
              <a:ext cx="28575" cy="33338"/>
            </a:xfrm>
            <a:custGeom>
              <a:avLst/>
              <a:gdLst>
                <a:gd name="T0" fmla="*/ 90 w 90"/>
                <a:gd name="T1" fmla="*/ 90 h 105"/>
                <a:gd name="T2" fmla="*/ 90 w 90"/>
                <a:gd name="T3" fmla="*/ 15 h 105"/>
                <a:gd name="T4" fmla="*/ 90 w 90"/>
                <a:gd name="T5" fmla="*/ 12 h 105"/>
                <a:gd name="T6" fmla="*/ 89 w 90"/>
                <a:gd name="T7" fmla="*/ 9 h 105"/>
                <a:gd name="T8" fmla="*/ 88 w 90"/>
                <a:gd name="T9" fmla="*/ 7 h 105"/>
                <a:gd name="T10" fmla="*/ 86 w 90"/>
                <a:gd name="T11" fmla="*/ 5 h 105"/>
                <a:gd name="T12" fmla="*/ 84 w 90"/>
                <a:gd name="T13" fmla="*/ 2 h 105"/>
                <a:gd name="T14" fmla="*/ 80 w 90"/>
                <a:gd name="T15" fmla="*/ 1 h 105"/>
                <a:gd name="T16" fmla="*/ 78 w 90"/>
                <a:gd name="T17" fmla="*/ 0 h 105"/>
                <a:gd name="T18" fmla="*/ 75 w 90"/>
                <a:gd name="T19" fmla="*/ 0 h 105"/>
                <a:gd name="T20" fmla="*/ 15 w 90"/>
                <a:gd name="T21" fmla="*/ 0 h 105"/>
                <a:gd name="T22" fmla="*/ 0 w 90"/>
                <a:gd name="T23" fmla="*/ 0 h 105"/>
                <a:gd name="T24" fmla="*/ 0 w 90"/>
                <a:gd name="T25" fmla="*/ 105 h 105"/>
                <a:gd name="T26" fmla="*/ 15 w 90"/>
                <a:gd name="T27" fmla="*/ 105 h 105"/>
                <a:gd name="T28" fmla="*/ 75 w 90"/>
                <a:gd name="T29" fmla="*/ 105 h 105"/>
                <a:gd name="T30" fmla="*/ 78 w 90"/>
                <a:gd name="T31" fmla="*/ 105 h 105"/>
                <a:gd name="T32" fmla="*/ 80 w 90"/>
                <a:gd name="T33" fmla="*/ 104 h 105"/>
                <a:gd name="T34" fmla="*/ 84 w 90"/>
                <a:gd name="T35" fmla="*/ 103 h 105"/>
                <a:gd name="T36" fmla="*/ 86 w 90"/>
                <a:gd name="T37" fmla="*/ 101 h 105"/>
                <a:gd name="T38" fmla="*/ 88 w 90"/>
                <a:gd name="T39" fmla="*/ 99 h 105"/>
                <a:gd name="T40" fmla="*/ 89 w 90"/>
                <a:gd name="T41" fmla="*/ 97 h 105"/>
                <a:gd name="T42" fmla="*/ 90 w 90"/>
                <a:gd name="T43" fmla="*/ 94 h 105"/>
                <a:gd name="T44" fmla="*/ 90 w 90"/>
                <a:gd name="T45" fmla="*/ 90 h 105"/>
                <a:gd name="T46" fmla="*/ 90 w 90"/>
                <a:gd name="T4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0" h="105">
                  <a:moveTo>
                    <a:pt x="90" y="90"/>
                  </a:move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480">
              <a:extLst>
                <a:ext uri="{FF2B5EF4-FFF2-40B4-BE49-F238E27FC236}">
                  <a16:creationId xmlns:a16="http://schemas.microsoft.com/office/drawing/2014/main" id="{C8E574A7-2E84-4B27-8D39-E8F428DC1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5605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15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5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81">
              <a:extLst>
                <a:ext uri="{FF2B5EF4-FFF2-40B4-BE49-F238E27FC236}">
                  <a16:creationId xmlns:a16="http://schemas.microsoft.com/office/drawing/2014/main" id="{8B0D6F72-7A5D-4B7E-BC3D-3CDDA28EC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5 h 105"/>
                <a:gd name="T12" fmla="*/ 2 w 90"/>
                <a:gd name="T13" fmla="*/ 7 h 105"/>
                <a:gd name="T14" fmla="*/ 1 w 90"/>
                <a:gd name="T15" fmla="*/ 10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4 h 105"/>
                <a:gd name="T24" fmla="*/ 1 w 90"/>
                <a:gd name="T25" fmla="*/ 97 h 105"/>
                <a:gd name="T26" fmla="*/ 2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482">
              <a:extLst>
                <a:ext uri="{FF2B5EF4-FFF2-40B4-BE49-F238E27FC236}">
                  <a16:creationId xmlns:a16="http://schemas.microsoft.com/office/drawing/2014/main" id="{A018FEA5-42F8-45D6-903D-DEDCEE104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84313"/>
              <a:ext cx="49213" cy="33338"/>
            </a:xfrm>
            <a:custGeom>
              <a:avLst/>
              <a:gdLst>
                <a:gd name="T0" fmla="*/ 151 w 151"/>
                <a:gd name="T1" fmla="*/ 106 h 106"/>
                <a:gd name="T2" fmla="*/ 151 w 151"/>
                <a:gd name="T3" fmla="*/ 0 h 106"/>
                <a:gd name="T4" fmla="*/ 45 w 151"/>
                <a:gd name="T5" fmla="*/ 0 h 106"/>
                <a:gd name="T6" fmla="*/ 0 w 151"/>
                <a:gd name="T7" fmla="*/ 0 h 106"/>
                <a:gd name="T8" fmla="*/ 0 w 151"/>
                <a:gd name="T9" fmla="*/ 106 h 106"/>
                <a:gd name="T10" fmla="*/ 15 w 151"/>
                <a:gd name="T11" fmla="*/ 106 h 106"/>
                <a:gd name="T12" fmla="*/ 151 w 151"/>
                <a:gd name="T1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6">
                  <a:moveTo>
                    <a:pt x="151" y="106"/>
                  </a:move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151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83">
              <a:extLst>
                <a:ext uri="{FF2B5EF4-FFF2-40B4-BE49-F238E27FC236}">
                  <a16:creationId xmlns:a16="http://schemas.microsoft.com/office/drawing/2014/main" id="{9420C61C-BD63-442B-856D-C607C2060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484313"/>
              <a:ext cx="28575" cy="33338"/>
            </a:xfrm>
            <a:custGeom>
              <a:avLst/>
              <a:gdLst>
                <a:gd name="T0" fmla="*/ 75 w 90"/>
                <a:gd name="T1" fmla="*/ 106 h 106"/>
                <a:gd name="T2" fmla="*/ 78 w 90"/>
                <a:gd name="T3" fmla="*/ 105 h 106"/>
                <a:gd name="T4" fmla="*/ 80 w 90"/>
                <a:gd name="T5" fmla="*/ 104 h 106"/>
                <a:gd name="T6" fmla="*/ 84 w 90"/>
                <a:gd name="T7" fmla="*/ 103 h 106"/>
                <a:gd name="T8" fmla="*/ 86 w 90"/>
                <a:gd name="T9" fmla="*/ 101 h 106"/>
                <a:gd name="T10" fmla="*/ 88 w 90"/>
                <a:gd name="T11" fmla="*/ 99 h 106"/>
                <a:gd name="T12" fmla="*/ 89 w 90"/>
                <a:gd name="T13" fmla="*/ 96 h 106"/>
                <a:gd name="T14" fmla="*/ 90 w 90"/>
                <a:gd name="T15" fmla="*/ 93 h 106"/>
                <a:gd name="T16" fmla="*/ 90 w 90"/>
                <a:gd name="T17" fmla="*/ 91 h 106"/>
                <a:gd name="T18" fmla="*/ 90 w 90"/>
                <a:gd name="T19" fmla="*/ 15 h 106"/>
                <a:gd name="T20" fmla="*/ 90 w 90"/>
                <a:gd name="T21" fmla="*/ 13 h 106"/>
                <a:gd name="T22" fmla="*/ 89 w 90"/>
                <a:gd name="T23" fmla="*/ 10 h 106"/>
                <a:gd name="T24" fmla="*/ 88 w 90"/>
                <a:gd name="T25" fmla="*/ 7 h 106"/>
                <a:gd name="T26" fmla="*/ 86 w 90"/>
                <a:gd name="T27" fmla="*/ 4 h 106"/>
                <a:gd name="T28" fmla="*/ 84 w 90"/>
                <a:gd name="T29" fmla="*/ 3 h 106"/>
                <a:gd name="T30" fmla="*/ 80 w 90"/>
                <a:gd name="T31" fmla="*/ 1 h 106"/>
                <a:gd name="T32" fmla="*/ 78 w 90"/>
                <a:gd name="T33" fmla="*/ 1 h 106"/>
                <a:gd name="T34" fmla="*/ 75 w 90"/>
                <a:gd name="T35" fmla="*/ 0 h 106"/>
                <a:gd name="T36" fmla="*/ 45 w 90"/>
                <a:gd name="T37" fmla="*/ 0 h 106"/>
                <a:gd name="T38" fmla="*/ 0 w 90"/>
                <a:gd name="T39" fmla="*/ 0 h 106"/>
                <a:gd name="T40" fmla="*/ 0 w 90"/>
                <a:gd name="T41" fmla="*/ 106 h 106"/>
                <a:gd name="T42" fmla="*/ 15 w 90"/>
                <a:gd name="T43" fmla="*/ 106 h 106"/>
                <a:gd name="T44" fmla="*/ 75 w 90"/>
                <a:gd name="T4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6">
                  <a:moveTo>
                    <a:pt x="75" y="106"/>
                  </a:move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1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7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484">
              <a:extLst>
                <a:ext uri="{FF2B5EF4-FFF2-40B4-BE49-F238E27FC236}">
                  <a16:creationId xmlns:a16="http://schemas.microsoft.com/office/drawing/2014/main" id="{71355AF3-97FA-44F4-8CED-39EABD799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484313"/>
              <a:ext cx="28575" cy="33338"/>
            </a:xfrm>
            <a:custGeom>
              <a:avLst/>
              <a:gdLst>
                <a:gd name="T0" fmla="*/ 15 w 90"/>
                <a:gd name="T1" fmla="*/ 106 h 106"/>
                <a:gd name="T2" fmla="*/ 90 w 90"/>
                <a:gd name="T3" fmla="*/ 106 h 106"/>
                <a:gd name="T4" fmla="*/ 90 w 90"/>
                <a:gd name="T5" fmla="*/ 0 h 106"/>
                <a:gd name="T6" fmla="*/ 15 w 90"/>
                <a:gd name="T7" fmla="*/ 0 h 106"/>
                <a:gd name="T8" fmla="*/ 11 w 90"/>
                <a:gd name="T9" fmla="*/ 1 h 106"/>
                <a:gd name="T10" fmla="*/ 9 w 90"/>
                <a:gd name="T11" fmla="*/ 1 h 106"/>
                <a:gd name="T12" fmla="*/ 6 w 90"/>
                <a:gd name="T13" fmla="*/ 3 h 106"/>
                <a:gd name="T14" fmla="*/ 4 w 90"/>
                <a:gd name="T15" fmla="*/ 4 h 106"/>
                <a:gd name="T16" fmla="*/ 2 w 90"/>
                <a:gd name="T17" fmla="*/ 7 h 106"/>
                <a:gd name="T18" fmla="*/ 1 w 90"/>
                <a:gd name="T19" fmla="*/ 10 h 106"/>
                <a:gd name="T20" fmla="*/ 0 w 90"/>
                <a:gd name="T21" fmla="*/ 13 h 106"/>
                <a:gd name="T22" fmla="*/ 0 w 90"/>
                <a:gd name="T23" fmla="*/ 15 h 106"/>
                <a:gd name="T24" fmla="*/ 0 w 90"/>
                <a:gd name="T25" fmla="*/ 90 h 106"/>
                <a:gd name="T26" fmla="*/ 0 w 90"/>
                <a:gd name="T27" fmla="*/ 93 h 106"/>
                <a:gd name="T28" fmla="*/ 1 w 90"/>
                <a:gd name="T29" fmla="*/ 96 h 106"/>
                <a:gd name="T30" fmla="*/ 2 w 90"/>
                <a:gd name="T31" fmla="*/ 99 h 106"/>
                <a:gd name="T32" fmla="*/ 4 w 90"/>
                <a:gd name="T33" fmla="*/ 101 h 106"/>
                <a:gd name="T34" fmla="*/ 6 w 90"/>
                <a:gd name="T35" fmla="*/ 103 h 106"/>
                <a:gd name="T36" fmla="*/ 9 w 90"/>
                <a:gd name="T37" fmla="*/ 104 h 106"/>
                <a:gd name="T38" fmla="*/ 11 w 90"/>
                <a:gd name="T39" fmla="*/ 105 h 106"/>
                <a:gd name="T40" fmla="*/ 15 w 90"/>
                <a:gd name="T4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15" y="106"/>
                  </a:move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485">
              <a:extLst>
                <a:ext uri="{FF2B5EF4-FFF2-40B4-BE49-F238E27FC236}">
                  <a16:creationId xmlns:a16="http://schemas.microsoft.com/office/drawing/2014/main" id="{1D1D6786-F147-423B-8681-E0DF22328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68425"/>
              <a:ext cx="28575" cy="34925"/>
            </a:xfrm>
            <a:custGeom>
              <a:avLst/>
              <a:gdLst>
                <a:gd name="T0" fmla="*/ 90 w 90"/>
                <a:gd name="T1" fmla="*/ 92 h 107"/>
                <a:gd name="T2" fmla="*/ 90 w 90"/>
                <a:gd name="T3" fmla="*/ 15 h 107"/>
                <a:gd name="T4" fmla="*/ 90 w 90"/>
                <a:gd name="T5" fmla="*/ 13 h 107"/>
                <a:gd name="T6" fmla="*/ 89 w 90"/>
                <a:gd name="T7" fmla="*/ 10 h 107"/>
                <a:gd name="T8" fmla="*/ 88 w 90"/>
                <a:gd name="T9" fmla="*/ 8 h 107"/>
                <a:gd name="T10" fmla="*/ 86 w 90"/>
                <a:gd name="T11" fmla="*/ 6 h 107"/>
                <a:gd name="T12" fmla="*/ 84 w 90"/>
                <a:gd name="T13" fmla="*/ 4 h 107"/>
                <a:gd name="T14" fmla="*/ 80 w 90"/>
                <a:gd name="T15" fmla="*/ 3 h 107"/>
                <a:gd name="T16" fmla="*/ 78 w 90"/>
                <a:gd name="T17" fmla="*/ 2 h 107"/>
                <a:gd name="T18" fmla="*/ 75 w 90"/>
                <a:gd name="T19" fmla="*/ 2 h 107"/>
                <a:gd name="T20" fmla="*/ 0 w 90"/>
                <a:gd name="T21" fmla="*/ 0 h 107"/>
                <a:gd name="T22" fmla="*/ 0 w 90"/>
                <a:gd name="T23" fmla="*/ 107 h 107"/>
                <a:gd name="T24" fmla="*/ 75 w 90"/>
                <a:gd name="T25" fmla="*/ 107 h 107"/>
                <a:gd name="T26" fmla="*/ 78 w 90"/>
                <a:gd name="T27" fmla="*/ 106 h 107"/>
                <a:gd name="T28" fmla="*/ 80 w 90"/>
                <a:gd name="T29" fmla="*/ 106 h 107"/>
                <a:gd name="T30" fmla="*/ 84 w 90"/>
                <a:gd name="T31" fmla="*/ 103 h 107"/>
                <a:gd name="T32" fmla="*/ 86 w 90"/>
                <a:gd name="T33" fmla="*/ 102 h 107"/>
                <a:gd name="T34" fmla="*/ 88 w 90"/>
                <a:gd name="T35" fmla="*/ 100 h 107"/>
                <a:gd name="T36" fmla="*/ 89 w 90"/>
                <a:gd name="T37" fmla="*/ 97 h 107"/>
                <a:gd name="T38" fmla="*/ 90 w 90"/>
                <a:gd name="T39" fmla="*/ 95 h 107"/>
                <a:gd name="T40" fmla="*/ 90 w 90"/>
                <a:gd name="T41" fmla="*/ 9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90" y="92"/>
                  </a:move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8"/>
                  </a:lnTo>
                  <a:lnTo>
                    <a:pt x="86" y="6"/>
                  </a:lnTo>
                  <a:lnTo>
                    <a:pt x="84" y="4"/>
                  </a:lnTo>
                  <a:lnTo>
                    <a:pt x="80" y="3"/>
                  </a:lnTo>
                  <a:lnTo>
                    <a:pt x="78" y="2"/>
                  </a:lnTo>
                  <a:lnTo>
                    <a:pt x="75" y="2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5" y="107"/>
                  </a:lnTo>
                  <a:lnTo>
                    <a:pt x="78" y="106"/>
                  </a:lnTo>
                  <a:lnTo>
                    <a:pt x="80" y="106"/>
                  </a:lnTo>
                  <a:lnTo>
                    <a:pt x="84" y="103"/>
                  </a:lnTo>
                  <a:lnTo>
                    <a:pt x="86" y="102"/>
                  </a:lnTo>
                  <a:lnTo>
                    <a:pt x="88" y="100"/>
                  </a:lnTo>
                  <a:lnTo>
                    <a:pt x="89" y="97"/>
                  </a:lnTo>
                  <a:lnTo>
                    <a:pt x="90" y="95"/>
                  </a:lnTo>
                  <a:lnTo>
                    <a:pt x="9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486">
              <a:extLst>
                <a:ext uri="{FF2B5EF4-FFF2-40B4-BE49-F238E27FC236}">
                  <a16:creationId xmlns:a16="http://schemas.microsoft.com/office/drawing/2014/main" id="{7EF27FE8-5FBD-4924-9F78-02B9C47D5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368425"/>
              <a:ext cx="28575" cy="34925"/>
            </a:xfrm>
            <a:custGeom>
              <a:avLst/>
              <a:gdLst>
                <a:gd name="T0" fmla="*/ 15 w 90"/>
                <a:gd name="T1" fmla="*/ 107 h 107"/>
                <a:gd name="T2" fmla="*/ 90 w 90"/>
                <a:gd name="T3" fmla="*/ 107 h 107"/>
                <a:gd name="T4" fmla="*/ 90 w 90"/>
                <a:gd name="T5" fmla="*/ 0 h 107"/>
                <a:gd name="T6" fmla="*/ 15 w 90"/>
                <a:gd name="T7" fmla="*/ 0 h 107"/>
                <a:gd name="T8" fmla="*/ 11 w 90"/>
                <a:gd name="T9" fmla="*/ 2 h 107"/>
                <a:gd name="T10" fmla="*/ 9 w 90"/>
                <a:gd name="T11" fmla="*/ 3 h 107"/>
                <a:gd name="T12" fmla="*/ 6 w 90"/>
                <a:gd name="T13" fmla="*/ 4 h 107"/>
                <a:gd name="T14" fmla="*/ 4 w 90"/>
                <a:gd name="T15" fmla="*/ 6 h 107"/>
                <a:gd name="T16" fmla="*/ 3 w 90"/>
                <a:gd name="T17" fmla="*/ 8 h 107"/>
                <a:gd name="T18" fmla="*/ 1 w 90"/>
                <a:gd name="T19" fmla="*/ 10 h 107"/>
                <a:gd name="T20" fmla="*/ 0 w 90"/>
                <a:gd name="T21" fmla="*/ 13 h 107"/>
                <a:gd name="T22" fmla="*/ 0 w 90"/>
                <a:gd name="T23" fmla="*/ 17 h 107"/>
                <a:gd name="T24" fmla="*/ 0 w 90"/>
                <a:gd name="T25" fmla="*/ 92 h 107"/>
                <a:gd name="T26" fmla="*/ 0 w 90"/>
                <a:gd name="T27" fmla="*/ 95 h 107"/>
                <a:gd name="T28" fmla="*/ 1 w 90"/>
                <a:gd name="T29" fmla="*/ 97 h 107"/>
                <a:gd name="T30" fmla="*/ 3 w 90"/>
                <a:gd name="T31" fmla="*/ 100 h 107"/>
                <a:gd name="T32" fmla="*/ 4 w 90"/>
                <a:gd name="T33" fmla="*/ 102 h 107"/>
                <a:gd name="T34" fmla="*/ 6 w 90"/>
                <a:gd name="T35" fmla="*/ 103 h 107"/>
                <a:gd name="T36" fmla="*/ 9 w 90"/>
                <a:gd name="T37" fmla="*/ 106 h 107"/>
                <a:gd name="T38" fmla="*/ 11 w 90"/>
                <a:gd name="T39" fmla="*/ 106 h 107"/>
                <a:gd name="T40" fmla="*/ 15 w 90"/>
                <a:gd name="T4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15" y="107"/>
                  </a:moveTo>
                  <a:lnTo>
                    <a:pt x="90" y="107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9" y="3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92"/>
                  </a:lnTo>
                  <a:lnTo>
                    <a:pt x="0" y="95"/>
                  </a:lnTo>
                  <a:lnTo>
                    <a:pt x="1" y="97"/>
                  </a:lnTo>
                  <a:lnTo>
                    <a:pt x="3" y="100"/>
                  </a:lnTo>
                  <a:lnTo>
                    <a:pt x="4" y="102"/>
                  </a:lnTo>
                  <a:lnTo>
                    <a:pt x="6" y="103"/>
                  </a:lnTo>
                  <a:lnTo>
                    <a:pt x="9" y="106"/>
                  </a:lnTo>
                  <a:lnTo>
                    <a:pt x="11" y="106"/>
                  </a:lnTo>
                  <a:lnTo>
                    <a:pt x="1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487">
              <a:extLst>
                <a:ext uri="{FF2B5EF4-FFF2-40B4-BE49-F238E27FC236}">
                  <a16:creationId xmlns:a16="http://schemas.microsoft.com/office/drawing/2014/main" id="{CF46FD9E-E244-467B-8525-9D7D4A9D1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368425"/>
              <a:ext cx="49213" cy="34925"/>
            </a:xfrm>
            <a:custGeom>
              <a:avLst/>
              <a:gdLst>
                <a:gd name="T0" fmla="*/ 151 w 151"/>
                <a:gd name="T1" fmla="*/ 107 h 107"/>
                <a:gd name="T2" fmla="*/ 151 w 151"/>
                <a:gd name="T3" fmla="*/ 0 h 107"/>
                <a:gd name="T4" fmla="*/ 0 w 151"/>
                <a:gd name="T5" fmla="*/ 0 h 107"/>
                <a:gd name="T6" fmla="*/ 0 w 151"/>
                <a:gd name="T7" fmla="*/ 107 h 107"/>
                <a:gd name="T8" fmla="*/ 76 w 151"/>
                <a:gd name="T9" fmla="*/ 107 h 107"/>
                <a:gd name="T10" fmla="*/ 151 w 151"/>
                <a:gd name="T1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7">
                  <a:moveTo>
                    <a:pt x="151" y="107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6" y="107"/>
                  </a:lnTo>
                  <a:lnTo>
                    <a:pt x="15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488">
              <a:extLst>
                <a:ext uri="{FF2B5EF4-FFF2-40B4-BE49-F238E27FC236}">
                  <a16:creationId xmlns:a16="http://schemas.microsoft.com/office/drawing/2014/main" id="{88D57E34-34BA-47A7-98D6-DB982DAFE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98613"/>
              <a:ext cx="28575" cy="33338"/>
            </a:xfrm>
            <a:custGeom>
              <a:avLst/>
              <a:gdLst>
                <a:gd name="T0" fmla="*/ 75 w 91"/>
                <a:gd name="T1" fmla="*/ 0 h 106"/>
                <a:gd name="T2" fmla="*/ 45 w 91"/>
                <a:gd name="T3" fmla="*/ 0 h 106"/>
                <a:gd name="T4" fmla="*/ 0 w 91"/>
                <a:gd name="T5" fmla="*/ 0 h 106"/>
                <a:gd name="T6" fmla="*/ 0 w 91"/>
                <a:gd name="T7" fmla="*/ 106 h 106"/>
                <a:gd name="T8" fmla="*/ 75 w 91"/>
                <a:gd name="T9" fmla="*/ 106 h 106"/>
                <a:gd name="T10" fmla="*/ 79 w 91"/>
                <a:gd name="T11" fmla="*/ 106 h 106"/>
                <a:gd name="T12" fmla="*/ 81 w 91"/>
                <a:gd name="T13" fmla="*/ 104 h 106"/>
                <a:gd name="T14" fmla="*/ 84 w 91"/>
                <a:gd name="T15" fmla="*/ 103 h 106"/>
                <a:gd name="T16" fmla="*/ 86 w 91"/>
                <a:gd name="T17" fmla="*/ 101 h 106"/>
                <a:gd name="T18" fmla="*/ 88 w 91"/>
                <a:gd name="T19" fmla="*/ 99 h 106"/>
                <a:gd name="T20" fmla="*/ 89 w 91"/>
                <a:gd name="T21" fmla="*/ 97 h 106"/>
                <a:gd name="T22" fmla="*/ 91 w 91"/>
                <a:gd name="T23" fmla="*/ 94 h 106"/>
                <a:gd name="T24" fmla="*/ 91 w 91"/>
                <a:gd name="T25" fmla="*/ 91 h 106"/>
                <a:gd name="T26" fmla="*/ 91 w 91"/>
                <a:gd name="T27" fmla="*/ 15 h 106"/>
                <a:gd name="T28" fmla="*/ 91 w 91"/>
                <a:gd name="T29" fmla="*/ 12 h 106"/>
                <a:gd name="T30" fmla="*/ 89 w 91"/>
                <a:gd name="T31" fmla="*/ 10 h 106"/>
                <a:gd name="T32" fmla="*/ 88 w 91"/>
                <a:gd name="T33" fmla="*/ 7 h 106"/>
                <a:gd name="T34" fmla="*/ 86 w 91"/>
                <a:gd name="T35" fmla="*/ 5 h 106"/>
                <a:gd name="T36" fmla="*/ 84 w 91"/>
                <a:gd name="T37" fmla="*/ 4 h 106"/>
                <a:gd name="T38" fmla="*/ 81 w 91"/>
                <a:gd name="T39" fmla="*/ 2 h 106"/>
                <a:gd name="T40" fmla="*/ 79 w 91"/>
                <a:gd name="T41" fmla="*/ 2 h 106"/>
                <a:gd name="T42" fmla="*/ 75 w 91"/>
                <a:gd name="T43" fmla="*/ 0 h 106"/>
                <a:gd name="T44" fmla="*/ 75 w 91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1" h="106">
                  <a:moveTo>
                    <a:pt x="75" y="0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9" y="106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1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89">
              <a:extLst>
                <a:ext uri="{FF2B5EF4-FFF2-40B4-BE49-F238E27FC236}">
                  <a16:creationId xmlns:a16="http://schemas.microsoft.com/office/drawing/2014/main" id="{F30E7BFE-901E-4881-9F33-4F3776C87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98613"/>
              <a:ext cx="28575" cy="33338"/>
            </a:xfrm>
            <a:custGeom>
              <a:avLst/>
              <a:gdLst>
                <a:gd name="T0" fmla="*/ 0 w 90"/>
                <a:gd name="T1" fmla="*/ 15 h 106"/>
                <a:gd name="T2" fmla="*/ 0 w 90"/>
                <a:gd name="T3" fmla="*/ 91 h 106"/>
                <a:gd name="T4" fmla="*/ 0 w 90"/>
                <a:gd name="T5" fmla="*/ 94 h 106"/>
                <a:gd name="T6" fmla="*/ 1 w 90"/>
                <a:gd name="T7" fmla="*/ 97 h 106"/>
                <a:gd name="T8" fmla="*/ 3 w 90"/>
                <a:gd name="T9" fmla="*/ 99 h 106"/>
                <a:gd name="T10" fmla="*/ 4 w 90"/>
                <a:gd name="T11" fmla="*/ 101 h 106"/>
                <a:gd name="T12" fmla="*/ 6 w 90"/>
                <a:gd name="T13" fmla="*/ 103 h 106"/>
                <a:gd name="T14" fmla="*/ 10 w 90"/>
                <a:gd name="T15" fmla="*/ 104 h 106"/>
                <a:gd name="T16" fmla="*/ 12 w 90"/>
                <a:gd name="T17" fmla="*/ 106 h 106"/>
                <a:gd name="T18" fmla="*/ 15 w 90"/>
                <a:gd name="T19" fmla="*/ 106 h 106"/>
                <a:gd name="T20" fmla="*/ 90 w 90"/>
                <a:gd name="T21" fmla="*/ 106 h 106"/>
                <a:gd name="T22" fmla="*/ 90 w 90"/>
                <a:gd name="T23" fmla="*/ 0 h 106"/>
                <a:gd name="T24" fmla="*/ 15 w 90"/>
                <a:gd name="T25" fmla="*/ 0 h 106"/>
                <a:gd name="T26" fmla="*/ 12 w 90"/>
                <a:gd name="T27" fmla="*/ 0 h 106"/>
                <a:gd name="T28" fmla="*/ 10 w 90"/>
                <a:gd name="T29" fmla="*/ 2 h 106"/>
                <a:gd name="T30" fmla="*/ 6 w 90"/>
                <a:gd name="T31" fmla="*/ 4 h 106"/>
                <a:gd name="T32" fmla="*/ 4 w 90"/>
                <a:gd name="T33" fmla="*/ 5 h 106"/>
                <a:gd name="T34" fmla="*/ 3 w 90"/>
                <a:gd name="T35" fmla="*/ 7 h 106"/>
                <a:gd name="T36" fmla="*/ 1 w 90"/>
                <a:gd name="T37" fmla="*/ 10 h 106"/>
                <a:gd name="T38" fmla="*/ 0 w 90"/>
                <a:gd name="T39" fmla="*/ 12 h 106"/>
                <a:gd name="T40" fmla="*/ 0 w 90"/>
                <a:gd name="T41" fmla="*/ 1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0" y="15"/>
                  </a:move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10" y="104"/>
                  </a:lnTo>
                  <a:lnTo>
                    <a:pt x="12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90">
              <a:extLst>
                <a:ext uri="{FF2B5EF4-FFF2-40B4-BE49-F238E27FC236}">
                  <a16:creationId xmlns:a16="http://schemas.microsoft.com/office/drawing/2014/main" id="{3B4BB294-3F58-429D-AD93-7B23F68F0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98613"/>
              <a:ext cx="47625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45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1">
              <a:extLst>
                <a:ext uri="{FF2B5EF4-FFF2-40B4-BE49-F238E27FC236}">
                  <a16:creationId xmlns:a16="http://schemas.microsoft.com/office/drawing/2014/main" id="{8322FD8B-1448-4FFE-A201-5D3161586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438" y="1560513"/>
              <a:ext cx="47625" cy="33338"/>
            </a:xfrm>
            <a:custGeom>
              <a:avLst/>
              <a:gdLst>
                <a:gd name="T0" fmla="*/ 150 w 150"/>
                <a:gd name="T1" fmla="*/ 0 h 105"/>
                <a:gd name="T2" fmla="*/ 105 w 150"/>
                <a:gd name="T3" fmla="*/ 0 h 105"/>
                <a:gd name="T4" fmla="*/ 0 w 150"/>
                <a:gd name="T5" fmla="*/ 0 h 105"/>
                <a:gd name="T6" fmla="*/ 0 w 150"/>
                <a:gd name="T7" fmla="*/ 105 h 105"/>
                <a:gd name="T8" fmla="*/ 105 w 150"/>
                <a:gd name="T9" fmla="*/ 105 h 105"/>
                <a:gd name="T10" fmla="*/ 150 w 150"/>
                <a:gd name="T11" fmla="*/ 105 h 105"/>
                <a:gd name="T12" fmla="*/ 150 w 150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150" y="0"/>
                  </a:moveTo>
                  <a:lnTo>
                    <a:pt x="10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492">
              <a:extLst>
                <a:ext uri="{FF2B5EF4-FFF2-40B4-BE49-F238E27FC236}">
                  <a16:creationId xmlns:a16="http://schemas.microsoft.com/office/drawing/2014/main" id="{EE943E9D-D099-460E-BED6-3461B3C98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45 w 90"/>
                <a:gd name="T3" fmla="*/ 0 h 105"/>
                <a:gd name="T4" fmla="*/ 15 w 90"/>
                <a:gd name="T5" fmla="*/ 0 h 105"/>
                <a:gd name="T6" fmla="*/ 12 w 90"/>
                <a:gd name="T7" fmla="*/ 0 h 105"/>
                <a:gd name="T8" fmla="*/ 10 w 90"/>
                <a:gd name="T9" fmla="*/ 1 h 105"/>
                <a:gd name="T10" fmla="*/ 7 w 90"/>
                <a:gd name="T11" fmla="*/ 2 h 105"/>
                <a:gd name="T12" fmla="*/ 4 w 90"/>
                <a:gd name="T13" fmla="*/ 5 h 105"/>
                <a:gd name="T14" fmla="*/ 3 w 90"/>
                <a:gd name="T15" fmla="*/ 7 h 105"/>
                <a:gd name="T16" fmla="*/ 1 w 90"/>
                <a:gd name="T17" fmla="*/ 10 h 105"/>
                <a:gd name="T18" fmla="*/ 1 w 90"/>
                <a:gd name="T19" fmla="*/ 12 h 105"/>
                <a:gd name="T20" fmla="*/ 0 w 90"/>
                <a:gd name="T21" fmla="*/ 15 h 105"/>
                <a:gd name="T22" fmla="*/ 0 w 90"/>
                <a:gd name="T23" fmla="*/ 90 h 105"/>
                <a:gd name="T24" fmla="*/ 1 w 90"/>
                <a:gd name="T25" fmla="*/ 94 h 105"/>
                <a:gd name="T26" fmla="*/ 1 w 90"/>
                <a:gd name="T27" fmla="*/ 97 h 105"/>
                <a:gd name="T28" fmla="*/ 3 w 90"/>
                <a:gd name="T29" fmla="*/ 99 h 105"/>
                <a:gd name="T30" fmla="*/ 4 w 90"/>
                <a:gd name="T31" fmla="*/ 101 h 105"/>
                <a:gd name="T32" fmla="*/ 7 w 90"/>
                <a:gd name="T33" fmla="*/ 103 h 105"/>
                <a:gd name="T34" fmla="*/ 10 w 90"/>
                <a:gd name="T35" fmla="*/ 104 h 105"/>
                <a:gd name="T36" fmla="*/ 12 w 90"/>
                <a:gd name="T37" fmla="*/ 105 h 105"/>
                <a:gd name="T38" fmla="*/ 15 w 90"/>
                <a:gd name="T39" fmla="*/ 105 h 105"/>
                <a:gd name="T40" fmla="*/ 45 w 90"/>
                <a:gd name="T41" fmla="*/ 105 h 105"/>
                <a:gd name="T42" fmla="*/ 90 w 90"/>
                <a:gd name="T43" fmla="*/ 105 h 105"/>
                <a:gd name="T44" fmla="*/ 90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4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1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493">
              <a:extLst>
                <a:ext uri="{FF2B5EF4-FFF2-40B4-BE49-F238E27FC236}">
                  <a16:creationId xmlns:a16="http://schemas.microsoft.com/office/drawing/2014/main" id="{72E69C20-B8DF-4566-BBFE-E0C94A5C2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588" y="1560513"/>
              <a:ext cx="28575" cy="33338"/>
            </a:xfrm>
            <a:custGeom>
              <a:avLst/>
              <a:gdLst>
                <a:gd name="T0" fmla="*/ 76 w 91"/>
                <a:gd name="T1" fmla="*/ 0 h 105"/>
                <a:gd name="T2" fmla="*/ 0 w 91"/>
                <a:gd name="T3" fmla="*/ 0 h 105"/>
                <a:gd name="T4" fmla="*/ 0 w 91"/>
                <a:gd name="T5" fmla="*/ 105 h 105"/>
                <a:gd name="T6" fmla="*/ 76 w 91"/>
                <a:gd name="T7" fmla="*/ 105 h 105"/>
                <a:gd name="T8" fmla="*/ 79 w 91"/>
                <a:gd name="T9" fmla="*/ 105 h 105"/>
                <a:gd name="T10" fmla="*/ 82 w 91"/>
                <a:gd name="T11" fmla="*/ 104 h 105"/>
                <a:gd name="T12" fmla="*/ 84 w 91"/>
                <a:gd name="T13" fmla="*/ 103 h 105"/>
                <a:gd name="T14" fmla="*/ 86 w 91"/>
                <a:gd name="T15" fmla="*/ 101 h 105"/>
                <a:gd name="T16" fmla="*/ 88 w 91"/>
                <a:gd name="T17" fmla="*/ 99 h 105"/>
                <a:gd name="T18" fmla="*/ 89 w 91"/>
                <a:gd name="T19" fmla="*/ 97 h 105"/>
                <a:gd name="T20" fmla="*/ 91 w 91"/>
                <a:gd name="T21" fmla="*/ 94 h 105"/>
                <a:gd name="T22" fmla="*/ 91 w 91"/>
                <a:gd name="T23" fmla="*/ 90 h 105"/>
                <a:gd name="T24" fmla="*/ 91 w 91"/>
                <a:gd name="T25" fmla="*/ 15 h 105"/>
                <a:gd name="T26" fmla="*/ 91 w 91"/>
                <a:gd name="T27" fmla="*/ 12 h 105"/>
                <a:gd name="T28" fmla="*/ 89 w 91"/>
                <a:gd name="T29" fmla="*/ 9 h 105"/>
                <a:gd name="T30" fmla="*/ 88 w 91"/>
                <a:gd name="T31" fmla="*/ 7 h 105"/>
                <a:gd name="T32" fmla="*/ 86 w 91"/>
                <a:gd name="T33" fmla="*/ 5 h 105"/>
                <a:gd name="T34" fmla="*/ 84 w 91"/>
                <a:gd name="T35" fmla="*/ 2 h 105"/>
                <a:gd name="T36" fmla="*/ 82 w 91"/>
                <a:gd name="T37" fmla="*/ 1 h 105"/>
                <a:gd name="T38" fmla="*/ 79 w 91"/>
                <a:gd name="T39" fmla="*/ 0 h 105"/>
                <a:gd name="T40" fmla="*/ 76 w 91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105">
                  <a:moveTo>
                    <a:pt x="76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6" y="105"/>
                  </a:lnTo>
                  <a:lnTo>
                    <a:pt x="79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9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494">
              <a:extLst>
                <a:ext uri="{FF2B5EF4-FFF2-40B4-BE49-F238E27FC236}">
                  <a16:creationId xmlns:a16="http://schemas.microsoft.com/office/drawing/2014/main" id="{3EF09789-E73A-4CFB-9FCF-08DA00003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22413"/>
              <a:ext cx="28575" cy="33338"/>
            </a:xfrm>
            <a:custGeom>
              <a:avLst/>
              <a:gdLst>
                <a:gd name="T0" fmla="*/ 75 w 91"/>
                <a:gd name="T1" fmla="*/ 105 h 105"/>
                <a:gd name="T2" fmla="*/ 79 w 91"/>
                <a:gd name="T3" fmla="*/ 105 h 105"/>
                <a:gd name="T4" fmla="*/ 81 w 91"/>
                <a:gd name="T5" fmla="*/ 104 h 105"/>
                <a:gd name="T6" fmla="*/ 84 w 91"/>
                <a:gd name="T7" fmla="*/ 102 h 105"/>
                <a:gd name="T8" fmla="*/ 86 w 91"/>
                <a:gd name="T9" fmla="*/ 101 h 105"/>
                <a:gd name="T10" fmla="*/ 88 w 91"/>
                <a:gd name="T11" fmla="*/ 99 h 105"/>
                <a:gd name="T12" fmla="*/ 89 w 91"/>
                <a:gd name="T13" fmla="*/ 96 h 105"/>
                <a:gd name="T14" fmla="*/ 91 w 91"/>
                <a:gd name="T15" fmla="*/ 93 h 105"/>
                <a:gd name="T16" fmla="*/ 91 w 91"/>
                <a:gd name="T17" fmla="*/ 90 h 105"/>
                <a:gd name="T18" fmla="*/ 91 w 91"/>
                <a:gd name="T19" fmla="*/ 15 h 105"/>
                <a:gd name="T20" fmla="*/ 91 w 91"/>
                <a:gd name="T21" fmla="*/ 12 h 105"/>
                <a:gd name="T22" fmla="*/ 89 w 91"/>
                <a:gd name="T23" fmla="*/ 9 h 105"/>
                <a:gd name="T24" fmla="*/ 88 w 91"/>
                <a:gd name="T25" fmla="*/ 7 h 105"/>
                <a:gd name="T26" fmla="*/ 86 w 91"/>
                <a:gd name="T27" fmla="*/ 4 h 105"/>
                <a:gd name="T28" fmla="*/ 84 w 91"/>
                <a:gd name="T29" fmla="*/ 2 h 105"/>
                <a:gd name="T30" fmla="*/ 81 w 91"/>
                <a:gd name="T31" fmla="*/ 1 h 105"/>
                <a:gd name="T32" fmla="*/ 79 w 91"/>
                <a:gd name="T33" fmla="*/ 0 h 105"/>
                <a:gd name="T34" fmla="*/ 75 w 91"/>
                <a:gd name="T35" fmla="*/ 0 h 105"/>
                <a:gd name="T36" fmla="*/ 0 w 91"/>
                <a:gd name="T37" fmla="*/ 0 h 105"/>
                <a:gd name="T38" fmla="*/ 0 w 91"/>
                <a:gd name="T39" fmla="*/ 105 h 105"/>
                <a:gd name="T40" fmla="*/ 45 w 91"/>
                <a:gd name="T41" fmla="*/ 105 h 105"/>
                <a:gd name="T42" fmla="*/ 75 w 91"/>
                <a:gd name="T4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75" y="105"/>
                  </a:moveTo>
                  <a:lnTo>
                    <a:pt x="79" y="105"/>
                  </a:lnTo>
                  <a:lnTo>
                    <a:pt x="81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1" y="93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75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95">
              <a:extLst>
                <a:ext uri="{FF2B5EF4-FFF2-40B4-BE49-F238E27FC236}">
                  <a16:creationId xmlns:a16="http://schemas.microsoft.com/office/drawing/2014/main" id="{35F9925A-D080-4D49-928B-2EF534E31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22413"/>
              <a:ext cx="47625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45 w 151"/>
                <a:gd name="T9" fmla="*/ 105 h 105"/>
                <a:gd name="T10" fmla="*/ 151 w 151"/>
                <a:gd name="T1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96">
              <a:extLst>
                <a:ext uri="{FF2B5EF4-FFF2-40B4-BE49-F238E27FC236}">
                  <a16:creationId xmlns:a16="http://schemas.microsoft.com/office/drawing/2014/main" id="{4D7DF8E6-7B8D-412C-9307-FAE2CA5C8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22413"/>
              <a:ext cx="28575" cy="33338"/>
            </a:xfrm>
            <a:custGeom>
              <a:avLst/>
              <a:gdLst>
                <a:gd name="T0" fmla="*/ 0 w 90"/>
                <a:gd name="T1" fmla="*/ 15 h 105"/>
                <a:gd name="T2" fmla="*/ 0 w 90"/>
                <a:gd name="T3" fmla="*/ 90 h 105"/>
                <a:gd name="T4" fmla="*/ 0 w 90"/>
                <a:gd name="T5" fmla="*/ 93 h 105"/>
                <a:gd name="T6" fmla="*/ 1 w 90"/>
                <a:gd name="T7" fmla="*/ 96 h 105"/>
                <a:gd name="T8" fmla="*/ 3 w 90"/>
                <a:gd name="T9" fmla="*/ 99 h 105"/>
                <a:gd name="T10" fmla="*/ 4 w 90"/>
                <a:gd name="T11" fmla="*/ 101 h 105"/>
                <a:gd name="T12" fmla="*/ 6 w 90"/>
                <a:gd name="T13" fmla="*/ 102 h 105"/>
                <a:gd name="T14" fmla="*/ 10 w 90"/>
                <a:gd name="T15" fmla="*/ 104 h 105"/>
                <a:gd name="T16" fmla="*/ 12 w 90"/>
                <a:gd name="T17" fmla="*/ 105 h 105"/>
                <a:gd name="T18" fmla="*/ 15 w 90"/>
                <a:gd name="T19" fmla="*/ 105 h 105"/>
                <a:gd name="T20" fmla="*/ 90 w 90"/>
                <a:gd name="T21" fmla="*/ 105 h 105"/>
                <a:gd name="T22" fmla="*/ 90 w 90"/>
                <a:gd name="T23" fmla="*/ 0 h 105"/>
                <a:gd name="T24" fmla="*/ 15 w 90"/>
                <a:gd name="T25" fmla="*/ 0 h 105"/>
                <a:gd name="T26" fmla="*/ 12 w 90"/>
                <a:gd name="T27" fmla="*/ 0 h 105"/>
                <a:gd name="T28" fmla="*/ 10 w 90"/>
                <a:gd name="T29" fmla="*/ 1 h 105"/>
                <a:gd name="T30" fmla="*/ 6 w 90"/>
                <a:gd name="T31" fmla="*/ 2 h 105"/>
                <a:gd name="T32" fmla="*/ 4 w 90"/>
                <a:gd name="T33" fmla="*/ 4 h 105"/>
                <a:gd name="T34" fmla="*/ 3 w 90"/>
                <a:gd name="T35" fmla="*/ 7 h 105"/>
                <a:gd name="T36" fmla="*/ 1 w 90"/>
                <a:gd name="T37" fmla="*/ 9 h 105"/>
                <a:gd name="T38" fmla="*/ 0 w 90"/>
                <a:gd name="T39" fmla="*/ 12 h 105"/>
                <a:gd name="T40" fmla="*/ 0 w 90"/>
                <a:gd name="T41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5"/>
                  </a:move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2DC834D-A801-489D-B18E-A3C9646F4D2E}"/>
              </a:ext>
            </a:extLst>
          </p:cNvPr>
          <p:cNvGrpSpPr/>
          <p:nvPr/>
        </p:nvGrpSpPr>
        <p:grpSpPr>
          <a:xfrm>
            <a:off x="4386489" y="1577182"/>
            <a:ext cx="3419021" cy="2214588"/>
            <a:chOff x="304800" y="1577182"/>
            <a:chExt cx="3419021" cy="2214588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A0A31DB-DD27-4F64-AB8C-EC7887B70CFD}"/>
                </a:ext>
              </a:extLst>
            </p:cNvPr>
            <p:cNvSpPr/>
            <p:nvPr/>
          </p:nvSpPr>
          <p:spPr>
            <a:xfrm>
              <a:off x="304800" y="1577182"/>
              <a:ext cx="3419021" cy="1795488"/>
            </a:xfrm>
            <a:prstGeom prst="rect">
              <a:avLst/>
            </a:prstGeom>
            <a:solidFill>
              <a:srgbClr val="4040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3600" b="1" dirty="0">
                  <a:latin typeface="+mj-lt"/>
                </a:rPr>
                <a:t>$ 1,237.55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AC6A4160-8BE0-4F42-8528-A692DB7BDCCE}"/>
                </a:ext>
              </a:extLst>
            </p:cNvPr>
            <p:cNvSpPr/>
            <p:nvPr/>
          </p:nvSpPr>
          <p:spPr>
            <a:xfrm>
              <a:off x="304800" y="3372670"/>
              <a:ext cx="3419021" cy="419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ransactions: 134</a:t>
              </a:r>
            </a:p>
          </p:txBody>
        </p:sp>
      </p:grpSp>
      <p:sp>
        <p:nvSpPr>
          <p:cNvPr id="48" name="Oval 47">
            <a:extLst>
              <a:ext uri="{FF2B5EF4-FFF2-40B4-BE49-F238E27FC236}">
                <a16:creationId xmlns:a16="http://schemas.microsoft.com/office/drawing/2014/main" id="{151F8D54-5195-4686-B421-E1F7E4D42652}"/>
              </a:ext>
            </a:extLst>
          </p:cNvPr>
          <p:cNvSpPr/>
          <p:nvPr/>
        </p:nvSpPr>
        <p:spPr>
          <a:xfrm>
            <a:off x="5767387" y="1242245"/>
            <a:ext cx="657225" cy="657225"/>
          </a:xfrm>
          <a:prstGeom prst="ellipse">
            <a:avLst/>
          </a:prstGeom>
          <a:solidFill>
            <a:srgbClr val="404040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168AE60-C71A-4B80-811C-CAC02ADD32C2}"/>
              </a:ext>
            </a:extLst>
          </p:cNvPr>
          <p:cNvSpPr/>
          <p:nvPr/>
        </p:nvSpPr>
        <p:spPr>
          <a:xfrm>
            <a:off x="4686300" y="2768999"/>
            <a:ext cx="28194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spcBef>
                <a:spcPts val="600"/>
              </a:spcBef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bg1"/>
                </a:solidFill>
              </a:rPr>
              <a:t>35.41% from last week</a:t>
            </a:r>
          </a:p>
          <a:p>
            <a:pPr marL="174625" indent="-174625">
              <a:spcBef>
                <a:spcPts val="600"/>
              </a:spcBef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bg1"/>
                </a:solidFill>
              </a:rPr>
              <a:t>29.47% from 6 months ago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E2AD138-6B8C-40CA-A949-80EE0AE830BE}"/>
              </a:ext>
            </a:extLst>
          </p:cNvPr>
          <p:cNvSpPr/>
          <p:nvPr/>
        </p:nvSpPr>
        <p:spPr>
          <a:xfrm>
            <a:off x="1186197" y="2768999"/>
            <a:ext cx="16562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400" dirty="0">
                <a:solidFill>
                  <a:schemeClr val="bg1"/>
                </a:solidFill>
              </a:rPr>
              <a:t>Upcoming Deposits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B98E995E-9B1D-4A56-ACB0-682E15B8ABE6}"/>
              </a:ext>
            </a:extLst>
          </p:cNvPr>
          <p:cNvGrpSpPr/>
          <p:nvPr/>
        </p:nvGrpSpPr>
        <p:grpSpPr>
          <a:xfrm>
            <a:off x="5952331" y="1427188"/>
            <a:ext cx="287338" cy="287338"/>
            <a:chOff x="304800" y="771525"/>
            <a:chExt cx="287338" cy="287338"/>
          </a:xfrm>
          <a:solidFill>
            <a:schemeClr val="bg1"/>
          </a:solidFill>
        </p:grpSpPr>
        <p:sp>
          <p:nvSpPr>
            <p:cNvPr id="83" name="Freeform 321">
              <a:extLst>
                <a:ext uri="{FF2B5EF4-FFF2-40B4-BE49-F238E27FC236}">
                  <a16:creationId xmlns:a16="http://schemas.microsoft.com/office/drawing/2014/main" id="{F92A0E3D-9293-4005-9591-93C80117F1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388" y="923925"/>
              <a:ext cx="284163" cy="68263"/>
            </a:xfrm>
            <a:custGeom>
              <a:avLst/>
              <a:gdLst>
                <a:gd name="T0" fmla="*/ 694 w 895"/>
                <a:gd name="T1" fmla="*/ 159 h 211"/>
                <a:gd name="T2" fmla="*/ 657 w 895"/>
                <a:gd name="T3" fmla="*/ 159 h 211"/>
                <a:gd name="T4" fmla="*/ 657 w 895"/>
                <a:gd name="T5" fmla="*/ 122 h 211"/>
                <a:gd name="T6" fmla="*/ 694 w 895"/>
                <a:gd name="T7" fmla="*/ 122 h 211"/>
                <a:gd name="T8" fmla="*/ 694 w 895"/>
                <a:gd name="T9" fmla="*/ 159 h 211"/>
                <a:gd name="T10" fmla="*/ 637 w 895"/>
                <a:gd name="T11" fmla="*/ 103 h 211"/>
                <a:gd name="T12" fmla="*/ 600 w 895"/>
                <a:gd name="T13" fmla="*/ 103 h 211"/>
                <a:gd name="T14" fmla="*/ 600 w 895"/>
                <a:gd name="T15" fmla="*/ 65 h 211"/>
                <a:gd name="T16" fmla="*/ 637 w 895"/>
                <a:gd name="T17" fmla="*/ 65 h 211"/>
                <a:gd name="T18" fmla="*/ 637 w 895"/>
                <a:gd name="T19" fmla="*/ 103 h 211"/>
                <a:gd name="T20" fmla="*/ 581 w 895"/>
                <a:gd name="T21" fmla="*/ 159 h 211"/>
                <a:gd name="T22" fmla="*/ 543 w 895"/>
                <a:gd name="T23" fmla="*/ 159 h 211"/>
                <a:gd name="T24" fmla="*/ 543 w 895"/>
                <a:gd name="T25" fmla="*/ 122 h 211"/>
                <a:gd name="T26" fmla="*/ 581 w 895"/>
                <a:gd name="T27" fmla="*/ 122 h 211"/>
                <a:gd name="T28" fmla="*/ 581 w 895"/>
                <a:gd name="T29" fmla="*/ 159 h 211"/>
                <a:gd name="T30" fmla="*/ 524 w 895"/>
                <a:gd name="T31" fmla="*/ 103 h 211"/>
                <a:gd name="T32" fmla="*/ 485 w 895"/>
                <a:gd name="T33" fmla="*/ 103 h 211"/>
                <a:gd name="T34" fmla="*/ 485 w 895"/>
                <a:gd name="T35" fmla="*/ 65 h 211"/>
                <a:gd name="T36" fmla="*/ 524 w 895"/>
                <a:gd name="T37" fmla="*/ 65 h 211"/>
                <a:gd name="T38" fmla="*/ 524 w 895"/>
                <a:gd name="T39" fmla="*/ 103 h 211"/>
                <a:gd name="T40" fmla="*/ 467 w 895"/>
                <a:gd name="T41" fmla="*/ 159 h 211"/>
                <a:gd name="T42" fmla="*/ 428 w 895"/>
                <a:gd name="T43" fmla="*/ 159 h 211"/>
                <a:gd name="T44" fmla="*/ 428 w 895"/>
                <a:gd name="T45" fmla="*/ 122 h 211"/>
                <a:gd name="T46" fmla="*/ 467 w 895"/>
                <a:gd name="T47" fmla="*/ 122 h 211"/>
                <a:gd name="T48" fmla="*/ 467 w 895"/>
                <a:gd name="T49" fmla="*/ 159 h 211"/>
                <a:gd name="T50" fmla="*/ 410 w 895"/>
                <a:gd name="T51" fmla="*/ 103 h 211"/>
                <a:gd name="T52" fmla="*/ 371 w 895"/>
                <a:gd name="T53" fmla="*/ 103 h 211"/>
                <a:gd name="T54" fmla="*/ 371 w 895"/>
                <a:gd name="T55" fmla="*/ 65 h 211"/>
                <a:gd name="T56" fmla="*/ 410 w 895"/>
                <a:gd name="T57" fmla="*/ 65 h 211"/>
                <a:gd name="T58" fmla="*/ 410 w 895"/>
                <a:gd name="T59" fmla="*/ 103 h 211"/>
                <a:gd name="T60" fmla="*/ 353 w 895"/>
                <a:gd name="T61" fmla="*/ 159 h 211"/>
                <a:gd name="T62" fmla="*/ 315 w 895"/>
                <a:gd name="T63" fmla="*/ 159 h 211"/>
                <a:gd name="T64" fmla="*/ 315 w 895"/>
                <a:gd name="T65" fmla="*/ 122 h 211"/>
                <a:gd name="T66" fmla="*/ 353 w 895"/>
                <a:gd name="T67" fmla="*/ 122 h 211"/>
                <a:gd name="T68" fmla="*/ 353 w 895"/>
                <a:gd name="T69" fmla="*/ 159 h 211"/>
                <a:gd name="T70" fmla="*/ 295 w 895"/>
                <a:gd name="T71" fmla="*/ 103 h 211"/>
                <a:gd name="T72" fmla="*/ 258 w 895"/>
                <a:gd name="T73" fmla="*/ 103 h 211"/>
                <a:gd name="T74" fmla="*/ 258 w 895"/>
                <a:gd name="T75" fmla="*/ 65 h 211"/>
                <a:gd name="T76" fmla="*/ 295 w 895"/>
                <a:gd name="T77" fmla="*/ 65 h 211"/>
                <a:gd name="T78" fmla="*/ 295 w 895"/>
                <a:gd name="T79" fmla="*/ 103 h 211"/>
                <a:gd name="T80" fmla="*/ 238 w 895"/>
                <a:gd name="T81" fmla="*/ 159 h 211"/>
                <a:gd name="T82" fmla="*/ 201 w 895"/>
                <a:gd name="T83" fmla="*/ 159 h 211"/>
                <a:gd name="T84" fmla="*/ 201 w 895"/>
                <a:gd name="T85" fmla="*/ 122 h 211"/>
                <a:gd name="T86" fmla="*/ 238 w 895"/>
                <a:gd name="T87" fmla="*/ 122 h 211"/>
                <a:gd name="T88" fmla="*/ 238 w 895"/>
                <a:gd name="T89" fmla="*/ 159 h 211"/>
                <a:gd name="T90" fmla="*/ 815 w 895"/>
                <a:gd name="T91" fmla="*/ 0 h 211"/>
                <a:gd name="T92" fmla="*/ 80 w 895"/>
                <a:gd name="T93" fmla="*/ 0 h 211"/>
                <a:gd name="T94" fmla="*/ 0 w 895"/>
                <a:gd name="T95" fmla="*/ 211 h 211"/>
                <a:gd name="T96" fmla="*/ 895 w 895"/>
                <a:gd name="T97" fmla="*/ 211 h 211"/>
                <a:gd name="T98" fmla="*/ 815 w 895"/>
                <a:gd name="T99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95" h="211">
                  <a:moveTo>
                    <a:pt x="694" y="159"/>
                  </a:moveTo>
                  <a:lnTo>
                    <a:pt x="657" y="159"/>
                  </a:lnTo>
                  <a:lnTo>
                    <a:pt x="657" y="122"/>
                  </a:lnTo>
                  <a:lnTo>
                    <a:pt x="694" y="122"/>
                  </a:lnTo>
                  <a:lnTo>
                    <a:pt x="694" y="159"/>
                  </a:lnTo>
                  <a:close/>
                  <a:moveTo>
                    <a:pt x="637" y="103"/>
                  </a:moveTo>
                  <a:lnTo>
                    <a:pt x="600" y="103"/>
                  </a:lnTo>
                  <a:lnTo>
                    <a:pt x="600" y="65"/>
                  </a:lnTo>
                  <a:lnTo>
                    <a:pt x="637" y="65"/>
                  </a:lnTo>
                  <a:lnTo>
                    <a:pt x="637" y="103"/>
                  </a:lnTo>
                  <a:close/>
                  <a:moveTo>
                    <a:pt x="581" y="159"/>
                  </a:moveTo>
                  <a:lnTo>
                    <a:pt x="543" y="159"/>
                  </a:lnTo>
                  <a:lnTo>
                    <a:pt x="543" y="122"/>
                  </a:lnTo>
                  <a:lnTo>
                    <a:pt x="581" y="122"/>
                  </a:lnTo>
                  <a:lnTo>
                    <a:pt x="581" y="159"/>
                  </a:lnTo>
                  <a:close/>
                  <a:moveTo>
                    <a:pt x="524" y="103"/>
                  </a:moveTo>
                  <a:lnTo>
                    <a:pt x="485" y="103"/>
                  </a:lnTo>
                  <a:lnTo>
                    <a:pt x="485" y="65"/>
                  </a:lnTo>
                  <a:lnTo>
                    <a:pt x="524" y="65"/>
                  </a:lnTo>
                  <a:lnTo>
                    <a:pt x="524" y="103"/>
                  </a:lnTo>
                  <a:close/>
                  <a:moveTo>
                    <a:pt x="467" y="159"/>
                  </a:moveTo>
                  <a:lnTo>
                    <a:pt x="428" y="159"/>
                  </a:lnTo>
                  <a:lnTo>
                    <a:pt x="428" y="122"/>
                  </a:lnTo>
                  <a:lnTo>
                    <a:pt x="467" y="122"/>
                  </a:lnTo>
                  <a:lnTo>
                    <a:pt x="467" y="159"/>
                  </a:lnTo>
                  <a:close/>
                  <a:moveTo>
                    <a:pt x="410" y="103"/>
                  </a:moveTo>
                  <a:lnTo>
                    <a:pt x="371" y="103"/>
                  </a:lnTo>
                  <a:lnTo>
                    <a:pt x="371" y="65"/>
                  </a:lnTo>
                  <a:lnTo>
                    <a:pt x="410" y="65"/>
                  </a:lnTo>
                  <a:lnTo>
                    <a:pt x="410" y="103"/>
                  </a:lnTo>
                  <a:close/>
                  <a:moveTo>
                    <a:pt x="353" y="159"/>
                  </a:moveTo>
                  <a:lnTo>
                    <a:pt x="315" y="159"/>
                  </a:lnTo>
                  <a:lnTo>
                    <a:pt x="315" y="122"/>
                  </a:lnTo>
                  <a:lnTo>
                    <a:pt x="353" y="122"/>
                  </a:lnTo>
                  <a:lnTo>
                    <a:pt x="353" y="159"/>
                  </a:lnTo>
                  <a:close/>
                  <a:moveTo>
                    <a:pt x="295" y="103"/>
                  </a:moveTo>
                  <a:lnTo>
                    <a:pt x="258" y="103"/>
                  </a:lnTo>
                  <a:lnTo>
                    <a:pt x="258" y="65"/>
                  </a:lnTo>
                  <a:lnTo>
                    <a:pt x="295" y="65"/>
                  </a:lnTo>
                  <a:lnTo>
                    <a:pt x="295" y="103"/>
                  </a:lnTo>
                  <a:close/>
                  <a:moveTo>
                    <a:pt x="238" y="159"/>
                  </a:moveTo>
                  <a:lnTo>
                    <a:pt x="201" y="159"/>
                  </a:lnTo>
                  <a:lnTo>
                    <a:pt x="201" y="122"/>
                  </a:lnTo>
                  <a:lnTo>
                    <a:pt x="238" y="122"/>
                  </a:lnTo>
                  <a:lnTo>
                    <a:pt x="238" y="159"/>
                  </a:lnTo>
                  <a:close/>
                  <a:moveTo>
                    <a:pt x="815" y="0"/>
                  </a:moveTo>
                  <a:lnTo>
                    <a:pt x="80" y="0"/>
                  </a:lnTo>
                  <a:lnTo>
                    <a:pt x="0" y="211"/>
                  </a:lnTo>
                  <a:lnTo>
                    <a:pt x="895" y="211"/>
                  </a:lnTo>
                  <a:lnTo>
                    <a:pt x="8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22">
              <a:extLst>
                <a:ext uri="{FF2B5EF4-FFF2-40B4-BE49-F238E27FC236}">
                  <a16:creationId xmlns:a16="http://schemas.microsoft.com/office/drawing/2014/main" id="{5E64CAF0-0E1E-4978-B131-81EF0ABB8D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" y="1001713"/>
              <a:ext cx="287338" cy="57150"/>
            </a:xfrm>
            <a:custGeom>
              <a:avLst/>
              <a:gdLst>
                <a:gd name="T0" fmla="*/ 572 w 903"/>
                <a:gd name="T1" fmla="*/ 78 h 180"/>
                <a:gd name="T2" fmla="*/ 569 w 903"/>
                <a:gd name="T3" fmla="*/ 84 h 180"/>
                <a:gd name="T4" fmla="*/ 565 w 903"/>
                <a:gd name="T5" fmla="*/ 88 h 180"/>
                <a:gd name="T6" fmla="*/ 560 w 903"/>
                <a:gd name="T7" fmla="*/ 90 h 180"/>
                <a:gd name="T8" fmla="*/ 554 w 903"/>
                <a:gd name="T9" fmla="*/ 90 h 180"/>
                <a:gd name="T10" fmla="*/ 548 w 903"/>
                <a:gd name="T11" fmla="*/ 88 h 180"/>
                <a:gd name="T12" fmla="*/ 545 w 903"/>
                <a:gd name="T13" fmla="*/ 84 h 180"/>
                <a:gd name="T14" fmla="*/ 543 w 903"/>
                <a:gd name="T15" fmla="*/ 78 h 180"/>
                <a:gd name="T16" fmla="*/ 542 w 903"/>
                <a:gd name="T17" fmla="*/ 60 h 180"/>
                <a:gd name="T18" fmla="*/ 331 w 903"/>
                <a:gd name="T19" fmla="*/ 75 h 180"/>
                <a:gd name="T20" fmla="*/ 330 w 903"/>
                <a:gd name="T21" fmla="*/ 80 h 180"/>
                <a:gd name="T22" fmla="*/ 327 w 903"/>
                <a:gd name="T23" fmla="*/ 86 h 180"/>
                <a:gd name="T24" fmla="*/ 322 w 903"/>
                <a:gd name="T25" fmla="*/ 89 h 180"/>
                <a:gd name="T26" fmla="*/ 316 w 903"/>
                <a:gd name="T27" fmla="*/ 90 h 180"/>
                <a:gd name="T28" fmla="*/ 310 w 903"/>
                <a:gd name="T29" fmla="*/ 89 h 180"/>
                <a:gd name="T30" fmla="*/ 306 w 903"/>
                <a:gd name="T31" fmla="*/ 86 h 180"/>
                <a:gd name="T32" fmla="*/ 302 w 903"/>
                <a:gd name="T33" fmla="*/ 80 h 180"/>
                <a:gd name="T34" fmla="*/ 301 w 903"/>
                <a:gd name="T35" fmla="*/ 75 h 180"/>
                <a:gd name="T36" fmla="*/ 301 w 903"/>
                <a:gd name="T37" fmla="*/ 42 h 180"/>
                <a:gd name="T38" fmla="*/ 304 w 903"/>
                <a:gd name="T39" fmla="*/ 36 h 180"/>
                <a:gd name="T40" fmla="*/ 308 w 903"/>
                <a:gd name="T41" fmla="*/ 32 h 180"/>
                <a:gd name="T42" fmla="*/ 313 w 903"/>
                <a:gd name="T43" fmla="*/ 30 h 180"/>
                <a:gd name="T44" fmla="*/ 557 w 903"/>
                <a:gd name="T45" fmla="*/ 30 h 180"/>
                <a:gd name="T46" fmla="*/ 563 w 903"/>
                <a:gd name="T47" fmla="*/ 31 h 180"/>
                <a:gd name="T48" fmla="*/ 567 w 903"/>
                <a:gd name="T49" fmla="*/ 34 h 180"/>
                <a:gd name="T50" fmla="*/ 571 w 903"/>
                <a:gd name="T51" fmla="*/ 39 h 180"/>
                <a:gd name="T52" fmla="*/ 572 w 903"/>
                <a:gd name="T53" fmla="*/ 45 h 180"/>
                <a:gd name="T54" fmla="*/ 0 w 903"/>
                <a:gd name="T55" fmla="*/ 0 h 180"/>
                <a:gd name="T56" fmla="*/ 0 w 903"/>
                <a:gd name="T57" fmla="*/ 168 h 180"/>
                <a:gd name="T58" fmla="*/ 2 w 903"/>
                <a:gd name="T59" fmla="*/ 174 h 180"/>
                <a:gd name="T60" fmla="*/ 6 w 903"/>
                <a:gd name="T61" fmla="*/ 178 h 180"/>
                <a:gd name="T62" fmla="*/ 12 w 903"/>
                <a:gd name="T63" fmla="*/ 180 h 180"/>
                <a:gd name="T64" fmla="*/ 888 w 903"/>
                <a:gd name="T65" fmla="*/ 180 h 180"/>
                <a:gd name="T66" fmla="*/ 894 w 903"/>
                <a:gd name="T67" fmla="*/ 179 h 180"/>
                <a:gd name="T68" fmla="*/ 899 w 903"/>
                <a:gd name="T69" fmla="*/ 176 h 180"/>
                <a:gd name="T70" fmla="*/ 902 w 903"/>
                <a:gd name="T71" fmla="*/ 172 h 180"/>
                <a:gd name="T72" fmla="*/ 903 w 903"/>
                <a:gd name="T73" fmla="*/ 165 h 180"/>
                <a:gd name="T74" fmla="*/ 0 w 903"/>
                <a:gd name="T75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3" h="180">
                  <a:moveTo>
                    <a:pt x="572" y="75"/>
                  </a:moveTo>
                  <a:lnTo>
                    <a:pt x="572" y="78"/>
                  </a:lnTo>
                  <a:lnTo>
                    <a:pt x="571" y="80"/>
                  </a:lnTo>
                  <a:lnTo>
                    <a:pt x="569" y="84"/>
                  </a:lnTo>
                  <a:lnTo>
                    <a:pt x="567" y="86"/>
                  </a:lnTo>
                  <a:lnTo>
                    <a:pt x="565" y="88"/>
                  </a:lnTo>
                  <a:lnTo>
                    <a:pt x="563" y="89"/>
                  </a:lnTo>
                  <a:lnTo>
                    <a:pt x="560" y="90"/>
                  </a:lnTo>
                  <a:lnTo>
                    <a:pt x="557" y="90"/>
                  </a:lnTo>
                  <a:lnTo>
                    <a:pt x="554" y="90"/>
                  </a:lnTo>
                  <a:lnTo>
                    <a:pt x="551" y="89"/>
                  </a:lnTo>
                  <a:lnTo>
                    <a:pt x="548" y="88"/>
                  </a:lnTo>
                  <a:lnTo>
                    <a:pt x="546" y="86"/>
                  </a:lnTo>
                  <a:lnTo>
                    <a:pt x="545" y="84"/>
                  </a:lnTo>
                  <a:lnTo>
                    <a:pt x="543" y="80"/>
                  </a:lnTo>
                  <a:lnTo>
                    <a:pt x="543" y="78"/>
                  </a:lnTo>
                  <a:lnTo>
                    <a:pt x="542" y="75"/>
                  </a:lnTo>
                  <a:lnTo>
                    <a:pt x="542" y="60"/>
                  </a:lnTo>
                  <a:lnTo>
                    <a:pt x="331" y="60"/>
                  </a:lnTo>
                  <a:lnTo>
                    <a:pt x="331" y="75"/>
                  </a:lnTo>
                  <a:lnTo>
                    <a:pt x="331" y="78"/>
                  </a:lnTo>
                  <a:lnTo>
                    <a:pt x="330" y="80"/>
                  </a:lnTo>
                  <a:lnTo>
                    <a:pt x="328" y="84"/>
                  </a:lnTo>
                  <a:lnTo>
                    <a:pt x="327" y="86"/>
                  </a:lnTo>
                  <a:lnTo>
                    <a:pt x="325" y="88"/>
                  </a:lnTo>
                  <a:lnTo>
                    <a:pt x="322" y="89"/>
                  </a:lnTo>
                  <a:lnTo>
                    <a:pt x="320" y="90"/>
                  </a:lnTo>
                  <a:lnTo>
                    <a:pt x="316" y="90"/>
                  </a:lnTo>
                  <a:lnTo>
                    <a:pt x="313" y="90"/>
                  </a:lnTo>
                  <a:lnTo>
                    <a:pt x="310" y="89"/>
                  </a:lnTo>
                  <a:lnTo>
                    <a:pt x="308" y="88"/>
                  </a:lnTo>
                  <a:lnTo>
                    <a:pt x="306" y="86"/>
                  </a:lnTo>
                  <a:lnTo>
                    <a:pt x="304" y="84"/>
                  </a:lnTo>
                  <a:lnTo>
                    <a:pt x="302" y="80"/>
                  </a:lnTo>
                  <a:lnTo>
                    <a:pt x="301" y="78"/>
                  </a:lnTo>
                  <a:lnTo>
                    <a:pt x="301" y="75"/>
                  </a:lnTo>
                  <a:lnTo>
                    <a:pt x="301" y="45"/>
                  </a:lnTo>
                  <a:lnTo>
                    <a:pt x="301" y="42"/>
                  </a:lnTo>
                  <a:lnTo>
                    <a:pt x="302" y="39"/>
                  </a:lnTo>
                  <a:lnTo>
                    <a:pt x="304" y="36"/>
                  </a:lnTo>
                  <a:lnTo>
                    <a:pt x="306" y="34"/>
                  </a:lnTo>
                  <a:lnTo>
                    <a:pt x="308" y="32"/>
                  </a:lnTo>
                  <a:lnTo>
                    <a:pt x="310" y="31"/>
                  </a:lnTo>
                  <a:lnTo>
                    <a:pt x="313" y="30"/>
                  </a:lnTo>
                  <a:lnTo>
                    <a:pt x="316" y="30"/>
                  </a:lnTo>
                  <a:lnTo>
                    <a:pt x="557" y="30"/>
                  </a:lnTo>
                  <a:lnTo>
                    <a:pt x="560" y="30"/>
                  </a:lnTo>
                  <a:lnTo>
                    <a:pt x="563" y="31"/>
                  </a:lnTo>
                  <a:lnTo>
                    <a:pt x="565" y="32"/>
                  </a:lnTo>
                  <a:lnTo>
                    <a:pt x="567" y="34"/>
                  </a:lnTo>
                  <a:lnTo>
                    <a:pt x="569" y="36"/>
                  </a:lnTo>
                  <a:lnTo>
                    <a:pt x="571" y="39"/>
                  </a:lnTo>
                  <a:lnTo>
                    <a:pt x="572" y="42"/>
                  </a:lnTo>
                  <a:lnTo>
                    <a:pt x="572" y="45"/>
                  </a:lnTo>
                  <a:lnTo>
                    <a:pt x="572" y="75"/>
                  </a:lnTo>
                  <a:close/>
                  <a:moveTo>
                    <a:pt x="0" y="0"/>
                  </a:moveTo>
                  <a:lnTo>
                    <a:pt x="0" y="165"/>
                  </a:lnTo>
                  <a:lnTo>
                    <a:pt x="0" y="168"/>
                  </a:lnTo>
                  <a:lnTo>
                    <a:pt x="1" y="172"/>
                  </a:lnTo>
                  <a:lnTo>
                    <a:pt x="2" y="174"/>
                  </a:lnTo>
                  <a:lnTo>
                    <a:pt x="4" y="176"/>
                  </a:lnTo>
                  <a:lnTo>
                    <a:pt x="6" y="178"/>
                  </a:lnTo>
                  <a:lnTo>
                    <a:pt x="10" y="179"/>
                  </a:lnTo>
                  <a:lnTo>
                    <a:pt x="12" y="180"/>
                  </a:lnTo>
                  <a:lnTo>
                    <a:pt x="15" y="180"/>
                  </a:lnTo>
                  <a:lnTo>
                    <a:pt x="888" y="180"/>
                  </a:lnTo>
                  <a:lnTo>
                    <a:pt x="891" y="180"/>
                  </a:lnTo>
                  <a:lnTo>
                    <a:pt x="894" y="179"/>
                  </a:lnTo>
                  <a:lnTo>
                    <a:pt x="897" y="178"/>
                  </a:lnTo>
                  <a:lnTo>
                    <a:pt x="899" y="176"/>
                  </a:lnTo>
                  <a:lnTo>
                    <a:pt x="901" y="174"/>
                  </a:lnTo>
                  <a:lnTo>
                    <a:pt x="902" y="172"/>
                  </a:lnTo>
                  <a:lnTo>
                    <a:pt x="903" y="168"/>
                  </a:lnTo>
                  <a:lnTo>
                    <a:pt x="903" y="165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23">
              <a:extLst>
                <a:ext uri="{FF2B5EF4-FFF2-40B4-BE49-F238E27FC236}">
                  <a16:creationId xmlns:a16="http://schemas.microsoft.com/office/drawing/2014/main" id="{4F8D27CA-EA67-412D-83F2-F661D003B3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375" y="771525"/>
              <a:ext cx="230188" cy="142875"/>
            </a:xfrm>
            <a:custGeom>
              <a:avLst/>
              <a:gdLst>
                <a:gd name="T0" fmla="*/ 448 w 723"/>
                <a:gd name="T1" fmla="*/ 361 h 452"/>
                <a:gd name="T2" fmla="*/ 441 w 723"/>
                <a:gd name="T3" fmla="*/ 357 h 452"/>
                <a:gd name="T4" fmla="*/ 438 w 723"/>
                <a:gd name="T5" fmla="*/ 350 h 452"/>
                <a:gd name="T6" fmla="*/ 438 w 723"/>
                <a:gd name="T7" fmla="*/ 340 h 452"/>
                <a:gd name="T8" fmla="*/ 443 w 723"/>
                <a:gd name="T9" fmla="*/ 334 h 452"/>
                <a:gd name="T10" fmla="*/ 452 w 723"/>
                <a:gd name="T11" fmla="*/ 331 h 452"/>
                <a:gd name="T12" fmla="*/ 608 w 723"/>
                <a:gd name="T13" fmla="*/ 333 h 452"/>
                <a:gd name="T14" fmla="*/ 615 w 723"/>
                <a:gd name="T15" fmla="*/ 338 h 452"/>
                <a:gd name="T16" fmla="*/ 618 w 723"/>
                <a:gd name="T17" fmla="*/ 346 h 452"/>
                <a:gd name="T18" fmla="*/ 615 w 723"/>
                <a:gd name="T19" fmla="*/ 355 h 452"/>
                <a:gd name="T20" fmla="*/ 608 w 723"/>
                <a:gd name="T21" fmla="*/ 360 h 452"/>
                <a:gd name="T22" fmla="*/ 331 w 723"/>
                <a:gd name="T23" fmla="*/ 407 h 452"/>
                <a:gd name="T24" fmla="*/ 329 w 723"/>
                <a:gd name="T25" fmla="*/ 415 h 452"/>
                <a:gd name="T26" fmla="*/ 322 w 723"/>
                <a:gd name="T27" fmla="*/ 420 h 452"/>
                <a:gd name="T28" fmla="*/ 105 w 723"/>
                <a:gd name="T29" fmla="*/ 422 h 452"/>
                <a:gd name="T30" fmla="*/ 98 w 723"/>
                <a:gd name="T31" fmla="*/ 419 h 452"/>
                <a:gd name="T32" fmla="*/ 92 w 723"/>
                <a:gd name="T33" fmla="*/ 412 h 452"/>
                <a:gd name="T34" fmla="*/ 90 w 723"/>
                <a:gd name="T35" fmla="*/ 286 h 452"/>
                <a:gd name="T36" fmla="*/ 93 w 723"/>
                <a:gd name="T37" fmla="*/ 278 h 452"/>
                <a:gd name="T38" fmla="*/ 100 w 723"/>
                <a:gd name="T39" fmla="*/ 272 h 452"/>
                <a:gd name="T40" fmla="*/ 316 w 723"/>
                <a:gd name="T41" fmla="*/ 271 h 452"/>
                <a:gd name="T42" fmla="*/ 325 w 723"/>
                <a:gd name="T43" fmla="*/ 274 h 452"/>
                <a:gd name="T44" fmla="*/ 330 w 723"/>
                <a:gd name="T45" fmla="*/ 280 h 452"/>
                <a:gd name="T46" fmla="*/ 331 w 723"/>
                <a:gd name="T47" fmla="*/ 407 h 452"/>
                <a:gd name="T48" fmla="*/ 722 w 723"/>
                <a:gd name="T49" fmla="*/ 220 h 452"/>
                <a:gd name="T50" fmla="*/ 717 w 723"/>
                <a:gd name="T51" fmla="*/ 213 h 452"/>
                <a:gd name="T52" fmla="*/ 708 w 723"/>
                <a:gd name="T53" fmla="*/ 211 h 452"/>
                <a:gd name="T54" fmla="*/ 678 w 723"/>
                <a:gd name="T55" fmla="*/ 150 h 452"/>
                <a:gd name="T56" fmla="*/ 703 w 723"/>
                <a:gd name="T57" fmla="*/ 143 h 452"/>
                <a:gd name="T58" fmla="*/ 720 w 723"/>
                <a:gd name="T59" fmla="*/ 123 h 452"/>
                <a:gd name="T60" fmla="*/ 723 w 723"/>
                <a:gd name="T61" fmla="*/ 45 h 452"/>
                <a:gd name="T62" fmla="*/ 715 w 723"/>
                <a:gd name="T63" fmla="*/ 20 h 452"/>
                <a:gd name="T64" fmla="*/ 695 w 723"/>
                <a:gd name="T65" fmla="*/ 3 h 452"/>
                <a:gd name="T66" fmla="*/ 497 w 723"/>
                <a:gd name="T67" fmla="*/ 0 h 452"/>
                <a:gd name="T68" fmla="*/ 472 w 723"/>
                <a:gd name="T69" fmla="*/ 8 h 452"/>
                <a:gd name="T70" fmla="*/ 456 w 723"/>
                <a:gd name="T71" fmla="*/ 28 h 452"/>
                <a:gd name="T72" fmla="*/ 452 w 723"/>
                <a:gd name="T73" fmla="*/ 105 h 452"/>
                <a:gd name="T74" fmla="*/ 460 w 723"/>
                <a:gd name="T75" fmla="*/ 131 h 452"/>
                <a:gd name="T76" fmla="*/ 479 w 723"/>
                <a:gd name="T77" fmla="*/ 147 h 452"/>
                <a:gd name="T78" fmla="*/ 573 w 723"/>
                <a:gd name="T79" fmla="*/ 150 h 452"/>
                <a:gd name="T80" fmla="*/ 301 w 723"/>
                <a:gd name="T81" fmla="*/ 75 h 452"/>
                <a:gd name="T82" fmla="*/ 297 w 723"/>
                <a:gd name="T83" fmla="*/ 65 h 452"/>
                <a:gd name="T84" fmla="*/ 288 w 723"/>
                <a:gd name="T85" fmla="*/ 60 h 452"/>
                <a:gd name="T86" fmla="*/ 130 w 723"/>
                <a:gd name="T87" fmla="*/ 121 h 452"/>
                <a:gd name="T88" fmla="*/ 121 w 723"/>
                <a:gd name="T89" fmla="*/ 131 h 452"/>
                <a:gd name="T90" fmla="*/ 15 w 723"/>
                <a:gd name="T91" fmla="*/ 211 h 452"/>
                <a:gd name="T92" fmla="*/ 7 w 723"/>
                <a:gd name="T93" fmla="*/ 213 h 452"/>
                <a:gd name="T94" fmla="*/ 1 w 723"/>
                <a:gd name="T95" fmla="*/ 220 h 452"/>
                <a:gd name="T96" fmla="*/ 0 w 723"/>
                <a:gd name="T97" fmla="*/ 452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3" h="452">
                  <a:moveTo>
                    <a:pt x="603" y="361"/>
                  </a:moveTo>
                  <a:lnTo>
                    <a:pt x="452" y="361"/>
                  </a:lnTo>
                  <a:lnTo>
                    <a:pt x="448" y="361"/>
                  </a:lnTo>
                  <a:lnTo>
                    <a:pt x="446" y="360"/>
                  </a:lnTo>
                  <a:lnTo>
                    <a:pt x="443" y="359"/>
                  </a:lnTo>
                  <a:lnTo>
                    <a:pt x="441" y="357"/>
                  </a:lnTo>
                  <a:lnTo>
                    <a:pt x="440" y="355"/>
                  </a:lnTo>
                  <a:lnTo>
                    <a:pt x="438" y="352"/>
                  </a:lnTo>
                  <a:lnTo>
                    <a:pt x="438" y="350"/>
                  </a:lnTo>
                  <a:lnTo>
                    <a:pt x="437" y="346"/>
                  </a:lnTo>
                  <a:lnTo>
                    <a:pt x="438" y="343"/>
                  </a:lnTo>
                  <a:lnTo>
                    <a:pt x="438" y="340"/>
                  </a:lnTo>
                  <a:lnTo>
                    <a:pt x="440" y="338"/>
                  </a:lnTo>
                  <a:lnTo>
                    <a:pt x="441" y="336"/>
                  </a:lnTo>
                  <a:lnTo>
                    <a:pt x="443" y="334"/>
                  </a:lnTo>
                  <a:lnTo>
                    <a:pt x="446" y="333"/>
                  </a:lnTo>
                  <a:lnTo>
                    <a:pt x="448" y="331"/>
                  </a:lnTo>
                  <a:lnTo>
                    <a:pt x="452" y="331"/>
                  </a:lnTo>
                  <a:lnTo>
                    <a:pt x="603" y="331"/>
                  </a:lnTo>
                  <a:lnTo>
                    <a:pt x="605" y="331"/>
                  </a:lnTo>
                  <a:lnTo>
                    <a:pt x="608" y="333"/>
                  </a:lnTo>
                  <a:lnTo>
                    <a:pt x="610" y="334"/>
                  </a:lnTo>
                  <a:lnTo>
                    <a:pt x="614" y="336"/>
                  </a:lnTo>
                  <a:lnTo>
                    <a:pt x="615" y="338"/>
                  </a:lnTo>
                  <a:lnTo>
                    <a:pt x="617" y="340"/>
                  </a:lnTo>
                  <a:lnTo>
                    <a:pt x="617" y="343"/>
                  </a:lnTo>
                  <a:lnTo>
                    <a:pt x="618" y="346"/>
                  </a:lnTo>
                  <a:lnTo>
                    <a:pt x="617" y="350"/>
                  </a:lnTo>
                  <a:lnTo>
                    <a:pt x="617" y="352"/>
                  </a:lnTo>
                  <a:lnTo>
                    <a:pt x="615" y="355"/>
                  </a:lnTo>
                  <a:lnTo>
                    <a:pt x="614" y="357"/>
                  </a:lnTo>
                  <a:lnTo>
                    <a:pt x="610" y="359"/>
                  </a:lnTo>
                  <a:lnTo>
                    <a:pt x="608" y="360"/>
                  </a:lnTo>
                  <a:lnTo>
                    <a:pt x="605" y="361"/>
                  </a:lnTo>
                  <a:lnTo>
                    <a:pt x="603" y="361"/>
                  </a:lnTo>
                  <a:close/>
                  <a:moveTo>
                    <a:pt x="331" y="407"/>
                  </a:moveTo>
                  <a:lnTo>
                    <a:pt x="331" y="410"/>
                  </a:lnTo>
                  <a:lnTo>
                    <a:pt x="330" y="412"/>
                  </a:lnTo>
                  <a:lnTo>
                    <a:pt x="329" y="415"/>
                  </a:lnTo>
                  <a:lnTo>
                    <a:pt x="327" y="417"/>
                  </a:lnTo>
                  <a:lnTo>
                    <a:pt x="325" y="419"/>
                  </a:lnTo>
                  <a:lnTo>
                    <a:pt x="322" y="420"/>
                  </a:lnTo>
                  <a:lnTo>
                    <a:pt x="320" y="422"/>
                  </a:lnTo>
                  <a:lnTo>
                    <a:pt x="316" y="422"/>
                  </a:lnTo>
                  <a:lnTo>
                    <a:pt x="105" y="422"/>
                  </a:lnTo>
                  <a:lnTo>
                    <a:pt x="103" y="422"/>
                  </a:lnTo>
                  <a:lnTo>
                    <a:pt x="100" y="420"/>
                  </a:lnTo>
                  <a:lnTo>
                    <a:pt x="98" y="419"/>
                  </a:lnTo>
                  <a:lnTo>
                    <a:pt x="96" y="417"/>
                  </a:lnTo>
                  <a:lnTo>
                    <a:pt x="93" y="415"/>
                  </a:lnTo>
                  <a:lnTo>
                    <a:pt x="92" y="412"/>
                  </a:lnTo>
                  <a:lnTo>
                    <a:pt x="91" y="410"/>
                  </a:lnTo>
                  <a:lnTo>
                    <a:pt x="90" y="407"/>
                  </a:lnTo>
                  <a:lnTo>
                    <a:pt x="90" y="286"/>
                  </a:lnTo>
                  <a:lnTo>
                    <a:pt x="91" y="283"/>
                  </a:lnTo>
                  <a:lnTo>
                    <a:pt x="92" y="280"/>
                  </a:lnTo>
                  <a:lnTo>
                    <a:pt x="93" y="278"/>
                  </a:lnTo>
                  <a:lnTo>
                    <a:pt x="96" y="276"/>
                  </a:lnTo>
                  <a:lnTo>
                    <a:pt x="98" y="274"/>
                  </a:lnTo>
                  <a:lnTo>
                    <a:pt x="100" y="272"/>
                  </a:lnTo>
                  <a:lnTo>
                    <a:pt x="103" y="271"/>
                  </a:lnTo>
                  <a:lnTo>
                    <a:pt x="105" y="271"/>
                  </a:lnTo>
                  <a:lnTo>
                    <a:pt x="316" y="271"/>
                  </a:lnTo>
                  <a:lnTo>
                    <a:pt x="320" y="271"/>
                  </a:lnTo>
                  <a:lnTo>
                    <a:pt x="322" y="272"/>
                  </a:lnTo>
                  <a:lnTo>
                    <a:pt x="325" y="274"/>
                  </a:lnTo>
                  <a:lnTo>
                    <a:pt x="327" y="276"/>
                  </a:lnTo>
                  <a:lnTo>
                    <a:pt x="329" y="278"/>
                  </a:lnTo>
                  <a:lnTo>
                    <a:pt x="330" y="280"/>
                  </a:lnTo>
                  <a:lnTo>
                    <a:pt x="331" y="283"/>
                  </a:lnTo>
                  <a:lnTo>
                    <a:pt x="331" y="286"/>
                  </a:lnTo>
                  <a:lnTo>
                    <a:pt x="331" y="407"/>
                  </a:lnTo>
                  <a:close/>
                  <a:moveTo>
                    <a:pt x="723" y="226"/>
                  </a:moveTo>
                  <a:lnTo>
                    <a:pt x="723" y="223"/>
                  </a:lnTo>
                  <a:lnTo>
                    <a:pt x="722" y="220"/>
                  </a:lnTo>
                  <a:lnTo>
                    <a:pt x="721" y="218"/>
                  </a:lnTo>
                  <a:lnTo>
                    <a:pt x="719" y="216"/>
                  </a:lnTo>
                  <a:lnTo>
                    <a:pt x="717" y="213"/>
                  </a:lnTo>
                  <a:lnTo>
                    <a:pt x="713" y="212"/>
                  </a:lnTo>
                  <a:lnTo>
                    <a:pt x="711" y="211"/>
                  </a:lnTo>
                  <a:lnTo>
                    <a:pt x="708" y="211"/>
                  </a:lnTo>
                  <a:lnTo>
                    <a:pt x="603" y="211"/>
                  </a:lnTo>
                  <a:lnTo>
                    <a:pt x="603" y="150"/>
                  </a:lnTo>
                  <a:lnTo>
                    <a:pt x="678" y="150"/>
                  </a:lnTo>
                  <a:lnTo>
                    <a:pt x="686" y="149"/>
                  </a:lnTo>
                  <a:lnTo>
                    <a:pt x="695" y="147"/>
                  </a:lnTo>
                  <a:lnTo>
                    <a:pt x="703" y="143"/>
                  </a:lnTo>
                  <a:lnTo>
                    <a:pt x="710" y="137"/>
                  </a:lnTo>
                  <a:lnTo>
                    <a:pt x="715" y="131"/>
                  </a:lnTo>
                  <a:lnTo>
                    <a:pt x="720" y="123"/>
                  </a:lnTo>
                  <a:lnTo>
                    <a:pt x="722" y="115"/>
                  </a:lnTo>
                  <a:lnTo>
                    <a:pt x="723" y="105"/>
                  </a:lnTo>
                  <a:lnTo>
                    <a:pt x="723" y="45"/>
                  </a:lnTo>
                  <a:lnTo>
                    <a:pt x="722" y="36"/>
                  </a:lnTo>
                  <a:lnTo>
                    <a:pt x="720" y="28"/>
                  </a:lnTo>
                  <a:lnTo>
                    <a:pt x="715" y="20"/>
                  </a:lnTo>
                  <a:lnTo>
                    <a:pt x="710" y="13"/>
                  </a:lnTo>
                  <a:lnTo>
                    <a:pt x="703" y="8"/>
                  </a:lnTo>
                  <a:lnTo>
                    <a:pt x="695" y="3"/>
                  </a:lnTo>
                  <a:lnTo>
                    <a:pt x="686" y="1"/>
                  </a:lnTo>
                  <a:lnTo>
                    <a:pt x="678" y="0"/>
                  </a:lnTo>
                  <a:lnTo>
                    <a:pt x="497" y="0"/>
                  </a:lnTo>
                  <a:lnTo>
                    <a:pt x="488" y="1"/>
                  </a:lnTo>
                  <a:lnTo>
                    <a:pt x="479" y="3"/>
                  </a:lnTo>
                  <a:lnTo>
                    <a:pt x="472" y="8"/>
                  </a:lnTo>
                  <a:lnTo>
                    <a:pt x="466" y="13"/>
                  </a:lnTo>
                  <a:lnTo>
                    <a:pt x="460" y="20"/>
                  </a:lnTo>
                  <a:lnTo>
                    <a:pt x="456" y="28"/>
                  </a:lnTo>
                  <a:lnTo>
                    <a:pt x="453" y="36"/>
                  </a:lnTo>
                  <a:lnTo>
                    <a:pt x="452" y="45"/>
                  </a:lnTo>
                  <a:lnTo>
                    <a:pt x="452" y="105"/>
                  </a:lnTo>
                  <a:lnTo>
                    <a:pt x="453" y="115"/>
                  </a:lnTo>
                  <a:lnTo>
                    <a:pt x="456" y="123"/>
                  </a:lnTo>
                  <a:lnTo>
                    <a:pt x="460" y="131"/>
                  </a:lnTo>
                  <a:lnTo>
                    <a:pt x="466" y="137"/>
                  </a:lnTo>
                  <a:lnTo>
                    <a:pt x="472" y="143"/>
                  </a:lnTo>
                  <a:lnTo>
                    <a:pt x="479" y="147"/>
                  </a:lnTo>
                  <a:lnTo>
                    <a:pt x="488" y="150"/>
                  </a:lnTo>
                  <a:lnTo>
                    <a:pt x="497" y="150"/>
                  </a:lnTo>
                  <a:lnTo>
                    <a:pt x="573" y="150"/>
                  </a:lnTo>
                  <a:lnTo>
                    <a:pt x="573" y="211"/>
                  </a:lnTo>
                  <a:lnTo>
                    <a:pt x="301" y="211"/>
                  </a:lnTo>
                  <a:lnTo>
                    <a:pt x="301" y="75"/>
                  </a:lnTo>
                  <a:lnTo>
                    <a:pt x="301" y="72"/>
                  </a:lnTo>
                  <a:lnTo>
                    <a:pt x="299" y="69"/>
                  </a:lnTo>
                  <a:lnTo>
                    <a:pt x="297" y="65"/>
                  </a:lnTo>
                  <a:lnTo>
                    <a:pt x="295" y="63"/>
                  </a:lnTo>
                  <a:lnTo>
                    <a:pt x="292" y="61"/>
                  </a:lnTo>
                  <a:lnTo>
                    <a:pt x="288" y="60"/>
                  </a:lnTo>
                  <a:lnTo>
                    <a:pt x="284" y="60"/>
                  </a:lnTo>
                  <a:lnTo>
                    <a:pt x="281" y="61"/>
                  </a:lnTo>
                  <a:lnTo>
                    <a:pt x="130" y="121"/>
                  </a:lnTo>
                  <a:lnTo>
                    <a:pt x="127" y="123"/>
                  </a:lnTo>
                  <a:lnTo>
                    <a:pt x="123" y="128"/>
                  </a:lnTo>
                  <a:lnTo>
                    <a:pt x="121" y="131"/>
                  </a:lnTo>
                  <a:lnTo>
                    <a:pt x="121" y="135"/>
                  </a:lnTo>
                  <a:lnTo>
                    <a:pt x="121" y="211"/>
                  </a:lnTo>
                  <a:lnTo>
                    <a:pt x="15" y="211"/>
                  </a:lnTo>
                  <a:lnTo>
                    <a:pt x="12" y="211"/>
                  </a:lnTo>
                  <a:lnTo>
                    <a:pt x="10" y="212"/>
                  </a:lnTo>
                  <a:lnTo>
                    <a:pt x="7" y="213"/>
                  </a:lnTo>
                  <a:lnTo>
                    <a:pt x="4" y="216"/>
                  </a:lnTo>
                  <a:lnTo>
                    <a:pt x="3" y="218"/>
                  </a:lnTo>
                  <a:lnTo>
                    <a:pt x="1" y="220"/>
                  </a:lnTo>
                  <a:lnTo>
                    <a:pt x="1" y="223"/>
                  </a:lnTo>
                  <a:lnTo>
                    <a:pt x="0" y="226"/>
                  </a:lnTo>
                  <a:lnTo>
                    <a:pt x="0" y="452"/>
                  </a:lnTo>
                  <a:lnTo>
                    <a:pt x="723" y="452"/>
                  </a:lnTo>
                  <a:lnTo>
                    <a:pt x="723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BF061177-3A0B-4D94-95FF-46770B8B2E9B}"/>
              </a:ext>
            </a:extLst>
          </p:cNvPr>
          <p:cNvSpPr/>
          <p:nvPr/>
        </p:nvSpPr>
        <p:spPr>
          <a:xfrm>
            <a:off x="8467385" y="1577181"/>
            <a:ext cx="3419021" cy="962601"/>
          </a:xfrm>
          <a:prstGeom prst="rect">
            <a:avLst/>
          </a:prstGeom>
          <a:solidFill>
            <a:srgbClr val="CE29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en-US" sz="2400" dirty="0"/>
              <a:t>Card (40%)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441B089-8C78-493A-B640-E4942D9BE68E}"/>
              </a:ext>
            </a:extLst>
          </p:cNvPr>
          <p:cNvSpPr/>
          <p:nvPr/>
        </p:nvSpPr>
        <p:spPr>
          <a:xfrm>
            <a:off x="8467385" y="3372670"/>
            <a:ext cx="3419021" cy="4191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/>
                </a:solidFill>
              </a:rPr>
              <a:t>Other (20%)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D0359B6-238F-4B5E-B1A4-229F370E96D7}"/>
              </a:ext>
            </a:extLst>
          </p:cNvPr>
          <p:cNvSpPr/>
          <p:nvPr/>
        </p:nvSpPr>
        <p:spPr>
          <a:xfrm>
            <a:off x="8467385" y="2956227"/>
            <a:ext cx="3419021" cy="4191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/>
                </a:solidFill>
              </a:rPr>
              <a:t>Gift Card (20%)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C14F284B-6377-4804-9C82-CA1083F54D5A}"/>
              </a:ext>
            </a:extLst>
          </p:cNvPr>
          <p:cNvSpPr/>
          <p:nvPr/>
        </p:nvSpPr>
        <p:spPr>
          <a:xfrm>
            <a:off x="8467385" y="2539783"/>
            <a:ext cx="3419021" cy="4191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/>
                </a:solidFill>
              </a:rPr>
              <a:t>Cash (20%)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1710653A-F5C8-47DE-8D3E-A0B5438ED781}"/>
              </a:ext>
            </a:extLst>
          </p:cNvPr>
          <p:cNvSpPr/>
          <p:nvPr/>
        </p:nvSpPr>
        <p:spPr>
          <a:xfrm>
            <a:off x="9848283" y="1242245"/>
            <a:ext cx="657225" cy="657225"/>
          </a:xfrm>
          <a:prstGeom prst="ellipse">
            <a:avLst/>
          </a:prstGeom>
          <a:solidFill>
            <a:srgbClr val="CE295E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64E23882-97E3-4B34-BBE0-6959274930AF}"/>
              </a:ext>
            </a:extLst>
          </p:cNvPr>
          <p:cNvSpPr/>
          <p:nvPr/>
        </p:nvSpPr>
        <p:spPr>
          <a:xfrm>
            <a:off x="10598852" y="1827649"/>
            <a:ext cx="1200971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>
              <a:spcBef>
                <a:spcPts val="600"/>
              </a:spcBef>
            </a:pPr>
            <a:r>
              <a:rPr lang="en-US" sz="2400" dirty="0">
                <a:solidFill>
                  <a:schemeClr val="bg1"/>
                </a:solidFill>
              </a:rPr>
              <a:t>$704.78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76948FB-CC34-4B03-88DC-8401A5A57F4D}"/>
              </a:ext>
            </a:extLst>
          </p:cNvPr>
          <p:cNvSpPr/>
          <p:nvPr/>
        </p:nvSpPr>
        <p:spPr>
          <a:xfrm>
            <a:off x="10885423" y="2580055"/>
            <a:ext cx="914400" cy="338554"/>
          </a:xfrm>
          <a:prstGeom prst="rect">
            <a:avLst/>
          </a:prstGeom>
        </p:spPr>
        <p:txBody>
          <a:bodyPr wrap="none" anchor="ctr">
            <a:normAutofit/>
          </a:bodyPr>
          <a:lstStyle/>
          <a:p>
            <a:pPr algn="r">
              <a:spcBef>
                <a:spcPts val="600"/>
              </a:spcBef>
            </a:pPr>
            <a:r>
              <a:rPr lang="en-US" sz="1600" dirty="0">
                <a:solidFill>
                  <a:schemeClr val="bg1"/>
                </a:solidFill>
              </a:rPr>
              <a:t>$191.01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7A6E0B43-CBC1-4B75-A350-E61BB761761E}"/>
              </a:ext>
            </a:extLst>
          </p:cNvPr>
          <p:cNvSpPr/>
          <p:nvPr/>
        </p:nvSpPr>
        <p:spPr>
          <a:xfrm>
            <a:off x="10885423" y="2994209"/>
            <a:ext cx="914400" cy="338554"/>
          </a:xfrm>
          <a:prstGeom prst="rect">
            <a:avLst/>
          </a:prstGeom>
        </p:spPr>
        <p:txBody>
          <a:bodyPr wrap="none" anchor="ctr">
            <a:normAutofit/>
          </a:bodyPr>
          <a:lstStyle/>
          <a:p>
            <a:pPr algn="r">
              <a:spcBef>
                <a:spcPts val="600"/>
              </a:spcBef>
            </a:pPr>
            <a:r>
              <a:rPr lang="en-US" sz="1600" dirty="0">
                <a:solidFill>
                  <a:schemeClr val="bg1"/>
                </a:solidFill>
              </a:rPr>
              <a:t>$189.31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C4B4557E-2EE3-41E0-8A59-E60F50BDB6EC}"/>
              </a:ext>
            </a:extLst>
          </p:cNvPr>
          <p:cNvSpPr/>
          <p:nvPr/>
        </p:nvSpPr>
        <p:spPr>
          <a:xfrm>
            <a:off x="10885423" y="3412943"/>
            <a:ext cx="914400" cy="338554"/>
          </a:xfrm>
          <a:prstGeom prst="rect">
            <a:avLst/>
          </a:prstGeom>
        </p:spPr>
        <p:txBody>
          <a:bodyPr wrap="none" anchor="ctr">
            <a:normAutofit/>
          </a:bodyPr>
          <a:lstStyle/>
          <a:p>
            <a:pPr algn="r">
              <a:spcBef>
                <a:spcPts val="600"/>
              </a:spcBef>
            </a:pPr>
            <a:r>
              <a:rPr lang="en-US" sz="1600" dirty="0">
                <a:solidFill>
                  <a:schemeClr val="bg1"/>
                </a:solidFill>
              </a:rPr>
              <a:t>$186.54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3F8007BE-3B68-4A53-AEE4-024A0881F8D7}"/>
              </a:ext>
            </a:extLst>
          </p:cNvPr>
          <p:cNvGrpSpPr/>
          <p:nvPr/>
        </p:nvGrpSpPr>
        <p:grpSpPr>
          <a:xfrm>
            <a:off x="10033226" y="1470845"/>
            <a:ext cx="287338" cy="200025"/>
            <a:chOff x="877888" y="1966913"/>
            <a:chExt cx="287338" cy="200025"/>
          </a:xfrm>
          <a:solidFill>
            <a:schemeClr val="bg1"/>
          </a:solidFill>
        </p:grpSpPr>
        <p:sp>
          <p:nvSpPr>
            <p:cNvPr id="102" name="Freeform 433">
              <a:extLst>
                <a:ext uri="{FF2B5EF4-FFF2-40B4-BE49-F238E27FC236}">
                  <a16:creationId xmlns:a16="http://schemas.microsoft.com/office/drawing/2014/main" id="{D0CE91C6-2C66-47F1-A984-605FA356B2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7888" y="1966913"/>
              <a:ext cx="287338" cy="200025"/>
            </a:xfrm>
            <a:custGeom>
              <a:avLst/>
              <a:gdLst>
                <a:gd name="T0" fmla="*/ 550 w 903"/>
                <a:gd name="T1" fmla="*/ 473 h 632"/>
                <a:gd name="T2" fmla="*/ 491 w 903"/>
                <a:gd name="T3" fmla="*/ 438 h 632"/>
                <a:gd name="T4" fmla="*/ 499 w 903"/>
                <a:gd name="T5" fmla="*/ 388 h 632"/>
                <a:gd name="T6" fmla="*/ 512 w 903"/>
                <a:gd name="T7" fmla="*/ 331 h 632"/>
                <a:gd name="T8" fmla="*/ 507 w 903"/>
                <a:gd name="T9" fmla="*/ 272 h 632"/>
                <a:gd name="T10" fmla="*/ 486 w 903"/>
                <a:gd name="T11" fmla="*/ 219 h 632"/>
                <a:gd name="T12" fmla="*/ 519 w 903"/>
                <a:gd name="T13" fmla="*/ 173 h 632"/>
                <a:gd name="T14" fmla="*/ 585 w 903"/>
                <a:gd name="T15" fmla="*/ 151 h 632"/>
                <a:gd name="T16" fmla="*/ 651 w 903"/>
                <a:gd name="T17" fmla="*/ 158 h 632"/>
                <a:gd name="T18" fmla="*/ 708 w 903"/>
                <a:gd name="T19" fmla="*/ 189 h 632"/>
                <a:gd name="T20" fmla="*/ 748 w 903"/>
                <a:gd name="T21" fmla="*/ 237 h 632"/>
                <a:gd name="T22" fmla="*/ 767 w 903"/>
                <a:gd name="T23" fmla="*/ 299 h 632"/>
                <a:gd name="T24" fmla="*/ 760 w 903"/>
                <a:gd name="T25" fmla="*/ 366 h 632"/>
                <a:gd name="T26" fmla="*/ 730 w 903"/>
                <a:gd name="T27" fmla="*/ 422 h 632"/>
                <a:gd name="T28" fmla="*/ 681 w 903"/>
                <a:gd name="T29" fmla="*/ 461 h 632"/>
                <a:gd name="T30" fmla="*/ 619 w 903"/>
                <a:gd name="T31" fmla="*/ 481 h 632"/>
                <a:gd name="T32" fmla="*/ 392 w 903"/>
                <a:gd name="T33" fmla="*/ 422 h 632"/>
                <a:gd name="T34" fmla="*/ 387 w 903"/>
                <a:gd name="T35" fmla="*/ 466 h 632"/>
                <a:gd name="T36" fmla="*/ 331 w 903"/>
                <a:gd name="T37" fmla="*/ 452 h 632"/>
                <a:gd name="T38" fmla="*/ 307 w 903"/>
                <a:gd name="T39" fmla="*/ 482 h 632"/>
                <a:gd name="T40" fmla="*/ 268 w 903"/>
                <a:gd name="T41" fmla="*/ 474 h 632"/>
                <a:gd name="T42" fmla="*/ 241 w 903"/>
                <a:gd name="T43" fmla="*/ 452 h 632"/>
                <a:gd name="T44" fmla="*/ 199 w 903"/>
                <a:gd name="T45" fmla="*/ 432 h 632"/>
                <a:gd name="T46" fmla="*/ 174 w 903"/>
                <a:gd name="T47" fmla="*/ 400 h 632"/>
                <a:gd name="T48" fmla="*/ 158 w 903"/>
                <a:gd name="T49" fmla="*/ 361 h 632"/>
                <a:gd name="T50" fmla="*/ 181 w 903"/>
                <a:gd name="T51" fmla="*/ 301 h 632"/>
                <a:gd name="T52" fmla="*/ 181 w 903"/>
                <a:gd name="T53" fmla="*/ 271 h 632"/>
                <a:gd name="T54" fmla="*/ 179 w 903"/>
                <a:gd name="T55" fmla="*/ 223 h 632"/>
                <a:gd name="T56" fmla="*/ 206 w 903"/>
                <a:gd name="T57" fmla="*/ 193 h 632"/>
                <a:gd name="T58" fmla="*/ 241 w 903"/>
                <a:gd name="T59" fmla="*/ 168 h 632"/>
                <a:gd name="T60" fmla="*/ 277 w 903"/>
                <a:gd name="T61" fmla="*/ 156 h 632"/>
                <a:gd name="T62" fmla="*/ 316 w 903"/>
                <a:gd name="T63" fmla="*/ 150 h 632"/>
                <a:gd name="T64" fmla="*/ 362 w 903"/>
                <a:gd name="T65" fmla="*/ 180 h 632"/>
                <a:gd name="T66" fmla="*/ 400 w 903"/>
                <a:gd name="T67" fmla="*/ 173 h 632"/>
                <a:gd name="T68" fmla="*/ 422 w 903"/>
                <a:gd name="T69" fmla="*/ 210 h 632"/>
                <a:gd name="T70" fmla="*/ 447 w 903"/>
                <a:gd name="T71" fmla="*/ 216 h 632"/>
                <a:gd name="T72" fmla="*/ 472 w 903"/>
                <a:gd name="T73" fmla="*/ 259 h 632"/>
                <a:gd name="T74" fmla="*/ 482 w 903"/>
                <a:gd name="T75" fmla="*/ 301 h 632"/>
                <a:gd name="T76" fmla="*/ 482 w 903"/>
                <a:gd name="T77" fmla="*/ 331 h 632"/>
                <a:gd name="T78" fmla="*/ 472 w 903"/>
                <a:gd name="T79" fmla="*/ 373 h 632"/>
                <a:gd name="T80" fmla="*/ 447 w 903"/>
                <a:gd name="T81" fmla="*/ 417 h 632"/>
                <a:gd name="T82" fmla="*/ 422 w 903"/>
                <a:gd name="T83" fmla="*/ 444 h 632"/>
                <a:gd name="T84" fmla="*/ 60 w 903"/>
                <a:gd name="T85" fmla="*/ 1 h 632"/>
                <a:gd name="T86" fmla="*/ 33 w 903"/>
                <a:gd name="T87" fmla="*/ 13 h 632"/>
                <a:gd name="T88" fmla="*/ 13 w 903"/>
                <a:gd name="T89" fmla="*/ 33 h 632"/>
                <a:gd name="T90" fmla="*/ 2 w 903"/>
                <a:gd name="T91" fmla="*/ 60 h 632"/>
                <a:gd name="T92" fmla="*/ 1 w 903"/>
                <a:gd name="T93" fmla="*/ 564 h 632"/>
                <a:gd name="T94" fmla="*/ 10 w 903"/>
                <a:gd name="T95" fmla="*/ 593 h 632"/>
                <a:gd name="T96" fmla="*/ 28 w 903"/>
                <a:gd name="T97" fmla="*/ 615 h 632"/>
                <a:gd name="T98" fmla="*/ 54 w 903"/>
                <a:gd name="T99" fmla="*/ 629 h 632"/>
                <a:gd name="T100" fmla="*/ 828 w 903"/>
                <a:gd name="T101" fmla="*/ 632 h 632"/>
                <a:gd name="T102" fmla="*/ 857 w 903"/>
                <a:gd name="T103" fmla="*/ 626 h 632"/>
                <a:gd name="T104" fmla="*/ 882 w 903"/>
                <a:gd name="T105" fmla="*/ 610 h 632"/>
                <a:gd name="T106" fmla="*/ 898 w 903"/>
                <a:gd name="T107" fmla="*/ 587 h 632"/>
                <a:gd name="T108" fmla="*/ 903 w 903"/>
                <a:gd name="T109" fmla="*/ 557 h 632"/>
                <a:gd name="T110" fmla="*/ 900 w 903"/>
                <a:gd name="T111" fmla="*/ 53 h 632"/>
                <a:gd name="T112" fmla="*/ 886 w 903"/>
                <a:gd name="T113" fmla="*/ 27 h 632"/>
                <a:gd name="T114" fmla="*/ 865 w 903"/>
                <a:gd name="T115" fmla="*/ 9 h 632"/>
                <a:gd name="T116" fmla="*/ 836 w 903"/>
                <a:gd name="T117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3" h="632">
                  <a:moveTo>
                    <a:pt x="603" y="482"/>
                  </a:moveTo>
                  <a:lnTo>
                    <a:pt x="585" y="481"/>
                  </a:lnTo>
                  <a:lnTo>
                    <a:pt x="567" y="478"/>
                  </a:lnTo>
                  <a:lnTo>
                    <a:pt x="550" y="473"/>
                  </a:lnTo>
                  <a:lnTo>
                    <a:pt x="534" y="467"/>
                  </a:lnTo>
                  <a:lnTo>
                    <a:pt x="519" y="459"/>
                  </a:lnTo>
                  <a:lnTo>
                    <a:pt x="504" y="449"/>
                  </a:lnTo>
                  <a:lnTo>
                    <a:pt x="491" y="438"/>
                  </a:lnTo>
                  <a:lnTo>
                    <a:pt x="478" y="426"/>
                  </a:lnTo>
                  <a:lnTo>
                    <a:pt x="486" y="413"/>
                  </a:lnTo>
                  <a:lnTo>
                    <a:pt x="492" y="401"/>
                  </a:lnTo>
                  <a:lnTo>
                    <a:pt x="499" y="388"/>
                  </a:lnTo>
                  <a:lnTo>
                    <a:pt x="503" y="374"/>
                  </a:lnTo>
                  <a:lnTo>
                    <a:pt x="507" y="360"/>
                  </a:lnTo>
                  <a:lnTo>
                    <a:pt x="510" y="345"/>
                  </a:lnTo>
                  <a:lnTo>
                    <a:pt x="512" y="331"/>
                  </a:lnTo>
                  <a:lnTo>
                    <a:pt x="512" y="316"/>
                  </a:lnTo>
                  <a:lnTo>
                    <a:pt x="512" y="301"/>
                  </a:lnTo>
                  <a:lnTo>
                    <a:pt x="510" y="286"/>
                  </a:lnTo>
                  <a:lnTo>
                    <a:pt x="507" y="272"/>
                  </a:lnTo>
                  <a:lnTo>
                    <a:pt x="503" y="257"/>
                  </a:lnTo>
                  <a:lnTo>
                    <a:pt x="499" y="245"/>
                  </a:lnTo>
                  <a:lnTo>
                    <a:pt x="492" y="232"/>
                  </a:lnTo>
                  <a:lnTo>
                    <a:pt x="486" y="219"/>
                  </a:lnTo>
                  <a:lnTo>
                    <a:pt x="478" y="207"/>
                  </a:lnTo>
                  <a:lnTo>
                    <a:pt x="491" y="194"/>
                  </a:lnTo>
                  <a:lnTo>
                    <a:pt x="504" y="182"/>
                  </a:lnTo>
                  <a:lnTo>
                    <a:pt x="519" y="173"/>
                  </a:lnTo>
                  <a:lnTo>
                    <a:pt x="534" y="165"/>
                  </a:lnTo>
                  <a:lnTo>
                    <a:pt x="550" y="159"/>
                  </a:lnTo>
                  <a:lnTo>
                    <a:pt x="567" y="154"/>
                  </a:lnTo>
                  <a:lnTo>
                    <a:pt x="585" y="151"/>
                  </a:lnTo>
                  <a:lnTo>
                    <a:pt x="603" y="150"/>
                  </a:lnTo>
                  <a:lnTo>
                    <a:pt x="619" y="151"/>
                  </a:lnTo>
                  <a:lnTo>
                    <a:pt x="636" y="153"/>
                  </a:lnTo>
                  <a:lnTo>
                    <a:pt x="651" y="158"/>
                  </a:lnTo>
                  <a:lnTo>
                    <a:pt x="667" y="163"/>
                  </a:lnTo>
                  <a:lnTo>
                    <a:pt x="681" y="171"/>
                  </a:lnTo>
                  <a:lnTo>
                    <a:pt x="695" y="179"/>
                  </a:lnTo>
                  <a:lnTo>
                    <a:pt x="708" y="189"/>
                  </a:lnTo>
                  <a:lnTo>
                    <a:pt x="720" y="200"/>
                  </a:lnTo>
                  <a:lnTo>
                    <a:pt x="730" y="211"/>
                  </a:lnTo>
                  <a:lnTo>
                    <a:pt x="740" y="223"/>
                  </a:lnTo>
                  <a:lnTo>
                    <a:pt x="748" y="237"/>
                  </a:lnTo>
                  <a:lnTo>
                    <a:pt x="755" y="252"/>
                  </a:lnTo>
                  <a:lnTo>
                    <a:pt x="760" y="267"/>
                  </a:lnTo>
                  <a:lnTo>
                    <a:pt x="765" y="283"/>
                  </a:lnTo>
                  <a:lnTo>
                    <a:pt x="767" y="299"/>
                  </a:lnTo>
                  <a:lnTo>
                    <a:pt x="768" y="316"/>
                  </a:lnTo>
                  <a:lnTo>
                    <a:pt x="767" y="333"/>
                  </a:lnTo>
                  <a:lnTo>
                    <a:pt x="765" y="350"/>
                  </a:lnTo>
                  <a:lnTo>
                    <a:pt x="760" y="366"/>
                  </a:lnTo>
                  <a:lnTo>
                    <a:pt x="755" y="381"/>
                  </a:lnTo>
                  <a:lnTo>
                    <a:pt x="748" y="395"/>
                  </a:lnTo>
                  <a:lnTo>
                    <a:pt x="740" y="409"/>
                  </a:lnTo>
                  <a:lnTo>
                    <a:pt x="730" y="422"/>
                  </a:lnTo>
                  <a:lnTo>
                    <a:pt x="720" y="433"/>
                  </a:lnTo>
                  <a:lnTo>
                    <a:pt x="708" y="444"/>
                  </a:lnTo>
                  <a:lnTo>
                    <a:pt x="695" y="454"/>
                  </a:lnTo>
                  <a:lnTo>
                    <a:pt x="681" y="461"/>
                  </a:lnTo>
                  <a:lnTo>
                    <a:pt x="667" y="469"/>
                  </a:lnTo>
                  <a:lnTo>
                    <a:pt x="651" y="474"/>
                  </a:lnTo>
                  <a:lnTo>
                    <a:pt x="636" y="478"/>
                  </a:lnTo>
                  <a:lnTo>
                    <a:pt x="619" y="481"/>
                  </a:lnTo>
                  <a:lnTo>
                    <a:pt x="603" y="482"/>
                  </a:lnTo>
                  <a:close/>
                  <a:moveTo>
                    <a:pt x="422" y="444"/>
                  </a:moveTo>
                  <a:lnTo>
                    <a:pt x="422" y="422"/>
                  </a:lnTo>
                  <a:lnTo>
                    <a:pt x="392" y="422"/>
                  </a:lnTo>
                  <a:lnTo>
                    <a:pt x="392" y="452"/>
                  </a:lnTo>
                  <a:lnTo>
                    <a:pt x="411" y="452"/>
                  </a:lnTo>
                  <a:lnTo>
                    <a:pt x="400" y="459"/>
                  </a:lnTo>
                  <a:lnTo>
                    <a:pt x="387" y="466"/>
                  </a:lnTo>
                  <a:lnTo>
                    <a:pt x="374" y="471"/>
                  </a:lnTo>
                  <a:lnTo>
                    <a:pt x="362" y="475"/>
                  </a:lnTo>
                  <a:lnTo>
                    <a:pt x="362" y="452"/>
                  </a:lnTo>
                  <a:lnTo>
                    <a:pt x="331" y="452"/>
                  </a:lnTo>
                  <a:lnTo>
                    <a:pt x="331" y="481"/>
                  </a:lnTo>
                  <a:lnTo>
                    <a:pt x="324" y="482"/>
                  </a:lnTo>
                  <a:lnTo>
                    <a:pt x="316" y="482"/>
                  </a:lnTo>
                  <a:lnTo>
                    <a:pt x="307" y="482"/>
                  </a:lnTo>
                  <a:lnTo>
                    <a:pt x="296" y="481"/>
                  </a:lnTo>
                  <a:lnTo>
                    <a:pt x="286" y="479"/>
                  </a:lnTo>
                  <a:lnTo>
                    <a:pt x="277" y="477"/>
                  </a:lnTo>
                  <a:lnTo>
                    <a:pt x="268" y="474"/>
                  </a:lnTo>
                  <a:lnTo>
                    <a:pt x="259" y="471"/>
                  </a:lnTo>
                  <a:lnTo>
                    <a:pt x="250" y="468"/>
                  </a:lnTo>
                  <a:lnTo>
                    <a:pt x="241" y="463"/>
                  </a:lnTo>
                  <a:lnTo>
                    <a:pt x="241" y="452"/>
                  </a:lnTo>
                  <a:lnTo>
                    <a:pt x="221" y="452"/>
                  </a:lnTo>
                  <a:lnTo>
                    <a:pt x="214" y="445"/>
                  </a:lnTo>
                  <a:lnTo>
                    <a:pt x="206" y="439"/>
                  </a:lnTo>
                  <a:lnTo>
                    <a:pt x="199" y="432"/>
                  </a:lnTo>
                  <a:lnTo>
                    <a:pt x="192" y="425"/>
                  </a:lnTo>
                  <a:lnTo>
                    <a:pt x="186" y="417"/>
                  </a:lnTo>
                  <a:lnTo>
                    <a:pt x="179" y="409"/>
                  </a:lnTo>
                  <a:lnTo>
                    <a:pt x="174" y="400"/>
                  </a:lnTo>
                  <a:lnTo>
                    <a:pt x="170" y="392"/>
                  </a:lnTo>
                  <a:lnTo>
                    <a:pt x="181" y="392"/>
                  </a:lnTo>
                  <a:lnTo>
                    <a:pt x="181" y="361"/>
                  </a:lnTo>
                  <a:lnTo>
                    <a:pt x="158" y="361"/>
                  </a:lnTo>
                  <a:lnTo>
                    <a:pt x="153" y="346"/>
                  </a:lnTo>
                  <a:lnTo>
                    <a:pt x="151" y="331"/>
                  </a:lnTo>
                  <a:lnTo>
                    <a:pt x="181" y="331"/>
                  </a:lnTo>
                  <a:lnTo>
                    <a:pt x="181" y="301"/>
                  </a:lnTo>
                  <a:lnTo>
                    <a:pt x="151" y="301"/>
                  </a:lnTo>
                  <a:lnTo>
                    <a:pt x="153" y="285"/>
                  </a:lnTo>
                  <a:lnTo>
                    <a:pt x="158" y="271"/>
                  </a:lnTo>
                  <a:lnTo>
                    <a:pt x="181" y="271"/>
                  </a:lnTo>
                  <a:lnTo>
                    <a:pt x="181" y="240"/>
                  </a:lnTo>
                  <a:lnTo>
                    <a:pt x="170" y="240"/>
                  </a:lnTo>
                  <a:lnTo>
                    <a:pt x="174" y="232"/>
                  </a:lnTo>
                  <a:lnTo>
                    <a:pt x="179" y="223"/>
                  </a:lnTo>
                  <a:lnTo>
                    <a:pt x="186" y="216"/>
                  </a:lnTo>
                  <a:lnTo>
                    <a:pt x="192" y="207"/>
                  </a:lnTo>
                  <a:lnTo>
                    <a:pt x="199" y="201"/>
                  </a:lnTo>
                  <a:lnTo>
                    <a:pt x="206" y="193"/>
                  </a:lnTo>
                  <a:lnTo>
                    <a:pt x="214" y="187"/>
                  </a:lnTo>
                  <a:lnTo>
                    <a:pt x="221" y="180"/>
                  </a:lnTo>
                  <a:lnTo>
                    <a:pt x="241" y="180"/>
                  </a:lnTo>
                  <a:lnTo>
                    <a:pt x="241" y="168"/>
                  </a:lnTo>
                  <a:lnTo>
                    <a:pt x="250" y="164"/>
                  </a:lnTo>
                  <a:lnTo>
                    <a:pt x="259" y="161"/>
                  </a:lnTo>
                  <a:lnTo>
                    <a:pt x="268" y="158"/>
                  </a:lnTo>
                  <a:lnTo>
                    <a:pt x="277" y="156"/>
                  </a:lnTo>
                  <a:lnTo>
                    <a:pt x="286" y="153"/>
                  </a:lnTo>
                  <a:lnTo>
                    <a:pt x="296" y="151"/>
                  </a:lnTo>
                  <a:lnTo>
                    <a:pt x="307" y="151"/>
                  </a:lnTo>
                  <a:lnTo>
                    <a:pt x="316" y="150"/>
                  </a:lnTo>
                  <a:lnTo>
                    <a:pt x="324" y="150"/>
                  </a:lnTo>
                  <a:lnTo>
                    <a:pt x="331" y="151"/>
                  </a:lnTo>
                  <a:lnTo>
                    <a:pt x="331" y="180"/>
                  </a:lnTo>
                  <a:lnTo>
                    <a:pt x="362" y="180"/>
                  </a:lnTo>
                  <a:lnTo>
                    <a:pt x="362" y="157"/>
                  </a:lnTo>
                  <a:lnTo>
                    <a:pt x="374" y="161"/>
                  </a:lnTo>
                  <a:lnTo>
                    <a:pt x="387" y="166"/>
                  </a:lnTo>
                  <a:lnTo>
                    <a:pt x="400" y="173"/>
                  </a:lnTo>
                  <a:lnTo>
                    <a:pt x="411" y="180"/>
                  </a:lnTo>
                  <a:lnTo>
                    <a:pt x="392" y="180"/>
                  </a:lnTo>
                  <a:lnTo>
                    <a:pt x="392" y="210"/>
                  </a:lnTo>
                  <a:lnTo>
                    <a:pt x="422" y="210"/>
                  </a:lnTo>
                  <a:lnTo>
                    <a:pt x="422" y="189"/>
                  </a:lnTo>
                  <a:lnTo>
                    <a:pt x="431" y="196"/>
                  </a:lnTo>
                  <a:lnTo>
                    <a:pt x="440" y="206"/>
                  </a:lnTo>
                  <a:lnTo>
                    <a:pt x="447" y="216"/>
                  </a:lnTo>
                  <a:lnTo>
                    <a:pt x="455" y="225"/>
                  </a:lnTo>
                  <a:lnTo>
                    <a:pt x="461" y="236"/>
                  </a:lnTo>
                  <a:lnTo>
                    <a:pt x="467" y="247"/>
                  </a:lnTo>
                  <a:lnTo>
                    <a:pt x="472" y="259"/>
                  </a:lnTo>
                  <a:lnTo>
                    <a:pt x="475" y="271"/>
                  </a:lnTo>
                  <a:lnTo>
                    <a:pt x="452" y="271"/>
                  </a:lnTo>
                  <a:lnTo>
                    <a:pt x="452" y="301"/>
                  </a:lnTo>
                  <a:lnTo>
                    <a:pt x="482" y="301"/>
                  </a:lnTo>
                  <a:lnTo>
                    <a:pt x="482" y="309"/>
                  </a:lnTo>
                  <a:lnTo>
                    <a:pt x="482" y="316"/>
                  </a:lnTo>
                  <a:lnTo>
                    <a:pt x="482" y="324"/>
                  </a:lnTo>
                  <a:lnTo>
                    <a:pt x="482" y="331"/>
                  </a:lnTo>
                  <a:lnTo>
                    <a:pt x="452" y="331"/>
                  </a:lnTo>
                  <a:lnTo>
                    <a:pt x="452" y="361"/>
                  </a:lnTo>
                  <a:lnTo>
                    <a:pt x="475" y="361"/>
                  </a:lnTo>
                  <a:lnTo>
                    <a:pt x="472" y="373"/>
                  </a:lnTo>
                  <a:lnTo>
                    <a:pt x="467" y="385"/>
                  </a:lnTo>
                  <a:lnTo>
                    <a:pt x="461" y="396"/>
                  </a:lnTo>
                  <a:lnTo>
                    <a:pt x="455" y="407"/>
                  </a:lnTo>
                  <a:lnTo>
                    <a:pt x="447" y="417"/>
                  </a:lnTo>
                  <a:lnTo>
                    <a:pt x="440" y="427"/>
                  </a:lnTo>
                  <a:lnTo>
                    <a:pt x="431" y="436"/>
                  </a:lnTo>
                  <a:lnTo>
                    <a:pt x="422" y="444"/>
                  </a:lnTo>
                  <a:lnTo>
                    <a:pt x="422" y="444"/>
                  </a:lnTo>
                  <a:close/>
                  <a:moveTo>
                    <a:pt x="828" y="0"/>
                  </a:moveTo>
                  <a:lnTo>
                    <a:pt x="75" y="0"/>
                  </a:lnTo>
                  <a:lnTo>
                    <a:pt x="68" y="0"/>
                  </a:lnTo>
                  <a:lnTo>
                    <a:pt x="60" y="1"/>
                  </a:lnTo>
                  <a:lnTo>
                    <a:pt x="54" y="3"/>
                  </a:lnTo>
                  <a:lnTo>
                    <a:pt x="46" y="5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3" y="21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40"/>
                  </a:lnTo>
                  <a:lnTo>
                    <a:pt x="7" y="46"/>
                  </a:lnTo>
                  <a:lnTo>
                    <a:pt x="3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0" y="557"/>
                  </a:lnTo>
                  <a:lnTo>
                    <a:pt x="1" y="564"/>
                  </a:lnTo>
                  <a:lnTo>
                    <a:pt x="2" y="572"/>
                  </a:lnTo>
                  <a:lnTo>
                    <a:pt x="3" y="579"/>
                  </a:lnTo>
                  <a:lnTo>
                    <a:pt x="7" y="586"/>
                  </a:lnTo>
                  <a:lnTo>
                    <a:pt x="10" y="593"/>
                  </a:lnTo>
                  <a:lnTo>
                    <a:pt x="13" y="599"/>
                  </a:lnTo>
                  <a:lnTo>
                    <a:pt x="17" y="605"/>
                  </a:lnTo>
                  <a:lnTo>
                    <a:pt x="23" y="610"/>
                  </a:lnTo>
                  <a:lnTo>
                    <a:pt x="28" y="615"/>
                  </a:lnTo>
                  <a:lnTo>
                    <a:pt x="33" y="619"/>
                  </a:lnTo>
                  <a:lnTo>
                    <a:pt x="40" y="623"/>
                  </a:lnTo>
                  <a:lnTo>
                    <a:pt x="46" y="626"/>
                  </a:lnTo>
                  <a:lnTo>
                    <a:pt x="54" y="629"/>
                  </a:lnTo>
                  <a:lnTo>
                    <a:pt x="60" y="631"/>
                  </a:lnTo>
                  <a:lnTo>
                    <a:pt x="68" y="632"/>
                  </a:lnTo>
                  <a:lnTo>
                    <a:pt x="75" y="632"/>
                  </a:lnTo>
                  <a:lnTo>
                    <a:pt x="828" y="632"/>
                  </a:lnTo>
                  <a:lnTo>
                    <a:pt x="836" y="632"/>
                  </a:lnTo>
                  <a:lnTo>
                    <a:pt x="843" y="631"/>
                  </a:lnTo>
                  <a:lnTo>
                    <a:pt x="851" y="629"/>
                  </a:lnTo>
                  <a:lnTo>
                    <a:pt x="857" y="626"/>
                  </a:lnTo>
                  <a:lnTo>
                    <a:pt x="865" y="623"/>
                  </a:lnTo>
                  <a:lnTo>
                    <a:pt x="870" y="619"/>
                  </a:lnTo>
                  <a:lnTo>
                    <a:pt x="876" y="615"/>
                  </a:lnTo>
                  <a:lnTo>
                    <a:pt x="882" y="610"/>
                  </a:lnTo>
                  <a:lnTo>
                    <a:pt x="886" y="605"/>
                  </a:lnTo>
                  <a:lnTo>
                    <a:pt x="890" y="599"/>
                  </a:lnTo>
                  <a:lnTo>
                    <a:pt x="895" y="593"/>
                  </a:lnTo>
                  <a:lnTo>
                    <a:pt x="898" y="587"/>
                  </a:lnTo>
                  <a:lnTo>
                    <a:pt x="900" y="579"/>
                  </a:lnTo>
                  <a:lnTo>
                    <a:pt x="902" y="572"/>
                  </a:lnTo>
                  <a:lnTo>
                    <a:pt x="903" y="564"/>
                  </a:lnTo>
                  <a:lnTo>
                    <a:pt x="903" y="557"/>
                  </a:lnTo>
                  <a:lnTo>
                    <a:pt x="903" y="75"/>
                  </a:lnTo>
                  <a:lnTo>
                    <a:pt x="903" y="68"/>
                  </a:lnTo>
                  <a:lnTo>
                    <a:pt x="902" y="60"/>
                  </a:lnTo>
                  <a:lnTo>
                    <a:pt x="900" y="53"/>
                  </a:lnTo>
                  <a:lnTo>
                    <a:pt x="898" y="46"/>
                  </a:lnTo>
                  <a:lnTo>
                    <a:pt x="895" y="40"/>
                  </a:lnTo>
                  <a:lnTo>
                    <a:pt x="890" y="33"/>
                  </a:lnTo>
                  <a:lnTo>
                    <a:pt x="886" y="27"/>
                  </a:lnTo>
                  <a:lnTo>
                    <a:pt x="882" y="21"/>
                  </a:lnTo>
                  <a:lnTo>
                    <a:pt x="876" y="17"/>
                  </a:lnTo>
                  <a:lnTo>
                    <a:pt x="870" y="13"/>
                  </a:lnTo>
                  <a:lnTo>
                    <a:pt x="865" y="9"/>
                  </a:lnTo>
                  <a:lnTo>
                    <a:pt x="857" y="5"/>
                  </a:lnTo>
                  <a:lnTo>
                    <a:pt x="851" y="3"/>
                  </a:lnTo>
                  <a:lnTo>
                    <a:pt x="843" y="1"/>
                  </a:lnTo>
                  <a:lnTo>
                    <a:pt x="836" y="0"/>
                  </a:lnTo>
                  <a:lnTo>
                    <a:pt x="8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434">
              <a:extLst>
                <a:ext uri="{FF2B5EF4-FFF2-40B4-BE49-F238E27FC236}">
                  <a16:creationId xmlns:a16="http://schemas.microsoft.com/office/drawing/2014/main" id="{30899386-DA20-45F7-9F80-B28EF46BC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563" y="20526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435">
              <a:extLst>
                <a:ext uri="{FF2B5EF4-FFF2-40B4-BE49-F238E27FC236}">
                  <a16:creationId xmlns:a16="http://schemas.microsoft.com/office/drawing/2014/main" id="{834CEF6D-25BC-4467-90F0-FCB8E616C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563" y="20716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436">
              <a:extLst>
                <a:ext uri="{FF2B5EF4-FFF2-40B4-BE49-F238E27FC236}">
                  <a16:creationId xmlns:a16="http://schemas.microsoft.com/office/drawing/2014/main" id="{5A07BE7D-17A5-48AF-BBAE-2F8EDCE81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13" y="20812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437">
              <a:extLst>
                <a:ext uri="{FF2B5EF4-FFF2-40B4-BE49-F238E27FC236}">
                  <a16:creationId xmlns:a16="http://schemas.microsoft.com/office/drawing/2014/main" id="{ABCE1F96-72C3-41F5-9324-133CEA8B5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13" y="21002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Rectangle 438">
              <a:extLst>
                <a:ext uri="{FF2B5EF4-FFF2-40B4-BE49-F238E27FC236}">
                  <a16:creationId xmlns:a16="http://schemas.microsoft.com/office/drawing/2014/main" id="{F30470D5-34E0-4759-9B13-ECD38D2073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13" y="20240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439">
              <a:extLst>
                <a:ext uri="{FF2B5EF4-FFF2-40B4-BE49-F238E27FC236}">
                  <a16:creationId xmlns:a16="http://schemas.microsoft.com/office/drawing/2014/main" id="{25219C16-596F-4188-8E6E-1C56615455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13" y="20621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440">
              <a:extLst>
                <a:ext uri="{FF2B5EF4-FFF2-40B4-BE49-F238E27FC236}">
                  <a16:creationId xmlns:a16="http://schemas.microsoft.com/office/drawing/2014/main" id="{DC624ED0-73A8-494E-A006-0DBAE5879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13" y="20431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441">
              <a:extLst>
                <a:ext uri="{FF2B5EF4-FFF2-40B4-BE49-F238E27FC236}">
                  <a16:creationId xmlns:a16="http://schemas.microsoft.com/office/drawing/2014/main" id="{669F6E53-A695-4E1F-AB85-A34FE43DB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300" y="20812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442">
              <a:extLst>
                <a:ext uri="{FF2B5EF4-FFF2-40B4-BE49-F238E27FC236}">
                  <a16:creationId xmlns:a16="http://schemas.microsoft.com/office/drawing/2014/main" id="{C17D0782-16A5-4FE1-8F4B-BD0C1111CC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300" y="20621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443">
              <a:extLst>
                <a:ext uri="{FF2B5EF4-FFF2-40B4-BE49-F238E27FC236}">
                  <a16:creationId xmlns:a16="http://schemas.microsoft.com/office/drawing/2014/main" id="{272E8601-9310-490D-94F6-63CEEB8F7A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300" y="20431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444">
              <a:extLst>
                <a:ext uri="{FF2B5EF4-FFF2-40B4-BE49-F238E27FC236}">
                  <a16:creationId xmlns:a16="http://schemas.microsoft.com/office/drawing/2014/main" id="{FE61DE21-6C27-46D8-842D-BDD3C8EF71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563" y="2090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445">
              <a:extLst>
                <a:ext uri="{FF2B5EF4-FFF2-40B4-BE49-F238E27FC236}">
                  <a16:creationId xmlns:a16="http://schemas.microsoft.com/office/drawing/2014/main" id="{6CCE631C-12A5-4752-8E65-BA8787F570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563" y="20335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Rectangle 446">
              <a:extLst>
                <a:ext uri="{FF2B5EF4-FFF2-40B4-BE49-F238E27FC236}">
                  <a16:creationId xmlns:a16="http://schemas.microsoft.com/office/drawing/2014/main" id="{3CB2E858-A7D8-4E87-AE5E-5399DC5D8B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3" y="2052638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Rectangle 447">
              <a:extLst>
                <a:ext uri="{FF2B5EF4-FFF2-40B4-BE49-F238E27FC236}">
                  <a16:creationId xmlns:a16="http://schemas.microsoft.com/office/drawing/2014/main" id="{B78B1C91-9EA0-420D-AB04-82322F7DF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3" y="2071688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Rectangle 448">
              <a:extLst>
                <a:ext uri="{FF2B5EF4-FFF2-40B4-BE49-F238E27FC236}">
                  <a16:creationId xmlns:a16="http://schemas.microsoft.com/office/drawing/2014/main" id="{9BBF9638-FA96-4436-AE58-8EBA61CBA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3" y="2090738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449">
              <a:extLst>
                <a:ext uri="{FF2B5EF4-FFF2-40B4-BE49-F238E27FC236}">
                  <a16:creationId xmlns:a16="http://schemas.microsoft.com/office/drawing/2014/main" id="{919C5518-E69B-42C0-AFDE-170FE83E28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3" y="2033588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oup 225">
            <a:extLst>
              <a:ext uri="{FF2B5EF4-FFF2-40B4-BE49-F238E27FC236}">
                <a16:creationId xmlns:a16="http://schemas.microsoft.com/office/drawing/2014/main" id="{E7C433E1-2468-4CB5-BB9B-DC81C26CDDD2}"/>
              </a:ext>
            </a:extLst>
          </p:cNvPr>
          <p:cNvGrpSpPr>
            <a:grpSpLocks/>
          </p:cNvGrpSpPr>
          <p:nvPr/>
        </p:nvGrpSpPr>
        <p:grpSpPr bwMode="auto">
          <a:xfrm>
            <a:off x="611417" y="4640855"/>
            <a:ext cx="2805786" cy="1464670"/>
            <a:chOff x="61887" y="752420"/>
            <a:chExt cx="8725336" cy="5044568"/>
          </a:xfrm>
          <a:solidFill>
            <a:srgbClr val="7F7F7F"/>
          </a:solidFill>
        </p:grpSpPr>
        <p:sp>
          <p:nvSpPr>
            <p:cNvPr id="121" name="Freeform 5962">
              <a:extLst>
                <a:ext uri="{FF2B5EF4-FFF2-40B4-BE49-F238E27FC236}">
                  <a16:creationId xmlns:a16="http://schemas.microsoft.com/office/drawing/2014/main" id="{33931C5B-EF27-4D07-A2CC-B6D8CF9FC7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9735" y="3535028"/>
              <a:ext cx="1189097" cy="2261960"/>
            </a:xfrm>
            <a:custGeom>
              <a:avLst/>
              <a:gdLst>
                <a:gd name="T0" fmla="*/ 168775 w 1874"/>
                <a:gd name="T1" fmla="*/ 2086902 h 3562"/>
                <a:gd name="T2" fmla="*/ 147202 w 1874"/>
                <a:gd name="T3" fmla="*/ 1968776 h 3562"/>
                <a:gd name="T4" fmla="*/ 184003 w 1874"/>
                <a:gd name="T5" fmla="*/ 1976397 h 3562"/>
                <a:gd name="T6" fmla="*/ 161161 w 1874"/>
                <a:gd name="T7" fmla="*/ 1982748 h 3562"/>
                <a:gd name="T8" fmla="*/ 154816 w 1874"/>
                <a:gd name="T9" fmla="*/ 2042446 h 3562"/>
                <a:gd name="T10" fmla="*/ 156085 w 1874"/>
                <a:gd name="T11" fmla="*/ 1997990 h 3562"/>
                <a:gd name="T12" fmla="*/ 147202 w 1874"/>
                <a:gd name="T13" fmla="*/ 2006881 h 3562"/>
                <a:gd name="T14" fmla="*/ 184003 w 1874"/>
                <a:gd name="T15" fmla="*/ 2086902 h 3562"/>
                <a:gd name="T16" fmla="*/ 153547 w 1874"/>
                <a:gd name="T17" fmla="*/ 1999260 h 3562"/>
                <a:gd name="T18" fmla="*/ 185272 w 1874"/>
                <a:gd name="T19" fmla="*/ 1850649 h 3562"/>
                <a:gd name="T20" fmla="*/ 192886 w 1874"/>
                <a:gd name="T21" fmla="*/ 1841758 h 3562"/>
                <a:gd name="T22" fmla="*/ 166237 w 1874"/>
                <a:gd name="T23" fmla="*/ 1884944 h 3562"/>
                <a:gd name="T24" fmla="*/ 348971 w 1874"/>
                <a:gd name="T25" fmla="*/ 2235513 h 3562"/>
                <a:gd name="T26" fmla="*/ 304556 w 1874"/>
                <a:gd name="T27" fmla="*/ 2245675 h 3562"/>
                <a:gd name="T28" fmla="*/ 284252 w 1874"/>
                <a:gd name="T29" fmla="*/ 2227892 h 3562"/>
                <a:gd name="T30" fmla="*/ 323591 w 1874"/>
                <a:gd name="T31" fmla="*/ 2224082 h 3562"/>
                <a:gd name="T32" fmla="*/ 277907 w 1874"/>
                <a:gd name="T33" fmla="*/ 2230433 h 3562"/>
                <a:gd name="T34" fmla="*/ 170044 w 1874"/>
                <a:gd name="T35" fmla="*/ 2140250 h 3562"/>
                <a:gd name="T36" fmla="*/ 180196 w 1874"/>
                <a:gd name="T37" fmla="*/ 2163113 h 3562"/>
                <a:gd name="T38" fmla="*/ 157354 w 1874"/>
                <a:gd name="T39" fmla="*/ 2090713 h 3562"/>
                <a:gd name="T40" fmla="*/ 247452 w 1874"/>
                <a:gd name="T41" fmla="*/ 2198678 h 3562"/>
                <a:gd name="T42" fmla="*/ 214458 w 1874"/>
                <a:gd name="T43" fmla="*/ 2170734 h 3562"/>
                <a:gd name="T44" fmla="*/ 224610 w 1874"/>
                <a:gd name="T45" fmla="*/ 2189787 h 3562"/>
                <a:gd name="T46" fmla="*/ 300749 w 1874"/>
                <a:gd name="T47" fmla="*/ 2198678 h 3562"/>
                <a:gd name="T48" fmla="*/ 237300 w 1874"/>
                <a:gd name="T49" fmla="*/ 2207569 h 3562"/>
                <a:gd name="T50" fmla="*/ 319784 w 1874"/>
                <a:gd name="T51" fmla="*/ 2224082 h 3562"/>
                <a:gd name="T52" fmla="*/ 184003 w 1874"/>
                <a:gd name="T53" fmla="*/ 1738874 h 3562"/>
                <a:gd name="T54" fmla="*/ 166237 w 1874"/>
                <a:gd name="T55" fmla="*/ 1802383 h 3562"/>
                <a:gd name="T56" fmla="*/ 187810 w 1874"/>
                <a:gd name="T57" fmla="*/ 1807463 h 3562"/>
                <a:gd name="T58" fmla="*/ 176389 w 1874"/>
                <a:gd name="T59" fmla="*/ 1878593 h 3562"/>
                <a:gd name="T60" fmla="*/ 939048 w 1874"/>
                <a:gd name="T61" fmla="*/ 443292 h 3562"/>
                <a:gd name="T62" fmla="*/ 767735 w 1874"/>
                <a:gd name="T63" fmla="*/ 403917 h 3562"/>
                <a:gd name="T64" fmla="*/ 761390 w 1874"/>
                <a:gd name="T65" fmla="*/ 248955 h 3562"/>
                <a:gd name="T66" fmla="*/ 611650 w 1874"/>
                <a:gd name="T67" fmla="*/ 190527 h 3562"/>
                <a:gd name="T68" fmla="*/ 474600 w 1874"/>
                <a:gd name="T69" fmla="*/ 59698 h 3562"/>
                <a:gd name="T70" fmla="*/ 281714 w 1874"/>
                <a:gd name="T71" fmla="*/ 21593 h 3562"/>
                <a:gd name="T72" fmla="*/ 157354 w 1874"/>
                <a:gd name="T73" fmla="*/ 45726 h 3562"/>
                <a:gd name="T74" fmla="*/ 91367 w 1874"/>
                <a:gd name="T75" fmla="*/ 299762 h 3562"/>
                <a:gd name="T76" fmla="*/ 35532 w 1874"/>
                <a:gd name="T77" fmla="*/ 461075 h 3562"/>
                <a:gd name="T78" fmla="*/ 109133 w 1874"/>
                <a:gd name="T79" fmla="*/ 768458 h 3562"/>
                <a:gd name="T80" fmla="*/ 275370 w 1874"/>
                <a:gd name="T81" fmla="*/ 1108865 h 3562"/>
                <a:gd name="T82" fmla="*/ 252528 w 1874"/>
                <a:gd name="T83" fmla="*/ 1420059 h 3562"/>
                <a:gd name="T84" fmla="*/ 196693 w 1874"/>
                <a:gd name="T85" fmla="*/ 1667744 h 3562"/>
                <a:gd name="T86" fmla="*/ 209382 w 1874"/>
                <a:gd name="T87" fmla="*/ 1797302 h 3562"/>
                <a:gd name="T88" fmla="*/ 171313 w 1874"/>
                <a:gd name="T89" fmla="*/ 1882404 h 3562"/>
                <a:gd name="T90" fmla="*/ 170044 w 1874"/>
                <a:gd name="T91" fmla="*/ 1947183 h 3562"/>
                <a:gd name="T92" fmla="*/ 176389 w 1874"/>
                <a:gd name="T93" fmla="*/ 2011962 h 3562"/>
                <a:gd name="T94" fmla="*/ 185272 w 1874"/>
                <a:gd name="T95" fmla="*/ 2053878 h 3562"/>
                <a:gd name="T96" fmla="*/ 196693 w 1874"/>
                <a:gd name="T97" fmla="*/ 2100874 h 3562"/>
                <a:gd name="T98" fmla="*/ 194155 w 1874"/>
                <a:gd name="T99" fmla="*/ 2113576 h 3562"/>
                <a:gd name="T100" fmla="*/ 233493 w 1874"/>
                <a:gd name="T101" fmla="*/ 2131359 h 3562"/>
                <a:gd name="T102" fmla="*/ 255066 w 1874"/>
                <a:gd name="T103" fmla="*/ 2141520 h 3562"/>
                <a:gd name="T104" fmla="*/ 314708 w 1874"/>
                <a:gd name="T105" fmla="*/ 2122467 h 3562"/>
                <a:gd name="T106" fmla="*/ 348971 w 1874"/>
                <a:gd name="T107" fmla="*/ 1890025 h 3562"/>
                <a:gd name="T108" fmla="*/ 453027 w 1874"/>
                <a:gd name="T109" fmla="*/ 1764277 h 3562"/>
                <a:gd name="T110" fmla="*/ 491097 w 1874"/>
                <a:gd name="T111" fmla="*/ 1635989 h 3562"/>
                <a:gd name="T112" fmla="*/ 629416 w 1874"/>
                <a:gd name="T113" fmla="*/ 1491189 h 3562"/>
                <a:gd name="T114" fmla="*/ 865447 w 1874"/>
                <a:gd name="T115" fmla="*/ 1158402 h 3562"/>
                <a:gd name="T116" fmla="*/ 1079905 w 1874"/>
                <a:gd name="T117" fmla="*/ 900556 h 3562"/>
                <a:gd name="T118" fmla="*/ 426379 w 1874"/>
                <a:gd name="T119" fmla="*/ 2222811 h 3562"/>
                <a:gd name="T120" fmla="*/ 184003 w 1874"/>
                <a:gd name="T121" fmla="*/ 1928130 h 3562"/>
                <a:gd name="T122" fmla="*/ 159892 w 1874"/>
                <a:gd name="T123" fmla="*/ 1994179 h 3562"/>
                <a:gd name="T124" fmla="*/ 175120 w 1874"/>
                <a:gd name="T125" fmla="*/ 2027204 h 356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4"/>
                <a:gd name="T190" fmla="*/ 0 h 3562"/>
                <a:gd name="T191" fmla="*/ 1874 w 1874"/>
                <a:gd name="T192" fmla="*/ 3562 h 356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4" h="3562">
                  <a:moveTo>
                    <a:pt x="282" y="3320"/>
                  </a:moveTo>
                  <a:lnTo>
                    <a:pt x="282" y="3320"/>
                  </a:lnTo>
                  <a:lnTo>
                    <a:pt x="286" y="3322"/>
                  </a:lnTo>
                  <a:lnTo>
                    <a:pt x="286" y="3320"/>
                  </a:lnTo>
                  <a:lnTo>
                    <a:pt x="284" y="3316"/>
                  </a:lnTo>
                  <a:lnTo>
                    <a:pt x="282" y="3312"/>
                  </a:lnTo>
                  <a:lnTo>
                    <a:pt x="278" y="3308"/>
                  </a:lnTo>
                  <a:lnTo>
                    <a:pt x="274" y="3308"/>
                  </a:lnTo>
                  <a:lnTo>
                    <a:pt x="274" y="3310"/>
                  </a:lnTo>
                  <a:lnTo>
                    <a:pt x="276" y="3314"/>
                  </a:lnTo>
                  <a:lnTo>
                    <a:pt x="276" y="3316"/>
                  </a:lnTo>
                  <a:lnTo>
                    <a:pt x="282" y="3320"/>
                  </a:lnTo>
                  <a:close/>
                  <a:moveTo>
                    <a:pt x="286" y="3348"/>
                  </a:moveTo>
                  <a:lnTo>
                    <a:pt x="286" y="3348"/>
                  </a:lnTo>
                  <a:lnTo>
                    <a:pt x="288" y="3348"/>
                  </a:lnTo>
                  <a:lnTo>
                    <a:pt x="290" y="3348"/>
                  </a:lnTo>
                  <a:lnTo>
                    <a:pt x="296" y="3344"/>
                  </a:lnTo>
                  <a:lnTo>
                    <a:pt x="294" y="3340"/>
                  </a:lnTo>
                  <a:lnTo>
                    <a:pt x="286" y="3334"/>
                  </a:lnTo>
                  <a:lnTo>
                    <a:pt x="282" y="3330"/>
                  </a:lnTo>
                  <a:lnTo>
                    <a:pt x="278" y="3330"/>
                  </a:lnTo>
                  <a:lnTo>
                    <a:pt x="276" y="3332"/>
                  </a:lnTo>
                  <a:lnTo>
                    <a:pt x="278" y="3334"/>
                  </a:lnTo>
                  <a:lnTo>
                    <a:pt x="278" y="3336"/>
                  </a:lnTo>
                  <a:lnTo>
                    <a:pt x="280" y="3336"/>
                  </a:lnTo>
                  <a:lnTo>
                    <a:pt x="282" y="3336"/>
                  </a:lnTo>
                  <a:lnTo>
                    <a:pt x="284" y="3336"/>
                  </a:lnTo>
                  <a:lnTo>
                    <a:pt x="284" y="3338"/>
                  </a:lnTo>
                  <a:lnTo>
                    <a:pt x="284" y="3340"/>
                  </a:lnTo>
                  <a:lnTo>
                    <a:pt x="284" y="3342"/>
                  </a:lnTo>
                  <a:lnTo>
                    <a:pt x="286" y="3348"/>
                  </a:lnTo>
                  <a:close/>
                  <a:moveTo>
                    <a:pt x="270" y="3286"/>
                  </a:moveTo>
                  <a:lnTo>
                    <a:pt x="270" y="3286"/>
                  </a:lnTo>
                  <a:lnTo>
                    <a:pt x="270" y="3280"/>
                  </a:lnTo>
                  <a:lnTo>
                    <a:pt x="268" y="3278"/>
                  </a:lnTo>
                  <a:lnTo>
                    <a:pt x="266" y="3278"/>
                  </a:lnTo>
                  <a:lnTo>
                    <a:pt x="262" y="3278"/>
                  </a:lnTo>
                  <a:lnTo>
                    <a:pt x="260" y="3280"/>
                  </a:lnTo>
                  <a:lnTo>
                    <a:pt x="256" y="3286"/>
                  </a:lnTo>
                  <a:lnTo>
                    <a:pt x="252" y="3292"/>
                  </a:lnTo>
                  <a:lnTo>
                    <a:pt x="254" y="3292"/>
                  </a:lnTo>
                  <a:lnTo>
                    <a:pt x="258" y="3292"/>
                  </a:lnTo>
                  <a:lnTo>
                    <a:pt x="262" y="3290"/>
                  </a:lnTo>
                  <a:lnTo>
                    <a:pt x="262" y="3288"/>
                  </a:lnTo>
                  <a:lnTo>
                    <a:pt x="264" y="3286"/>
                  </a:lnTo>
                  <a:lnTo>
                    <a:pt x="266" y="3286"/>
                  </a:lnTo>
                  <a:lnTo>
                    <a:pt x="266" y="3288"/>
                  </a:lnTo>
                  <a:lnTo>
                    <a:pt x="268" y="3290"/>
                  </a:lnTo>
                  <a:lnTo>
                    <a:pt x="270" y="3288"/>
                  </a:lnTo>
                  <a:lnTo>
                    <a:pt x="270" y="3286"/>
                  </a:lnTo>
                  <a:close/>
                  <a:moveTo>
                    <a:pt x="262" y="3260"/>
                  </a:moveTo>
                  <a:lnTo>
                    <a:pt x="262" y="3260"/>
                  </a:lnTo>
                  <a:lnTo>
                    <a:pt x="256" y="3260"/>
                  </a:lnTo>
                  <a:lnTo>
                    <a:pt x="254" y="3260"/>
                  </a:lnTo>
                  <a:lnTo>
                    <a:pt x="254" y="3262"/>
                  </a:lnTo>
                  <a:lnTo>
                    <a:pt x="256" y="3264"/>
                  </a:lnTo>
                  <a:lnTo>
                    <a:pt x="258" y="3266"/>
                  </a:lnTo>
                  <a:lnTo>
                    <a:pt x="260" y="3270"/>
                  </a:lnTo>
                  <a:lnTo>
                    <a:pt x="264" y="3272"/>
                  </a:lnTo>
                  <a:lnTo>
                    <a:pt x="266" y="3270"/>
                  </a:lnTo>
                  <a:lnTo>
                    <a:pt x="268" y="3268"/>
                  </a:lnTo>
                  <a:lnTo>
                    <a:pt x="270" y="3266"/>
                  </a:lnTo>
                  <a:lnTo>
                    <a:pt x="274" y="3266"/>
                  </a:lnTo>
                  <a:lnTo>
                    <a:pt x="276" y="3266"/>
                  </a:lnTo>
                  <a:lnTo>
                    <a:pt x="276" y="3258"/>
                  </a:lnTo>
                  <a:lnTo>
                    <a:pt x="274" y="3254"/>
                  </a:lnTo>
                  <a:lnTo>
                    <a:pt x="270" y="3250"/>
                  </a:lnTo>
                  <a:lnTo>
                    <a:pt x="268" y="3250"/>
                  </a:lnTo>
                  <a:lnTo>
                    <a:pt x="266" y="3252"/>
                  </a:lnTo>
                  <a:lnTo>
                    <a:pt x="268" y="3258"/>
                  </a:lnTo>
                  <a:lnTo>
                    <a:pt x="266" y="3260"/>
                  </a:lnTo>
                  <a:lnTo>
                    <a:pt x="262" y="3260"/>
                  </a:lnTo>
                  <a:close/>
                  <a:moveTo>
                    <a:pt x="236" y="3110"/>
                  </a:moveTo>
                  <a:lnTo>
                    <a:pt x="236" y="3110"/>
                  </a:lnTo>
                  <a:lnTo>
                    <a:pt x="238" y="3110"/>
                  </a:lnTo>
                  <a:lnTo>
                    <a:pt x="240" y="3112"/>
                  </a:lnTo>
                  <a:lnTo>
                    <a:pt x="240" y="3118"/>
                  </a:lnTo>
                  <a:lnTo>
                    <a:pt x="240" y="3126"/>
                  </a:lnTo>
                  <a:lnTo>
                    <a:pt x="242" y="3128"/>
                  </a:lnTo>
                  <a:lnTo>
                    <a:pt x="244" y="3128"/>
                  </a:lnTo>
                  <a:lnTo>
                    <a:pt x="248" y="3124"/>
                  </a:lnTo>
                  <a:lnTo>
                    <a:pt x="250" y="3120"/>
                  </a:lnTo>
                  <a:lnTo>
                    <a:pt x="244" y="3108"/>
                  </a:lnTo>
                  <a:lnTo>
                    <a:pt x="240" y="3102"/>
                  </a:lnTo>
                  <a:lnTo>
                    <a:pt x="240" y="3096"/>
                  </a:lnTo>
                  <a:lnTo>
                    <a:pt x="238" y="3090"/>
                  </a:lnTo>
                  <a:lnTo>
                    <a:pt x="236" y="3088"/>
                  </a:lnTo>
                  <a:lnTo>
                    <a:pt x="232" y="3090"/>
                  </a:lnTo>
                  <a:lnTo>
                    <a:pt x="230" y="3094"/>
                  </a:lnTo>
                  <a:lnTo>
                    <a:pt x="230" y="3098"/>
                  </a:lnTo>
                  <a:lnTo>
                    <a:pt x="232" y="3100"/>
                  </a:lnTo>
                  <a:lnTo>
                    <a:pt x="232" y="3104"/>
                  </a:lnTo>
                  <a:lnTo>
                    <a:pt x="230" y="3108"/>
                  </a:lnTo>
                  <a:lnTo>
                    <a:pt x="230" y="3110"/>
                  </a:lnTo>
                  <a:lnTo>
                    <a:pt x="232" y="3110"/>
                  </a:lnTo>
                  <a:lnTo>
                    <a:pt x="236" y="3110"/>
                  </a:lnTo>
                  <a:close/>
                  <a:moveTo>
                    <a:pt x="284" y="3278"/>
                  </a:moveTo>
                  <a:lnTo>
                    <a:pt x="284" y="3278"/>
                  </a:lnTo>
                  <a:lnTo>
                    <a:pt x="284" y="3276"/>
                  </a:lnTo>
                  <a:lnTo>
                    <a:pt x="284" y="3270"/>
                  </a:lnTo>
                  <a:lnTo>
                    <a:pt x="282" y="3264"/>
                  </a:lnTo>
                  <a:lnTo>
                    <a:pt x="280" y="3260"/>
                  </a:lnTo>
                  <a:lnTo>
                    <a:pt x="278" y="3264"/>
                  </a:lnTo>
                  <a:lnTo>
                    <a:pt x="278" y="3270"/>
                  </a:lnTo>
                  <a:lnTo>
                    <a:pt x="280" y="3276"/>
                  </a:lnTo>
                  <a:lnTo>
                    <a:pt x="282" y="3278"/>
                  </a:lnTo>
                  <a:lnTo>
                    <a:pt x="284" y="3278"/>
                  </a:lnTo>
                  <a:close/>
                  <a:moveTo>
                    <a:pt x="304" y="3362"/>
                  </a:moveTo>
                  <a:lnTo>
                    <a:pt x="304" y="3362"/>
                  </a:lnTo>
                  <a:lnTo>
                    <a:pt x="304" y="3358"/>
                  </a:lnTo>
                  <a:lnTo>
                    <a:pt x="304" y="3356"/>
                  </a:lnTo>
                  <a:lnTo>
                    <a:pt x="306" y="3354"/>
                  </a:lnTo>
                  <a:lnTo>
                    <a:pt x="304" y="3352"/>
                  </a:lnTo>
                  <a:lnTo>
                    <a:pt x="302" y="3350"/>
                  </a:lnTo>
                  <a:lnTo>
                    <a:pt x="300" y="3350"/>
                  </a:lnTo>
                  <a:lnTo>
                    <a:pt x="294" y="3356"/>
                  </a:lnTo>
                  <a:lnTo>
                    <a:pt x="292" y="3360"/>
                  </a:lnTo>
                  <a:lnTo>
                    <a:pt x="292" y="3362"/>
                  </a:lnTo>
                  <a:lnTo>
                    <a:pt x="296" y="3368"/>
                  </a:lnTo>
                  <a:lnTo>
                    <a:pt x="298" y="3368"/>
                  </a:lnTo>
                  <a:lnTo>
                    <a:pt x="300" y="3368"/>
                  </a:lnTo>
                  <a:lnTo>
                    <a:pt x="302" y="3366"/>
                  </a:lnTo>
                  <a:lnTo>
                    <a:pt x="304" y="3362"/>
                  </a:lnTo>
                  <a:close/>
                  <a:moveTo>
                    <a:pt x="262" y="3320"/>
                  </a:moveTo>
                  <a:lnTo>
                    <a:pt x="262" y="3320"/>
                  </a:lnTo>
                  <a:lnTo>
                    <a:pt x="260" y="3330"/>
                  </a:lnTo>
                  <a:lnTo>
                    <a:pt x="258" y="3332"/>
                  </a:lnTo>
                  <a:lnTo>
                    <a:pt x="260" y="3330"/>
                  </a:lnTo>
                  <a:lnTo>
                    <a:pt x="264" y="3328"/>
                  </a:lnTo>
                  <a:lnTo>
                    <a:pt x="268" y="3320"/>
                  </a:lnTo>
                  <a:lnTo>
                    <a:pt x="268" y="3316"/>
                  </a:lnTo>
                  <a:lnTo>
                    <a:pt x="266" y="3314"/>
                  </a:lnTo>
                  <a:lnTo>
                    <a:pt x="264" y="3314"/>
                  </a:lnTo>
                  <a:lnTo>
                    <a:pt x="262" y="3320"/>
                  </a:lnTo>
                  <a:close/>
                  <a:moveTo>
                    <a:pt x="276" y="3112"/>
                  </a:moveTo>
                  <a:lnTo>
                    <a:pt x="276" y="3112"/>
                  </a:lnTo>
                  <a:lnTo>
                    <a:pt x="286" y="3114"/>
                  </a:lnTo>
                  <a:lnTo>
                    <a:pt x="288" y="3114"/>
                  </a:lnTo>
                  <a:lnTo>
                    <a:pt x="290" y="3112"/>
                  </a:lnTo>
                  <a:lnTo>
                    <a:pt x="284" y="3110"/>
                  </a:lnTo>
                  <a:lnTo>
                    <a:pt x="276" y="3102"/>
                  </a:lnTo>
                  <a:lnTo>
                    <a:pt x="270" y="3096"/>
                  </a:lnTo>
                  <a:lnTo>
                    <a:pt x="270" y="3098"/>
                  </a:lnTo>
                  <a:lnTo>
                    <a:pt x="270" y="3102"/>
                  </a:lnTo>
                  <a:lnTo>
                    <a:pt x="272" y="3108"/>
                  </a:lnTo>
                  <a:lnTo>
                    <a:pt x="276" y="3112"/>
                  </a:lnTo>
                  <a:close/>
                  <a:moveTo>
                    <a:pt x="274" y="3270"/>
                  </a:moveTo>
                  <a:lnTo>
                    <a:pt x="274" y="3270"/>
                  </a:lnTo>
                  <a:lnTo>
                    <a:pt x="272" y="3270"/>
                  </a:lnTo>
                  <a:lnTo>
                    <a:pt x="270" y="3272"/>
                  </a:lnTo>
                  <a:lnTo>
                    <a:pt x="270" y="3274"/>
                  </a:lnTo>
                  <a:lnTo>
                    <a:pt x="272" y="3276"/>
                  </a:lnTo>
                  <a:lnTo>
                    <a:pt x="274" y="3278"/>
                  </a:lnTo>
                  <a:lnTo>
                    <a:pt x="276" y="3276"/>
                  </a:lnTo>
                  <a:lnTo>
                    <a:pt x="276" y="3272"/>
                  </a:lnTo>
                  <a:lnTo>
                    <a:pt x="274" y="3270"/>
                  </a:lnTo>
                  <a:close/>
                  <a:moveTo>
                    <a:pt x="246" y="3090"/>
                  </a:moveTo>
                  <a:lnTo>
                    <a:pt x="246" y="3090"/>
                  </a:lnTo>
                  <a:lnTo>
                    <a:pt x="250" y="3090"/>
                  </a:lnTo>
                  <a:lnTo>
                    <a:pt x="252" y="3090"/>
                  </a:lnTo>
                  <a:lnTo>
                    <a:pt x="254" y="3092"/>
                  </a:lnTo>
                  <a:lnTo>
                    <a:pt x="258" y="3092"/>
                  </a:lnTo>
                  <a:lnTo>
                    <a:pt x="260" y="3090"/>
                  </a:lnTo>
                  <a:lnTo>
                    <a:pt x="260" y="3084"/>
                  </a:lnTo>
                  <a:lnTo>
                    <a:pt x="260" y="3080"/>
                  </a:lnTo>
                  <a:lnTo>
                    <a:pt x="260" y="3076"/>
                  </a:lnTo>
                  <a:lnTo>
                    <a:pt x="258" y="3078"/>
                  </a:lnTo>
                  <a:lnTo>
                    <a:pt x="256" y="3080"/>
                  </a:lnTo>
                  <a:lnTo>
                    <a:pt x="252" y="3084"/>
                  </a:lnTo>
                  <a:lnTo>
                    <a:pt x="248" y="3086"/>
                  </a:lnTo>
                  <a:lnTo>
                    <a:pt x="244" y="3086"/>
                  </a:lnTo>
                  <a:lnTo>
                    <a:pt x="242" y="3088"/>
                  </a:lnTo>
                  <a:lnTo>
                    <a:pt x="242" y="3090"/>
                  </a:lnTo>
                  <a:lnTo>
                    <a:pt x="246" y="3090"/>
                  </a:lnTo>
                  <a:close/>
                  <a:moveTo>
                    <a:pt x="248" y="3074"/>
                  </a:moveTo>
                  <a:lnTo>
                    <a:pt x="248" y="3074"/>
                  </a:lnTo>
                  <a:lnTo>
                    <a:pt x="246" y="3072"/>
                  </a:lnTo>
                  <a:lnTo>
                    <a:pt x="244" y="3072"/>
                  </a:lnTo>
                  <a:lnTo>
                    <a:pt x="242" y="3074"/>
                  </a:lnTo>
                  <a:lnTo>
                    <a:pt x="244" y="3078"/>
                  </a:lnTo>
                  <a:lnTo>
                    <a:pt x="246" y="3080"/>
                  </a:lnTo>
                  <a:lnTo>
                    <a:pt x="248" y="3078"/>
                  </a:lnTo>
                  <a:lnTo>
                    <a:pt x="250" y="3076"/>
                  </a:lnTo>
                  <a:lnTo>
                    <a:pt x="248" y="3074"/>
                  </a:lnTo>
                  <a:close/>
                  <a:moveTo>
                    <a:pt x="252" y="3118"/>
                  </a:moveTo>
                  <a:lnTo>
                    <a:pt x="252" y="3118"/>
                  </a:lnTo>
                  <a:lnTo>
                    <a:pt x="252" y="3120"/>
                  </a:lnTo>
                  <a:lnTo>
                    <a:pt x="254" y="3122"/>
                  </a:lnTo>
                  <a:lnTo>
                    <a:pt x="266" y="3128"/>
                  </a:lnTo>
                  <a:lnTo>
                    <a:pt x="272" y="3128"/>
                  </a:lnTo>
                  <a:lnTo>
                    <a:pt x="274" y="3124"/>
                  </a:lnTo>
                  <a:lnTo>
                    <a:pt x="272" y="3124"/>
                  </a:lnTo>
                  <a:lnTo>
                    <a:pt x="270" y="3122"/>
                  </a:lnTo>
                  <a:lnTo>
                    <a:pt x="268" y="3118"/>
                  </a:lnTo>
                  <a:lnTo>
                    <a:pt x="270" y="3116"/>
                  </a:lnTo>
                  <a:lnTo>
                    <a:pt x="270" y="3114"/>
                  </a:lnTo>
                  <a:lnTo>
                    <a:pt x="270" y="3108"/>
                  </a:lnTo>
                  <a:lnTo>
                    <a:pt x="266" y="3100"/>
                  </a:lnTo>
                  <a:lnTo>
                    <a:pt x="264" y="3098"/>
                  </a:lnTo>
                  <a:lnTo>
                    <a:pt x="262" y="3102"/>
                  </a:lnTo>
                  <a:lnTo>
                    <a:pt x="262" y="3106"/>
                  </a:lnTo>
                  <a:lnTo>
                    <a:pt x="262" y="3108"/>
                  </a:lnTo>
                  <a:lnTo>
                    <a:pt x="262" y="3114"/>
                  </a:lnTo>
                  <a:lnTo>
                    <a:pt x="262" y="3116"/>
                  </a:lnTo>
                  <a:lnTo>
                    <a:pt x="260" y="3114"/>
                  </a:lnTo>
                  <a:lnTo>
                    <a:pt x="258" y="3114"/>
                  </a:lnTo>
                  <a:lnTo>
                    <a:pt x="252" y="3118"/>
                  </a:lnTo>
                  <a:close/>
                  <a:moveTo>
                    <a:pt x="246" y="3228"/>
                  </a:moveTo>
                  <a:lnTo>
                    <a:pt x="246" y="3228"/>
                  </a:lnTo>
                  <a:lnTo>
                    <a:pt x="248" y="3228"/>
                  </a:lnTo>
                  <a:lnTo>
                    <a:pt x="250" y="3228"/>
                  </a:lnTo>
                  <a:lnTo>
                    <a:pt x="252" y="3228"/>
                  </a:lnTo>
                  <a:lnTo>
                    <a:pt x="254" y="3228"/>
                  </a:lnTo>
                  <a:lnTo>
                    <a:pt x="256" y="3224"/>
                  </a:lnTo>
                  <a:lnTo>
                    <a:pt x="256" y="3222"/>
                  </a:lnTo>
                  <a:lnTo>
                    <a:pt x="258" y="3218"/>
                  </a:lnTo>
                  <a:lnTo>
                    <a:pt x="262" y="3216"/>
                  </a:lnTo>
                  <a:lnTo>
                    <a:pt x="262" y="3214"/>
                  </a:lnTo>
                  <a:lnTo>
                    <a:pt x="260" y="3214"/>
                  </a:lnTo>
                  <a:lnTo>
                    <a:pt x="256" y="3216"/>
                  </a:lnTo>
                  <a:lnTo>
                    <a:pt x="254" y="3216"/>
                  </a:lnTo>
                  <a:lnTo>
                    <a:pt x="254" y="3214"/>
                  </a:lnTo>
                  <a:lnTo>
                    <a:pt x="254" y="3212"/>
                  </a:lnTo>
                  <a:lnTo>
                    <a:pt x="252" y="3212"/>
                  </a:lnTo>
                  <a:lnTo>
                    <a:pt x="248" y="3210"/>
                  </a:lnTo>
                  <a:lnTo>
                    <a:pt x="246" y="3210"/>
                  </a:lnTo>
                  <a:lnTo>
                    <a:pt x="242" y="3208"/>
                  </a:lnTo>
                  <a:lnTo>
                    <a:pt x="238" y="3208"/>
                  </a:lnTo>
                  <a:lnTo>
                    <a:pt x="236" y="3208"/>
                  </a:lnTo>
                  <a:lnTo>
                    <a:pt x="236" y="3210"/>
                  </a:lnTo>
                  <a:lnTo>
                    <a:pt x="240" y="3212"/>
                  </a:lnTo>
                  <a:lnTo>
                    <a:pt x="244" y="3216"/>
                  </a:lnTo>
                  <a:lnTo>
                    <a:pt x="244" y="3218"/>
                  </a:lnTo>
                  <a:lnTo>
                    <a:pt x="242" y="3218"/>
                  </a:lnTo>
                  <a:lnTo>
                    <a:pt x="240" y="3218"/>
                  </a:lnTo>
                  <a:lnTo>
                    <a:pt x="236" y="3218"/>
                  </a:lnTo>
                  <a:lnTo>
                    <a:pt x="232" y="3222"/>
                  </a:lnTo>
                  <a:lnTo>
                    <a:pt x="232" y="3224"/>
                  </a:lnTo>
                  <a:lnTo>
                    <a:pt x="234" y="3226"/>
                  </a:lnTo>
                  <a:lnTo>
                    <a:pt x="238" y="3226"/>
                  </a:lnTo>
                  <a:lnTo>
                    <a:pt x="242" y="3226"/>
                  </a:lnTo>
                  <a:lnTo>
                    <a:pt x="240" y="3230"/>
                  </a:lnTo>
                  <a:lnTo>
                    <a:pt x="240" y="3232"/>
                  </a:lnTo>
                  <a:lnTo>
                    <a:pt x="242" y="3232"/>
                  </a:lnTo>
                  <a:lnTo>
                    <a:pt x="246" y="3228"/>
                  </a:lnTo>
                  <a:close/>
                  <a:moveTo>
                    <a:pt x="256" y="3248"/>
                  </a:moveTo>
                  <a:lnTo>
                    <a:pt x="256" y="3248"/>
                  </a:lnTo>
                  <a:lnTo>
                    <a:pt x="254" y="3250"/>
                  </a:lnTo>
                  <a:lnTo>
                    <a:pt x="254" y="3252"/>
                  </a:lnTo>
                  <a:lnTo>
                    <a:pt x="258" y="3256"/>
                  </a:lnTo>
                  <a:lnTo>
                    <a:pt x="262" y="3258"/>
                  </a:lnTo>
                  <a:lnTo>
                    <a:pt x="264" y="3258"/>
                  </a:lnTo>
                  <a:lnTo>
                    <a:pt x="264" y="3256"/>
                  </a:lnTo>
                  <a:lnTo>
                    <a:pt x="262" y="3252"/>
                  </a:lnTo>
                  <a:lnTo>
                    <a:pt x="260" y="3248"/>
                  </a:lnTo>
                  <a:lnTo>
                    <a:pt x="258" y="3248"/>
                  </a:lnTo>
                  <a:lnTo>
                    <a:pt x="256" y="3248"/>
                  </a:lnTo>
                  <a:close/>
                  <a:moveTo>
                    <a:pt x="254" y="3160"/>
                  </a:moveTo>
                  <a:lnTo>
                    <a:pt x="254" y="3160"/>
                  </a:lnTo>
                  <a:lnTo>
                    <a:pt x="256" y="3160"/>
                  </a:lnTo>
                  <a:lnTo>
                    <a:pt x="256" y="3154"/>
                  </a:lnTo>
                  <a:lnTo>
                    <a:pt x="254" y="3150"/>
                  </a:lnTo>
                  <a:lnTo>
                    <a:pt x="250" y="3150"/>
                  </a:lnTo>
                  <a:lnTo>
                    <a:pt x="246" y="3152"/>
                  </a:lnTo>
                  <a:lnTo>
                    <a:pt x="242" y="3154"/>
                  </a:lnTo>
                  <a:lnTo>
                    <a:pt x="242" y="3156"/>
                  </a:lnTo>
                  <a:lnTo>
                    <a:pt x="246" y="3156"/>
                  </a:lnTo>
                  <a:lnTo>
                    <a:pt x="248" y="3158"/>
                  </a:lnTo>
                  <a:lnTo>
                    <a:pt x="254" y="3160"/>
                  </a:lnTo>
                  <a:close/>
                  <a:moveTo>
                    <a:pt x="248" y="3146"/>
                  </a:moveTo>
                  <a:lnTo>
                    <a:pt x="248" y="3146"/>
                  </a:lnTo>
                  <a:lnTo>
                    <a:pt x="250" y="3144"/>
                  </a:lnTo>
                  <a:lnTo>
                    <a:pt x="250" y="3142"/>
                  </a:lnTo>
                  <a:lnTo>
                    <a:pt x="244" y="3136"/>
                  </a:lnTo>
                  <a:lnTo>
                    <a:pt x="242" y="3136"/>
                  </a:lnTo>
                  <a:lnTo>
                    <a:pt x="244" y="3142"/>
                  </a:lnTo>
                  <a:lnTo>
                    <a:pt x="246" y="3146"/>
                  </a:lnTo>
                  <a:lnTo>
                    <a:pt x="248" y="3146"/>
                  </a:lnTo>
                  <a:close/>
                  <a:moveTo>
                    <a:pt x="282" y="3246"/>
                  </a:moveTo>
                  <a:lnTo>
                    <a:pt x="282" y="3246"/>
                  </a:lnTo>
                  <a:lnTo>
                    <a:pt x="280" y="3242"/>
                  </a:lnTo>
                  <a:lnTo>
                    <a:pt x="278" y="3238"/>
                  </a:lnTo>
                  <a:lnTo>
                    <a:pt x="278" y="3236"/>
                  </a:lnTo>
                  <a:lnTo>
                    <a:pt x="276" y="3234"/>
                  </a:lnTo>
                  <a:lnTo>
                    <a:pt x="272" y="3232"/>
                  </a:lnTo>
                  <a:lnTo>
                    <a:pt x="270" y="3232"/>
                  </a:lnTo>
                  <a:lnTo>
                    <a:pt x="270" y="3234"/>
                  </a:lnTo>
                  <a:lnTo>
                    <a:pt x="272" y="3238"/>
                  </a:lnTo>
                  <a:lnTo>
                    <a:pt x="274" y="3240"/>
                  </a:lnTo>
                  <a:lnTo>
                    <a:pt x="272" y="3242"/>
                  </a:lnTo>
                  <a:lnTo>
                    <a:pt x="272" y="3244"/>
                  </a:lnTo>
                  <a:lnTo>
                    <a:pt x="276" y="3252"/>
                  </a:lnTo>
                  <a:lnTo>
                    <a:pt x="280" y="3256"/>
                  </a:lnTo>
                  <a:lnTo>
                    <a:pt x="284" y="3256"/>
                  </a:lnTo>
                  <a:lnTo>
                    <a:pt x="286" y="3254"/>
                  </a:lnTo>
                  <a:lnTo>
                    <a:pt x="286" y="3252"/>
                  </a:lnTo>
                  <a:lnTo>
                    <a:pt x="282" y="3246"/>
                  </a:lnTo>
                  <a:close/>
                  <a:moveTo>
                    <a:pt x="234" y="3130"/>
                  </a:moveTo>
                  <a:lnTo>
                    <a:pt x="234" y="3130"/>
                  </a:lnTo>
                  <a:lnTo>
                    <a:pt x="228" y="3130"/>
                  </a:lnTo>
                  <a:lnTo>
                    <a:pt x="226" y="3132"/>
                  </a:lnTo>
                  <a:lnTo>
                    <a:pt x="226" y="3134"/>
                  </a:lnTo>
                  <a:lnTo>
                    <a:pt x="228" y="3134"/>
                  </a:lnTo>
                  <a:lnTo>
                    <a:pt x="236" y="3132"/>
                  </a:lnTo>
                  <a:lnTo>
                    <a:pt x="240" y="3132"/>
                  </a:lnTo>
                  <a:lnTo>
                    <a:pt x="240" y="3130"/>
                  </a:lnTo>
                  <a:lnTo>
                    <a:pt x="238" y="3128"/>
                  </a:lnTo>
                  <a:lnTo>
                    <a:pt x="234" y="3130"/>
                  </a:lnTo>
                  <a:close/>
                  <a:moveTo>
                    <a:pt x="224" y="3120"/>
                  </a:moveTo>
                  <a:lnTo>
                    <a:pt x="224" y="3120"/>
                  </a:lnTo>
                  <a:lnTo>
                    <a:pt x="226" y="3124"/>
                  </a:lnTo>
                  <a:lnTo>
                    <a:pt x="228" y="3126"/>
                  </a:lnTo>
                  <a:lnTo>
                    <a:pt x="230" y="3128"/>
                  </a:lnTo>
                  <a:lnTo>
                    <a:pt x="236" y="3126"/>
                  </a:lnTo>
                  <a:lnTo>
                    <a:pt x="238" y="3124"/>
                  </a:lnTo>
                  <a:lnTo>
                    <a:pt x="236" y="3120"/>
                  </a:lnTo>
                  <a:lnTo>
                    <a:pt x="236" y="3116"/>
                  </a:lnTo>
                  <a:lnTo>
                    <a:pt x="234" y="3114"/>
                  </a:lnTo>
                  <a:lnTo>
                    <a:pt x="230" y="3116"/>
                  </a:lnTo>
                  <a:lnTo>
                    <a:pt x="228" y="3116"/>
                  </a:lnTo>
                  <a:lnTo>
                    <a:pt x="226" y="3116"/>
                  </a:lnTo>
                  <a:lnTo>
                    <a:pt x="224" y="3120"/>
                  </a:lnTo>
                  <a:close/>
                  <a:moveTo>
                    <a:pt x="232" y="3160"/>
                  </a:moveTo>
                  <a:lnTo>
                    <a:pt x="232" y="3160"/>
                  </a:lnTo>
                  <a:lnTo>
                    <a:pt x="234" y="3158"/>
                  </a:lnTo>
                  <a:lnTo>
                    <a:pt x="236" y="3156"/>
                  </a:lnTo>
                  <a:lnTo>
                    <a:pt x="238" y="3154"/>
                  </a:lnTo>
                  <a:lnTo>
                    <a:pt x="238" y="3152"/>
                  </a:lnTo>
                  <a:lnTo>
                    <a:pt x="236" y="3148"/>
                  </a:lnTo>
                  <a:lnTo>
                    <a:pt x="236" y="3150"/>
                  </a:lnTo>
                  <a:lnTo>
                    <a:pt x="234" y="3152"/>
                  </a:lnTo>
                  <a:lnTo>
                    <a:pt x="230" y="3154"/>
                  </a:lnTo>
                  <a:lnTo>
                    <a:pt x="228" y="3156"/>
                  </a:lnTo>
                  <a:lnTo>
                    <a:pt x="226" y="3158"/>
                  </a:lnTo>
                  <a:lnTo>
                    <a:pt x="226" y="3160"/>
                  </a:lnTo>
                  <a:lnTo>
                    <a:pt x="228" y="3162"/>
                  </a:lnTo>
                  <a:lnTo>
                    <a:pt x="232" y="3164"/>
                  </a:lnTo>
                  <a:lnTo>
                    <a:pt x="232" y="3160"/>
                  </a:lnTo>
                  <a:close/>
                  <a:moveTo>
                    <a:pt x="290" y="3322"/>
                  </a:moveTo>
                  <a:lnTo>
                    <a:pt x="290" y="3322"/>
                  </a:lnTo>
                  <a:lnTo>
                    <a:pt x="290" y="3324"/>
                  </a:lnTo>
                  <a:lnTo>
                    <a:pt x="292" y="3326"/>
                  </a:lnTo>
                  <a:lnTo>
                    <a:pt x="300" y="3334"/>
                  </a:lnTo>
                  <a:lnTo>
                    <a:pt x="304" y="3338"/>
                  </a:lnTo>
                  <a:lnTo>
                    <a:pt x="302" y="3332"/>
                  </a:lnTo>
                  <a:lnTo>
                    <a:pt x="296" y="3324"/>
                  </a:lnTo>
                  <a:lnTo>
                    <a:pt x="292" y="3322"/>
                  </a:lnTo>
                  <a:lnTo>
                    <a:pt x="290" y="3322"/>
                  </a:lnTo>
                  <a:close/>
                  <a:moveTo>
                    <a:pt x="246" y="3094"/>
                  </a:moveTo>
                  <a:lnTo>
                    <a:pt x="246" y="3094"/>
                  </a:lnTo>
                  <a:lnTo>
                    <a:pt x="244" y="3094"/>
                  </a:lnTo>
                  <a:lnTo>
                    <a:pt x="242" y="3094"/>
                  </a:lnTo>
                  <a:lnTo>
                    <a:pt x="242" y="3098"/>
                  </a:lnTo>
                  <a:lnTo>
                    <a:pt x="250" y="3112"/>
                  </a:lnTo>
                  <a:lnTo>
                    <a:pt x="252" y="3114"/>
                  </a:lnTo>
                  <a:lnTo>
                    <a:pt x="254" y="3112"/>
                  </a:lnTo>
                  <a:lnTo>
                    <a:pt x="256" y="3110"/>
                  </a:lnTo>
                  <a:lnTo>
                    <a:pt x="258" y="3110"/>
                  </a:lnTo>
                  <a:lnTo>
                    <a:pt x="258" y="3108"/>
                  </a:lnTo>
                  <a:lnTo>
                    <a:pt x="258" y="3102"/>
                  </a:lnTo>
                  <a:lnTo>
                    <a:pt x="258" y="3098"/>
                  </a:lnTo>
                  <a:lnTo>
                    <a:pt x="256" y="3096"/>
                  </a:lnTo>
                  <a:lnTo>
                    <a:pt x="246" y="3094"/>
                  </a:lnTo>
                  <a:close/>
                  <a:moveTo>
                    <a:pt x="294" y="3282"/>
                  </a:moveTo>
                  <a:lnTo>
                    <a:pt x="294" y="3282"/>
                  </a:lnTo>
                  <a:lnTo>
                    <a:pt x="294" y="3280"/>
                  </a:lnTo>
                  <a:lnTo>
                    <a:pt x="290" y="3278"/>
                  </a:lnTo>
                  <a:lnTo>
                    <a:pt x="288" y="3280"/>
                  </a:lnTo>
                  <a:lnTo>
                    <a:pt x="288" y="3284"/>
                  </a:lnTo>
                  <a:lnTo>
                    <a:pt x="290" y="3286"/>
                  </a:lnTo>
                  <a:lnTo>
                    <a:pt x="292" y="3286"/>
                  </a:lnTo>
                  <a:lnTo>
                    <a:pt x="294" y="3284"/>
                  </a:lnTo>
                  <a:lnTo>
                    <a:pt x="294" y="3282"/>
                  </a:lnTo>
                  <a:close/>
                  <a:moveTo>
                    <a:pt x="284" y="3284"/>
                  </a:moveTo>
                  <a:lnTo>
                    <a:pt x="284" y="3284"/>
                  </a:lnTo>
                  <a:lnTo>
                    <a:pt x="282" y="3284"/>
                  </a:lnTo>
                  <a:lnTo>
                    <a:pt x="282" y="3286"/>
                  </a:lnTo>
                  <a:lnTo>
                    <a:pt x="282" y="3288"/>
                  </a:lnTo>
                  <a:lnTo>
                    <a:pt x="286" y="3292"/>
                  </a:lnTo>
                  <a:lnTo>
                    <a:pt x="286" y="3288"/>
                  </a:lnTo>
                  <a:lnTo>
                    <a:pt x="286" y="3286"/>
                  </a:lnTo>
                  <a:lnTo>
                    <a:pt x="284" y="3284"/>
                  </a:lnTo>
                  <a:close/>
                  <a:moveTo>
                    <a:pt x="294" y="3312"/>
                  </a:moveTo>
                  <a:lnTo>
                    <a:pt x="294" y="3312"/>
                  </a:lnTo>
                  <a:lnTo>
                    <a:pt x="294" y="3310"/>
                  </a:lnTo>
                  <a:lnTo>
                    <a:pt x="294" y="3306"/>
                  </a:lnTo>
                  <a:lnTo>
                    <a:pt x="290" y="3298"/>
                  </a:lnTo>
                  <a:lnTo>
                    <a:pt x="288" y="3296"/>
                  </a:lnTo>
                  <a:lnTo>
                    <a:pt x="288" y="3298"/>
                  </a:lnTo>
                  <a:lnTo>
                    <a:pt x="288" y="3302"/>
                  </a:lnTo>
                  <a:lnTo>
                    <a:pt x="286" y="3306"/>
                  </a:lnTo>
                  <a:lnTo>
                    <a:pt x="284" y="3308"/>
                  </a:lnTo>
                  <a:lnTo>
                    <a:pt x="286" y="3312"/>
                  </a:lnTo>
                  <a:lnTo>
                    <a:pt x="290" y="3314"/>
                  </a:lnTo>
                  <a:lnTo>
                    <a:pt x="294" y="3312"/>
                  </a:lnTo>
                  <a:close/>
                  <a:moveTo>
                    <a:pt x="240" y="3200"/>
                  </a:moveTo>
                  <a:lnTo>
                    <a:pt x="240" y="3200"/>
                  </a:lnTo>
                  <a:lnTo>
                    <a:pt x="242" y="3200"/>
                  </a:lnTo>
                  <a:lnTo>
                    <a:pt x="242" y="3192"/>
                  </a:lnTo>
                  <a:lnTo>
                    <a:pt x="238" y="3184"/>
                  </a:lnTo>
                  <a:lnTo>
                    <a:pt x="236" y="3184"/>
                  </a:lnTo>
                  <a:lnTo>
                    <a:pt x="234" y="3184"/>
                  </a:lnTo>
                  <a:lnTo>
                    <a:pt x="230" y="3184"/>
                  </a:lnTo>
                  <a:lnTo>
                    <a:pt x="230" y="3186"/>
                  </a:lnTo>
                  <a:lnTo>
                    <a:pt x="230" y="3196"/>
                  </a:lnTo>
                  <a:lnTo>
                    <a:pt x="236" y="3194"/>
                  </a:lnTo>
                  <a:lnTo>
                    <a:pt x="238" y="3192"/>
                  </a:lnTo>
                  <a:lnTo>
                    <a:pt x="238" y="3194"/>
                  </a:lnTo>
                  <a:lnTo>
                    <a:pt x="238" y="3198"/>
                  </a:lnTo>
                  <a:lnTo>
                    <a:pt x="240" y="3200"/>
                  </a:lnTo>
                  <a:close/>
                  <a:moveTo>
                    <a:pt x="236" y="3146"/>
                  </a:moveTo>
                  <a:lnTo>
                    <a:pt x="236" y="3146"/>
                  </a:lnTo>
                  <a:lnTo>
                    <a:pt x="238" y="3146"/>
                  </a:lnTo>
                  <a:lnTo>
                    <a:pt x="240" y="3148"/>
                  </a:lnTo>
                  <a:lnTo>
                    <a:pt x="242" y="3148"/>
                  </a:lnTo>
                  <a:lnTo>
                    <a:pt x="242" y="3146"/>
                  </a:lnTo>
                  <a:lnTo>
                    <a:pt x="240" y="3142"/>
                  </a:lnTo>
                  <a:lnTo>
                    <a:pt x="236" y="3138"/>
                  </a:lnTo>
                  <a:lnTo>
                    <a:pt x="232" y="3138"/>
                  </a:lnTo>
                  <a:lnTo>
                    <a:pt x="228" y="3138"/>
                  </a:lnTo>
                  <a:lnTo>
                    <a:pt x="224" y="3140"/>
                  </a:lnTo>
                  <a:lnTo>
                    <a:pt x="224" y="3144"/>
                  </a:lnTo>
                  <a:lnTo>
                    <a:pt x="226" y="3146"/>
                  </a:lnTo>
                  <a:lnTo>
                    <a:pt x="230" y="3146"/>
                  </a:lnTo>
                  <a:lnTo>
                    <a:pt x="236" y="3146"/>
                  </a:lnTo>
                  <a:close/>
                  <a:moveTo>
                    <a:pt x="292" y="2928"/>
                  </a:moveTo>
                  <a:lnTo>
                    <a:pt x="292" y="2928"/>
                  </a:lnTo>
                  <a:lnTo>
                    <a:pt x="294" y="2930"/>
                  </a:lnTo>
                  <a:lnTo>
                    <a:pt x="296" y="2930"/>
                  </a:lnTo>
                  <a:lnTo>
                    <a:pt x="298" y="2930"/>
                  </a:lnTo>
                  <a:lnTo>
                    <a:pt x="302" y="2930"/>
                  </a:lnTo>
                  <a:lnTo>
                    <a:pt x="304" y="2930"/>
                  </a:lnTo>
                  <a:lnTo>
                    <a:pt x="306" y="2928"/>
                  </a:lnTo>
                  <a:lnTo>
                    <a:pt x="302" y="2918"/>
                  </a:lnTo>
                  <a:lnTo>
                    <a:pt x="300" y="2916"/>
                  </a:lnTo>
                  <a:lnTo>
                    <a:pt x="298" y="2916"/>
                  </a:lnTo>
                  <a:lnTo>
                    <a:pt x="294" y="2918"/>
                  </a:lnTo>
                  <a:lnTo>
                    <a:pt x="290" y="2918"/>
                  </a:lnTo>
                  <a:lnTo>
                    <a:pt x="286" y="2918"/>
                  </a:lnTo>
                  <a:lnTo>
                    <a:pt x="284" y="2920"/>
                  </a:lnTo>
                  <a:lnTo>
                    <a:pt x="284" y="2922"/>
                  </a:lnTo>
                  <a:lnTo>
                    <a:pt x="288" y="2924"/>
                  </a:lnTo>
                  <a:lnTo>
                    <a:pt x="290" y="2924"/>
                  </a:lnTo>
                  <a:lnTo>
                    <a:pt x="292" y="2928"/>
                  </a:lnTo>
                  <a:close/>
                  <a:moveTo>
                    <a:pt x="294" y="2944"/>
                  </a:moveTo>
                  <a:lnTo>
                    <a:pt x="294" y="2944"/>
                  </a:lnTo>
                  <a:lnTo>
                    <a:pt x="296" y="2944"/>
                  </a:lnTo>
                  <a:lnTo>
                    <a:pt x="298" y="2942"/>
                  </a:lnTo>
                  <a:lnTo>
                    <a:pt x="300" y="2940"/>
                  </a:lnTo>
                  <a:lnTo>
                    <a:pt x="298" y="2940"/>
                  </a:lnTo>
                  <a:lnTo>
                    <a:pt x="292" y="2940"/>
                  </a:lnTo>
                  <a:lnTo>
                    <a:pt x="290" y="2940"/>
                  </a:lnTo>
                  <a:lnTo>
                    <a:pt x="290" y="2942"/>
                  </a:lnTo>
                  <a:lnTo>
                    <a:pt x="288" y="2944"/>
                  </a:lnTo>
                  <a:lnTo>
                    <a:pt x="290" y="2944"/>
                  </a:lnTo>
                  <a:lnTo>
                    <a:pt x="294" y="2944"/>
                  </a:lnTo>
                  <a:close/>
                  <a:moveTo>
                    <a:pt x="278" y="2914"/>
                  </a:moveTo>
                  <a:lnTo>
                    <a:pt x="278" y="2914"/>
                  </a:lnTo>
                  <a:lnTo>
                    <a:pt x="278" y="2916"/>
                  </a:lnTo>
                  <a:lnTo>
                    <a:pt x="282" y="2916"/>
                  </a:lnTo>
                  <a:lnTo>
                    <a:pt x="286" y="2914"/>
                  </a:lnTo>
                  <a:lnTo>
                    <a:pt x="292" y="2914"/>
                  </a:lnTo>
                  <a:lnTo>
                    <a:pt x="294" y="2914"/>
                  </a:lnTo>
                  <a:lnTo>
                    <a:pt x="294" y="2912"/>
                  </a:lnTo>
                  <a:lnTo>
                    <a:pt x="288" y="2908"/>
                  </a:lnTo>
                  <a:lnTo>
                    <a:pt x="286" y="2908"/>
                  </a:lnTo>
                  <a:lnTo>
                    <a:pt x="282" y="2908"/>
                  </a:lnTo>
                  <a:lnTo>
                    <a:pt x="278" y="2914"/>
                  </a:lnTo>
                  <a:close/>
                  <a:moveTo>
                    <a:pt x="276" y="2888"/>
                  </a:moveTo>
                  <a:lnTo>
                    <a:pt x="276" y="2888"/>
                  </a:lnTo>
                  <a:lnTo>
                    <a:pt x="280" y="2886"/>
                  </a:lnTo>
                  <a:lnTo>
                    <a:pt x="282" y="2884"/>
                  </a:lnTo>
                  <a:lnTo>
                    <a:pt x="282" y="2882"/>
                  </a:lnTo>
                  <a:lnTo>
                    <a:pt x="282" y="2880"/>
                  </a:lnTo>
                  <a:lnTo>
                    <a:pt x="278" y="2880"/>
                  </a:lnTo>
                  <a:lnTo>
                    <a:pt x="272" y="2884"/>
                  </a:lnTo>
                  <a:lnTo>
                    <a:pt x="270" y="2884"/>
                  </a:lnTo>
                  <a:lnTo>
                    <a:pt x="270" y="2886"/>
                  </a:lnTo>
                  <a:lnTo>
                    <a:pt x="272" y="2888"/>
                  </a:lnTo>
                  <a:lnTo>
                    <a:pt x="276" y="2888"/>
                  </a:lnTo>
                  <a:close/>
                  <a:moveTo>
                    <a:pt x="282" y="2902"/>
                  </a:moveTo>
                  <a:lnTo>
                    <a:pt x="282" y="2902"/>
                  </a:lnTo>
                  <a:lnTo>
                    <a:pt x="284" y="2902"/>
                  </a:lnTo>
                  <a:lnTo>
                    <a:pt x="290" y="2900"/>
                  </a:lnTo>
                  <a:lnTo>
                    <a:pt x="296" y="2898"/>
                  </a:lnTo>
                  <a:lnTo>
                    <a:pt x="296" y="2896"/>
                  </a:lnTo>
                  <a:lnTo>
                    <a:pt x="294" y="2894"/>
                  </a:lnTo>
                  <a:lnTo>
                    <a:pt x="292" y="2894"/>
                  </a:lnTo>
                  <a:lnTo>
                    <a:pt x="282" y="2894"/>
                  </a:lnTo>
                  <a:lnTo>
                    <a:pt x="276" y="2894"/>
                  </a:lnTo>
                  <a:lnTo>
                    <a:pt x="276" y="2896"/>
                  </a:lnTo>
                  <a:lnTo>
                    <a:pt x="278" y="2900"/>
                  </a:lnTo>
                  <a:lnTo>
                    <a:pt x="282" y="2902"/>
                  </a:lnTo>
                  <a:close/>
                  <a:moveTo>
                    <a:pt x="296" y="2950"/>
                  </a:moveTo>
                  <a:lnTo>
                    <a:pt x="296" y="2950"/>
                  </a:lnTo>
                  <a:lnTo>
                    <a:pt x="294" y="2948"/>
                  </a:lnTo>
                  <a:lnTo>
                    <a:pt x="290" y="2950"/>
                  </a:lnTo>
                  <a:lnTo>
                    <a:pt x="290" y="2952"/>
                  </a:lnTo>
                  <a:lnTo>
                    <a:pt x="290" y="2954"/>
                  </a:lnTo>
                  <a:lnTo>
                    <a:pt x="292" y="2956"/>
                  </a:lnTo>
                  <a:lnTo>
                    <a:pt x="294" y="2954"/>
                  </a:lnTo>
                  <a:lnTo>
                    <a:pt x="296" y="2952"/>
                  </a:lnTo>
                  <a:lnTo>
                    <a:pt x="296" y="2950"/>
                  </a:lnTo>
                  <a:close/>
                  <a:moveTo>
                    <a:pt x="302" y="2888"/>
                  </a:moveTo>
                  <a:lnTo>
                    <a:pt x="302" y="2888"/>
                  </a:lnTo>
                  <a:lnTo>
                    <a:pt x="300" y="2890"/>
                  </a:lnTo>
                  <a:lnTo>
                    <a:pt x="300" y="2892"/>
                  </a:lnTo>
                  <a:lnTo>
                    <a:pt x="302" y="2898"/>
                  </a:lnTo>
                  <a:lnTo>
                    <a:pt x="304" y="2900"/>
                  </a:lnTo>
                  <a:lnTo>
                    <a:pt x="308" y="2898"/>
                  </a:lnTo>
                  <a:lnTo>
                    <a:pt x="310" y="2896"/>
                  </a:lnTo>
                  <a:lnTo>
                    <a:pt x="308" y="2894"/>
                  </a:lnTo>
                  <a:lnTo>
                    <a:pt x="306" y="2890"/>
                  </a:lnTo>
                  <a:lnTo>
                    <a:pt x="302" y="2888"/>
                  </a:lnTo>
                  <a:close/>
                  <a:moveTo>
                    <a:pt x="304" y="2856"/>
                  </a:moveTo>
                  <a:lnTo>
                    <a:pt x="304" y="2856"/>
                  </a:lnTo>
                  <a:lnTo>
                    <a:pt x="304" y="2858"/>
                  </a:lnTo>
                  <a:lnTo>
                    <a:pt x="304" y="2862"/>
                  </a:lnTo>
                  <a:lnTo>
                    <a:pt x="306" y="2864"/>
                  </a:lnTo>
                  <a:lnTo>
                    <a:pt x="308" y="2864"/>
                  </a:lnTo>
                  <a:lnTo>
                    <a:pt x="310" y="2862"/>
                  </a:lnTo>
                  <a:lnTo>
                    <a:pt x="308" y="2860"/>
                  </a:lnTo>
                  <a:lnTo>
                    <a:pt x="306" y="2856"/>
                  </a:lnTo>
                  <a:lnTo>
                    <a:pt x="304" y="2856"/>
                  </a:lnTo>
                  <a:close/>
                  <a:moveTo>
                    <a:pt x="300" y="2968"/>
                  </a:moveTo>
                  <a:lnTo>
                    <a:pt x="300" y="2968"/>
                  </a:lnTo>
                  <a:lnTo>
                    <a:pt x="304" y="2964"/>
                  </a:lnTo>
                  <a:lnTo>
                    <a:pt x="304" y="2962"/>
                  </a:lnTo>
                  <a:lnTo>
                    <a:pt x="304" y="2960"/>
                  </a:lnTo>
                  <a:lnTo>
                    <a:pt x="300" y="2962"/>
                  </a:lnTo>
                  <a:lnTo>
                    <a:pt x="298" y="2964"/>
                  </a:lnTo>
                  <a:lnTo>
                    <a:pt x="296" y="2968"/>
                  </a:lnTo>
                  <a:lnTo>
                    <a:pt x="296" y="2970"/>
                  </a:lnTo>
                  <a:lnTo>
                    <a:pt x="300" y="2968"/>
                  </a:lnTo>
                  <a:close/>
                  <a:moveTo>
                    <a:pt x="290" y="2888"/>
                  </a:moveTo>
                  <a:lnTo>
                    <a:pt x="290" y="2888"/>
                  </a:lnTo>
                  <a:lnTo>
                    <a:pt x="294" y="2888"/>
                  </a:lnTo>
                  <a:lnTo>
                    <a:pt x="294" y="2886"/>
                  </a:lnTo>
                  <a:lnTo>
                    <a:pt x="292" y="2884"/>
                  </a:lnTo>
                  <a:lnTo>
                    <a:pt x="290" y="2884"/>
                  </a:lnTo>
                  <a:lnTo>
                    <a:pt x="282" y="2888"/>
                  </a:lnTo>
                  <a:lnTo>
                    <a:pt x="280" y="2888"/>
                  </a:lnTo>
                  <a:lnTo>
                    <a:pt x="282" y="2890"/>
                  </a:lnTo>
                  <a:lnTo>
                    <a:pt x="290" y="2888"/>
                  </a:lnTo>
                  <a:close/>
                  <a:moveTo>
                    <a:pt x="250" y="2970"/>
                  </a:moveTo>
                  <a:lnTo>
                    <a:pt x="250" y="2970"/>
                  </a:lnTo>
                  <a:lnTo>
                    <a:pt x="250" y="2972"/>
                  </a:lnTo>
                  <a:lnTo>
                    <a:pt x="248" y="2974"/>
                  </a:lnTo>
                  <a:lnTo>
                    <a:pt x="248" y="2978"/>
                  </a:lnTo>
                  <a:lnTo>
                    <a:pt x="252" y="2980"/>
                  </a:lnTo>
                  <a:lnTo>
                    <a:pt x="254" y="2980"/>
                  </a:lnTo>
                  <a:lnTo>
                    <a:pt x="260" y="2974"/>
                  </a:lnTo>
                  <a:lnTo>
                    <a:pt x="262" y="2972"/>
                  </a:lnTo>
                  <a:lnTo>
                    <a:pt x="262" y="2968"/>
                  </a:lnTo>
                  <a:lnTo>
                    <a:pt x="262" y="2964"/>
                  </a:lnTo>
                  <a:lnTo>
                    <a:pt x="260" y="2962"/>
                  </a:lnTo>
                  <a:lnTo>
                    <a:pt x="256" y="2962"/>
                  </a:lnTo>
                  <a:lnTo>
                    <a:pt x="250" y="2966"/>
                  </a:lnTo>
                  <a:lnTo>
                    <a:pt x="248" y="2966"/>
                  </a:lnTo>
                  <a:lnTo>
                    <a:pt x="250" y="2970"/>
                  </a:lnTo>
                  <a:close/>
                  <a:moveTo>
                    <a:pt x="540" y="3562"/>
                  </a:moveTo>
                  <a:lnTo>
                    <a:pt x="540" y="3562"/>
                  </a:lnTo>
                  <a:lnTo>
                    <a:pt x="544" y="3562"/>
                  </a:lnTo>
                  <a:lnTo>
                    <a:pt x="548" y="3562"/>
                  </a:lnTo>
                  <a:lnTo>
                    <a:pt x="554" y="3560"/>
                  </a:lnTo>
                  <a:lnTo>
                    <a:pt x="554" y="3558"/>
                  </a:lnTo>
                  <a:lnTo>
                    <a:pt x="552" y="3558"/>
                  </a:lnTo>
                  <a:lnTo>
                    <a:pt x="546" y="3558"/>
                  </a:lnTo>
                  <a:lnTo>
                    <a:pt x="542" y="3560"/>
                  </a:lnTo>
                  <a:lnTo>
                    <a:pt x="540" y="3562"/>
                  </a:lnTo>
                  <a:close/>
                  <a:moveTo>
                    <a:pt x="560" y="3548"/>
                  </a:moveTo>
                  <a:lnTo>
                    <a:pt x="560" y="3548"/>
                  </a:lnTo>
                  <a:lnTo>
                    <a:pt x="558" y="3550"/>
                  </a:lnTo>
                  <a:lnTo>
                    <a:pt x="556" y="3548"/>
                  </a:lnTo>
                  <a:lnTo>
                    <a:pt x="554" y="3550"/>
                  </a:lnTo>
                  <a:lnTo>
                    <a:pt x="552" y="3552"/>
                  </a:lnTo>
                  <a:lnTo>
                    <a:pt x="554" y="3554"/>
                  </a:lnTo>
                  <a:lnTo>
                    <a:pt x="560" y="3556"/>
                  </a:lnTo>
                  <a:lnTo>
                    <a:pt x="562" y="3556"/>
                  </a:lnTo>
                  <a:lnTo>
                    <a:pt x="564" y="3556"/>
                  </a:lnTo>
                  <a:lnTo>
                    <a:pt x="562" y="3548"/>
                  </a:lnTo>
                  <a:lnTo>
                    <a:pt x="560" y="3544"/>
                  </a:lnTo>
                  <a:lnTo>
                    <a:pt x="560" y="3546"/>
                  </a:lnTo>
                  <a:lnTo>
                    <a:pt x="560" y="3548"/>
                  </a:lnTo>
                  <a:close/>
                  <a:moveTo>
                    <a:pt x="556" y="3506"/>
                  </a:moveTo>
                  <a:lnTo>
                    <a:pt x="556" y="3506"/>
                  </a:lnTo>
                  <a:lnTo>
                    <a:pt x="530" y="3504"/>
                  </a:lnTo>
                  <a:lnTo>
                    <a:pt x="522" y="3504"/>
                  </a:lnTo>
                  <a:lnTo>
                    <a:pt x="522" y="3506"/>
                  </a:lnTo>
                  <a:lnTo>
                    <a:pt x="526" y="3508"/>
                  </a:lnTo>
                  <a:lnTo>
                    <a:pt x="528" y="3510"/>
                  </a:lnTo>
                  <a:lnTo>
                    <a:pt x="528" y="3512"/>
                  </a:lnTo>
                  <a:lnTo>
                    <a:pt x="528" y="3516"/>
                  </a:lnTo>
                  <a:lnTo>
                    <a:pt x="530" y="3522"/>
                  </a:lnTo>
                  <a:lnTo>
                    <a:pt x="532" y="3524"/>
                  </a:lnTo>
                  <a:lnTo>
                    <a:pt x="536" y="3524"/>
                  </a:lnTo>
                  <a:lnTo>
                    <a:pt x="546" y="3524"/>
                  </a:lnTo>
                  <a:lnTo>
                    <a:pt x="550" y="3524"/>
                  </a:lnTo>
                  <a:lnTo>
                    <a:pt x="550" y="3522"/>
                  </a:lnTo>
                  <a:lnTo>
                    <a:pt x="550" y="3520"/>
                  </a:lnTo>
                  <a:lnTo>
                    <a:pt x="554" y="3518"/>
                  </a:lnTo>
                  <a:lnTo>
                    <a:pt x="556" y="3520"/>
                  </a:lnTo>
                  <a:lnTo>
                    <a:pt x="558" y="3524"/>
                  </a:lnTo>
                  <a:lnTo>
                    <a:pt x="558" y="3526"/>
                  </a:lnTo>
                  <a:lnTo>
                    <a:pt x="562" y="3528"/>
                  </a:lnTo>
                  <a:lnTo>
                    <a:pt x="566" y="3526"/>
                  </a:lnTo>
                  <a:lnTo>
                    <a:pt x="568" y="3524"/>
                  </a:lnTo>
                  <a:lnTo>
                    <a:pt x="572" y="3514"/>
                  </a:lnTo>
                  <a:lnTo>
                    <a:pt x="572" y="3512"/>
                  </a:lnTo>
                  <a:lnTo>
                    <a:pt x="572" y="3508"/>
                  </a:lnTo>
                  <a:lnTo>
                    <a:pt x="568" y="3506"/>
                  </a:lnTo>
                  <a:lnTo>
                    <a:pt x="562" y="3506"/>
                  </a:lnTo>
                  <a:lnTo>
                    <a:pt x="556" y="3506"/>
                  </a:lnTo>
                  <a:close/>
                  <a:moveTo>
                    <a:pt x="522" y="3532"/>
                  </a:moveTo>
                  <a:lnTo>
                    <a:pt x="522" y="3532"/>
                  </a:lnTo>
                  <a:lnTo>
                    <a:pt x="516" y="3528"/>
                  </a:lnTo>
                  <a:lnTo>
                    <a:pt x="520" y="3528"/>
                  </a:lnTo>
                  <a:lnTo>
                    <a:pt x="524" y="3526"/>
                  </a:lnTo>
                  <a:lnTo>
                    <a:pt x="524" y="3524"/>
                  </a:lnTo>
                  <a:lnTo>
                    <a:pt x="518" y="3520"/>
                  </a:lnTo>
                  <a:lnTo>
                    <a:pt x="510" y="3520"/>
                  </a:lnTo>
                  <a:lnTo>
                    <a:pt x="506" y="3520"/>
                  </a:lnTo>
                  <a:lnTo>
                    <a:pt x="506" y="3518"/>
                  </a:lnTo>
                  <a:lnTo>
                    <a:pt x="514" y="3516"/>
                  </a:lnTo>
                  <a:lnTo>
                    <a:pt x="520" y="3514"/>
                  </a:lnTo>
                  <a:lnTo>
                    <a:pt x="520" y="3512"/>
                  </a:lnTo>
                  <a:lnTo>
                    <a:pt x="520" y="3510"/>
                  </a:lnTo>
                  <a:lnTo>
                    <a:pt x="518" y="3508"/>
                  </a:lnTo>
                  <a:lnTo>
                    <a:pt x="512" y="3506"/>
                  </a:lnTo>
                  <a:lnTo>
                    <a:pt x="504" y="3506"/>
                  </a:lnTo>
                  <a:lnTo>
                    <a:pt x="498" y="3508"/>
                  </a:lnTo>
                  <a:lnTo>
                    <a:pt x="490" y="3508"/>
                  </a:lnTo>
                  <a:lnTo>
                    <a:pt x="486" y="3508"/>
                  </a:lnTo>
                  <a:lnTo>
                    <a:pt x="478" y="3510"/>
                  </a:lnTo>
                  <a:lnTo>
                    <a:pt x="462" y="3514"/>
                  </a:lnTo>
                  <a:lnTo>
                    <a:pt x="454" y="3516"/>
                  </a:lnTo>
                  <a:lnTo>
                    <a:pt x="454" y="3518"/>
                  </a:lnTo>
                  <a:lnTo>
                    <a:pt x="464" y="3524"/>
                  </a:lnTo>
                  <a:lnTo>
                    <a:pt x="466" y="3526"/>
                  </a:lnTo>
                  <a:lnTo>
                    <a:pt x="462" y="3528"/>
                  </a:lnTo>
                  <a:lnTo>
                    <a:pt x="470" y="3532"/>
                  </a:lnTo>
                  <a:lnTo>
                    <a:pt x="476" y="3534"/>
                  </a:lnTo>
                  <a:lnTo>
                    <a:pt x="480" y="3536"/>
                  </a:lnTo>
                  <a:lnTo>
                    <a:pt x="486" y="3540"/>
                  </a:lnTo>
                  <a:lnTo>
                    <a:pt x="490" y="3540"/>
                  </a:lnTo>
                  <a:lnTo>
                    <a:pt x="490" y="3538"/>
                  </a:lnTo>
                  <a:lnTo>
                    <a:pt x="482" y="3530"/>
                  </a:lnTo>
                  <a:lnTo>
                    <a:pt x="480" y="3526"/>
                  </a:lnTo>
                  <a:lnTo>
                    <a:pt x="482" y="3524"/>
                  </a:lnTo>
                  <a:lnTo>
                    <a:pt x="486" y="3524"/>
                  </a:lnTo>
                  <a:lnTo>
                    <a:pt x="490" y="3524"/>
                  </a:lnTo>
                  <a:lnTo>
                    <a:pt x="494" y="3524"/>
                  </a:lnTo>
                  <a:lnTo>
                    <a:pt x="498" y="3524"/>
                  </a:lnTo>
                  <a:lnTo>
                    <a:pt x="500" y="3524"/>
                  </a:lnTo>
                  <a:lnTo>
                    <a:pt x="496" y="3532"/>
                  </a:lnTo>
                  <a:lnTo>
                    <a:pt x="496" y="3536"/>
                  </a:lnTo>
                  <a:lnTo>
                    <a:pt x="500" y="3540"/>
                  </a:lnTo>
                  <a:lnTo>
                    <a:pt x="502" y="3540"/>
                  </a:lnTo>
                  <a:lnTo>
                    <a:pt x="506" y="3538"/>
                  </a:lnTo>
                  <a:lnTo>
                    <a:pt x="510" y="3536"/>
                  </a:lnTo>
                  <a:lnTo>
                    <a:pt x="512" y="3538"/>
                  </a:lnTo>
                  <a:lnTo>
                    <a:pt x="514" y="3540"/>
                  </a:lnTo>
                  <a:lnTo>
                    <a:pt x="518" y="3540"/>
                  </a:lnTo>
                  <a:lnTo>
                    <a:pt x="522" y="3542"/>
                  </a:lnTo>
                  <a:lnTo>
                    <a:pt x="522" y="3544"/>
                  </a:lnTo>
                  <a:lnTo>
                    <a:pt x="524" y="3548"/>
                  </a:lnTo>
                  <a:lnTo>
                    <a:pt x="526" y="3548"/>
                  </a:lnTo>
                  <a:lnTo>
                    <a:pt x="528" y="3550"/>
                  </a:lnTo>
                  <a:lnTo>
                    <a:pt x="532" y="3554"/>
                  </a:lnTo>
                  <a:lnTo>
                    <a:pt x="534" y="3552"/>
                  </a:lnTo>
                  <a:lnTo>
                    <a:pt x="534" y="3548"/>
                  </a:lnTo>
                  <a:lnTo>
                    <a:pt x="534" y="3544"/>
                  </a:lnTo>
                  <a:lnTo>
                    <a:pt x="532" y="3542"/>
                  </a:lnTo>
                  <a:lnTo>
                    <a:pt x="532" y="3538"/>
                  </a:lnTo>
                  <a:lnTo>
                    <a:pt x="530" y="3536"/>
                  </a:lnTo>
                  <a:lnTo>
                    <a:pt x="522" y="3532"/>
                  </a:lnTo>
                  <a:close/>
                  <a:moveTo>
                    <a:pt x="476" y="3508"/>
                  </a:moveTo>
                  <a:lnTo>
                    <a:pt x="476" y="3508"/>
                  </a:lnTo>
                  <a:lnTo>
                    <a:pt x="484" y="3506"/>
                  </a:lnTo>
                  <a:lnTo>
                    <a:pt x="484" y="3504"/>
                  </a:lnTo>
                  <a:lnTo>
                    <a:pt x="472" y="3502"/>
                  </a:lnTo>
                  <a:lnTo>
                    <a:pt x="464" y="3502"/>
                  </a:lnTo>
                  <a:lnTo>
                    <a:pt x="458" y="3502"/>
                  </a:lnTo>
                  <a:lnTo>
                    <a:pt x="450" y="3506"/>
                  </a:lnTo>
                  <a:lnTo>
                    <a:pt x="448" y="3508"/>
                  </a:lnTo>
                  <a:lnTo>
                    <a:pt x="456" y="3510"/>
                  </a:lnTo>
                  <a:lnTo>
                    <a:pt x="462" y="3510"/>
                  </a:lnTo>
                  <a:lnTo>
                    <a:pt x="476" y="3508"/>
                  </a:lnTo>
                  <a:close/>
                  <a:moveTo>
                    <a:pt x="572" y="3528"/>
                  </a:moveTo>
                  <a:lnTo>
                    <a:pt x="572" y="3528"/>
                  </a:lnTo>
                  <a:lnTo>
                    <a:pt x="574" y="3530"/>
                  </a:lnTo>
                  <a:lnTo>
                    <a:pt x="578" y="3530"/>
                  </a:lnTo>
                  <a:lnTo>
                    <a:pt x="580" y="3528"/>
                  </a:lnTo>
                  <a:lnTo>
                    <a:pt x="582" y="3524"/>
                  </a:lnTo>
                  <a:lnTo>
                    <a:pt x="580" y="3522"/>
                  </a:lnTo>
                  <a:lnTo>
                    <a:pt x="578" y="3522"/>
                  </a:lnTo>
                  <a:lnTo>
                    <a:pt x="574" y="3524"/>
                  </a:lnTo>
                  <a:lnTo>
                    <a:pt x="572" y="3528"/>
                  </a:lnTo>
                  <a:close/>
                  <a:moveTo>
                    <a:pt x="636" y="3486"/>
                  </a:moveTo>
                  <a:lnTo>
                    <a:pt x="636" y="3486"/>
                  </a:lnTo>
                  <a:lnTo>
                    <a:pt x="628" y="3488"/>
                  </a:lnTo>
                  <a:lnTo>
                    <a:pt x="622" y="3486"/>
                  </a:lnTo>
                  <a:lnTo>
                    <a:pt x="616" y="3484"/>
                  </a:lnTo>
                  <a:lnTo>
                    <a:pt x="610" y="3482"/>
                  </a:lnTo>
                  <a:lnTo>
                    <a:pt x="602" y="3478"/>
                  </a:lnTo>
                  <a:lnTo>
                    <a:pt x="594" y="3470"/>
                  </a:lnTo>
                  <a:lnTo>
                    <a:pt x="584" y="3462"/>
                  </a:lnTo>
                  <a:lnTo>
                    <a:pt x="574" y="3456"/>
                  </a:lnTo>
                  <a:lnTo>
                    <a:pt x="562" y="3448"/>
                  </a:lnTo>
                  <a:lnTo>
                    <a:pt x="548" y="3436"/>
                  </a:lnTo>
                  <a:lnTo>
                    <a:pt x="538" y="3424"/>
                  </a:lnTo>
                  <a:lnTo>
                    <a:pt x="532" y="3414"/>
                  </a:lnTo>
                  <a:lnTo>
                    <a:pt x="530" y="3404"/>
                  </a:lnTo>
                  <a:lnTo>
                    <a:pt x="528" y="3404"/>
                  </a:lnTo>
                  <a:lnTo>
                    <a:pt x="522" y="3402"/>
                  </a:lnTo>
                  <a:lnTo>
                    <a:pt x="516" y="3402"/>
                  </a:lnTo>
                  <a:lnTo>
                    <a:pt x="514" y="3400"/>
                  </a:lnTo>
                  <a:lnTo>
                    <a:pt x="512" y="3396"/>
                  </a:lnTo>
                  <a:lnTo>
                    <a:pt x="516" y="3390"/>
                  </a:lnTo>
                  <a:lnTo>
                    <a:pt x="520" y="3386"/>
                  </a:lnTo>
                  <a:lnTo>
                    <a:pt x="522" y="3386"/>
                  </a:lnTo>
                  <a:lnTo>
                    <a:pt x="524" y="3390"/>
                  </a:lnTo>
                  <a:lnTo>
                    <a:pt x="524" y="3392"/>
                  </a:lnTo>
                  <a:lnTo>
                    <a:pt x="526" y="3394"/>
                  </a:lnTo>
                  <a:lnTo>
                    <a:pt x="528" y="3392"/>
                  </a:lnTo>
                  <a:lnTo>
                    <a:pt x="528" y="3388"/>
                  </a:lnTo>
                  <a:lnTo>
                    <a:pt x="524" y="3380"/>
                  </a:lnTo>
                  <a:lnTo>
                    <a:pt x="510" y="3364"/>
                  </a:lnTo>
                  <a:lnTo>
                    <a:pt x="510" y="3502"/>
                  </a:lnTo>
                  <a:lnTo>
                    <a:pt x="518" y="3498"/>
                  </a:lnTo>
                  <a:lnTo>
                    <a:pt x="520" y="3496"/>
                  </a:lnTo>
                  <a:lnTo>
                    <a:pt x="522" y="3496"/>
                  </a:lnTo>
                  <a:lnTo>
                    <a:pt x="530" y="3498"/>
                  </a:lnTo>
                  <a:lnTo>
                    <a:pt x="544" y="3500"/>
                  </a:lnTo>
                  <a:lnTo>
                    <a:pt x="560" y="3502"/>
                  </a:lnTo>
                  <a:lnTo>
                    <a:pt x="576" y="3504"/>
                  </a:lnTo>
                  <a:lnTo>
                    <a:pt x="584" y="3506"/>
                  </a:lnTo>
                  <a:lnTo>
                    <a:pt x="588" y="3508"/>
                  </a:lnTo>
                  <a:lnTo>
                    <a:pt x="596" y="3512"/>
                  </a:lnTo>
                  <a:lnTo>
                    <a:pt x="598" y="3510"/>
                  </a:lnTo>
                  <a:lnTo>
                    <a:pt x="602" y="3508"/>
                  </a:lnTo>
                  <a:lnTo>
                    <a:pt x="606" y="3506"/>
                  </a:lnTo>
                  <a:lnTo>
                    <a:pt x="614" y="3506"/>
                  </a:lnTo>
                  <a:lnTo>
                    <a:pt x="620" y="3502"/>
                  </a:lnTo>
                  <a:lnTo>
                    <a:pt x="624" y="3500"/>
                  </a:lnTo>
                  <a:lnTo>
                    <a:pt x="626" y="3502"/>
                  </a:lnTo>
                  <a:lnTo>
                    <a:pt x="630" y="3506"/>
                  </a:lnTo>
                  <a:lnTo>
                    <a:pt x="632" y="3504"/>
                  </a:lnTo>
                  <a:lnTo>
                    <a:pt x="634" y="3502"/>
                  </a:lnTo>
                  <a:lnTo>
                    <a:pt x="638" y="3502"/>
                  </a:lnTo>
                  <a:lnTo>
                    <a:pt x="640" y="3502"/>
                  </a:lnTo>
                  <a:lnTo>
                    <a:pt x="642" y="3502"/>
                  </a:lnTo>
                  <a:lnTo>
                    <a:pt x="646" y="3494"/>
                  </a:lnTo>
                  <a:lnTo>
                    <a:pt x="648" y="3488"/>
                  </a:lnTo>
                  <a:lnTo>
                    <a:pt x="648" y="3486"/>
                  </a:lnTo>
                  <a:lnTo>
                    <a:pt x="642" y="3486"/>
                  </a:lnTo>
                  <a:lnTo>
                    <a:pt x="636" y="3486"/>
                  </a:lnTo>
                  <a:close/>
                  <a:moveTo>
                    <a:pt x="436" y="3502"/>
                  </a:moveTo>
                  <a:lnTo>
                    <a:pt x="436" y="3502"/>
                  </a:lnTo>
                  <a:lnTo>
                    <a:pt x="428" y="3504"/>
                  </a:lnTo>
                  <a:lnTo>
                    <a:pt x="426" y="3506"/>
                  </a:lnTo>
                  <a:lnTo>
                    <a:pt x="420" y="3506"/>
                  </a:lnTo>
                  <a:lnTo>
                    <a:pt x="414" y="3506"/>
                  </a:lnTo>
                  <a:lnTo>
                    <a:pt x="414" y="3508"/>
                  </a:lnTo>
                  <a:lnTo>
                    <a:pt x="414" y="3510"/>
                  </a:lnTo>
                  <a:lnTo>
                    <a:pt x="416" y="3514"/>
                  </a:lnTo>
                  <a:lnTo>
                    <a:pt x="418" y="3514"/>
                  </a:lnTo>
                  <a:lnTo>
                    <a:pt x="428" y="3516"/>
                  </a:lnTo>
                  <a:lnTo>
                    <a:pt x="430" y="3516"/>
                  </a:lnTo>
                  <a:lnTo>
                    <a:pt x="432" y="3518"/>
                  </a:lnTo>
                  <a:lnTo>
                    <a:pt x="432" y="3520"/>
                  </a:lnTo>
                  <a:lnTo>
                    <a:pt x="432" y="3522"/>
                  </a:lnTo>
                  <a:lnTo>
                    <a:pt x="436" y="3522"/>
                  </a:lnTo>
                  <a:lnTo>
                    <a:pt x="442" y="3518"/>
                  </a:lnTo>
                  <a:lnTo>
                    <a:pt x="442" y="3516"/>
                  </a:lnTo>
                  <a:lnTo>
                    <a:pt x="442" y="3512"/>
                  </a:lnTo>
                  <a:lnTo>
                    <a:pt x="438" y="3512"/>
                  </a:lnTo>
                  <a:lnTo>
                    <a:pt x="432" y="3510"/>
                  </a:lnTo>
                  <a:lnTo>
                    <a:pt x="434" y="3508"/>
                  </a:lnTo>
                  <a:lnTo>
                    <a:pt x="438" y="3508"/>
                  </a:lnTo>
                  <a:lnTo>
                    <a:pt x="442" y="3506"/>
                  </a:lnTo>
                  <a:lnTo>
                    <a:pt x="444" y="3504"/>
                  </a:lnTo>
                  <a:lnTo>
                    <a:pt x="440" y="3504"/>
                  </a:lnTo>
                  <a:lnTo>
                    <a:pt x="436" y="3502"/>
                  </a:lnTo>
                  <a:close/>
                  <a:moveTo>
                    <a:pt x="290" y="2874"/>
                  </a:moveTo>
                  <a:lnTo>
                    <a:pt x="290" y="2874"/>
                  </a:lnTo>
                  <a:lnTo>
                    <a:pt x="292" y="2876"/>
                  </a:lnTo>
                  <a:lnTo>
                    <a:pt x="294" y="2874"/>
                  </a:lnTo>
                  <a:lnTo>
                    <a:pt x="294" y="2872"/>
                  </a:lnTo>
                  <a:lnTo>
                    <a:pt x="294" y="2870"/>
                  </a:lnTo>
                  <a:lnTo>
                    <a:pt x="290" y="2868"/>
                  </a:lnTo>
                  <a:lnTo>
                    <a:pt x="290" y="2874"/>
                  </a:lnTo>
                  <a:close/>
                  <a:moveTo>
                    <a:pt x="592" y="3524"/>
                  </a:moveTo>
                  <a:lnTo>
                    <a:pt x="592" y="3524"/>
                  </a:lnTo>
                  <a:lnTo>
                    <a:pt x="596" y="3524"/>
                  </a:lnTo>
                  <a:lnTo>
                    <a:pt x="598" y="3524"/>
                  </a:lnTo>
                  <a:lnTo>
                    <a:pt x="598" y="3522"/>
                  </a:lnTo>
                  <a:lnTo>
                    <a:pt x="596" y="3518"/>
                  </a:lnTo>
                  <a:lnTo>
                    <a:pt x="594" y="3518"/>
                  </a:lnTo>
                  <a:lnTo>
                    <a:pt x="590" y="3520"/>
                  </a:lnTo>
                  <a:lnTo>
                    <a:pt x="590" y="3522"/>
                  </a:lnTo>
                  <a:lnTo>
                    <a:pt x="592" y="3524"/>
                  </a:lnTo>
                  <a:close/>
                  <a:moveTo>
                    <a:pt x="310" y="3406"/>
                  </a:moveTo>
                  <a:lnTo>
                    <a:pt x="310" y="3406"/>
                  </a:lnTo>
                  <a:lnTo>
                    <a:pt x="314" y="3406"/>
                  </a:lnTo>
                  <a:lnTo>
                    <a:pt x="318" y="3406"/>
                  </a:lnTo>
                  <a:lnTo>
                    <a:pt x="322" y="3406"/>
                  </a:lnTo>
                  <a:lnTo>
                    <a:pt x="326" y="3408"/>
                  </a:lnTo>
                  <a:lnTo>
                    <a:pt x="328" y="3408"/>
                  </a:lnTo>
                  <a:lnTo>
                    <a:pt x="324" y="3402"/>
                  </a:lnTo>
                  <a:lnTo>
                    <a:pt x="318" y="3396"/>
                  </a:lnTo>
                  <a:lnTo>
                    <a:pt x="316" y="3394"/>
                  </a:lnTo>
                  <a:lnTo>
                    <a:pt x="314" y="3394"/>
                  </a:lnTo>
                  <a:lnTo>
                    <a:pt x="312" y="3394"/>
                  </a:lnTo>
                  <a:lnTo>
                    <a:pt x="310" y="3392"/>
                  </a:lnTo>
                  <a:lnTo>
                    <a:pt x="308" y="3390"/>
                  </a:lnTo>
                  <a:lnTo>
                    <a:pt x="306" y="3392"/>
                  </a:lnTo>
                  <a:lnTo>
                    <a:pt x="304" y="3390"/>
                  </a:lnTo>
                  <a:lnTo>
                    <a:pt x="294" y="3384"/>
                  </a:lnTo>
                  <a:lnTo>
                    <a:pt x="284" y="3382"/>
                  </a:lnTo>
                  <a:lnTo>
                    <a:pt x="280" y="3378"/>
                  </a:lnTo>
                  <a:lnTo>
                    <a:pt x="274" y="3374"/>
                  </a:lnTo>
                  <a:lnTo>
                    <a:pt x="268" y="3370"/>
                  </a:lnTo>
                  <a:lnTo>
                    <a:pt x="264" y="3368"/>
                  </a:lnTo>
                  <a:lnTo>
                    <a:pt x="262" y="3370"/>
                  </a:lnTo>
                  <a:lnTo>
                    <a:pt x="266" y="3374"/>
                  </a:lnTo>
                  <a:lnTo>
                    <a:pt x="270" y="3376"/>
                  </a:lnTo>
                  <a:lnTo>
                    <a:pt x="270" y="3380"/>
                  </a:lnTo>
                  <a:lnTo>
                    <a:pt x="268" y="3380"/>
                  </a:lnTo>
                  <a:lnTo>
                    <a:pt x="272" y="3382"/>
                  </a:lnTo>
                  <a:lnTo>
                    <a:pt x="276" y="3384"/>
                  </a:lnTo>
                  <a:lnTo>
                    <a:pt x="278" y="3388"/>
                  </a:lnTo>
                  <a:lnTo>
                    <a:pt x="282" y="3390"/>
                  </a:lnTo>
                  <a:lnTo>
                    <a:pt x="288" y="3392"/>
                  </a:lnTo>
                  <a:lnTo>
                    <a:pt x="294" y="3392"/>
                  </a:lnTo>
                  <a:lnTo>
                    <a:pt x="296" y="3394"/>
                  </a:lnTo>
                  <a:lnTo>
                    <a:pt x="300" y="3396"/>
                  </a:lnTo>
                  <a:lnTo>
                    <a:pt x="302" y="3398"/>
                  </a:lnTo>
                  <a:lnTo>
                    <a:pt x="304" y="3398"/>
                  </a:lnTo>
                  <a:lnTo>
                    <a:pt x="308" y="3398"/>
                  </a:lnTo>
                  <a:lnTo>
                    <a:pt x="310" y="3400"/>
                  </a:lnTo>
                  <a:lnTo>
                    <a:pt x="310" y="3402"/>
                  </a:lnTo>
                  <a:lnTo>
                    <a:pt x="310" y="3404"/>
                  </a:lnTo>
                  <a:lnTo>
                    <a:pt x="310" y="3406"/>
                  </a:lnTo>
                  <a:close/>
                  <a:moveTo>
                    <a:pt x="262" y="3306"/>
                  </a:moveTo>
                  <a:lnTo>
                    <a:pt x="262" y="3306"/>
                  </a:lnTo>
                  <a:lnTo>
                    <a:pt x="260" y="3302"/>
                  </a:lnTo>
                  <a:lnTo>
                    <a:pt x="258" y="3302"/>
                  </a:lnTo>
                  <a:lnTo>
                    <a:pt x="258" y="3304"/>
                  </a:lnTo>
                  <a:lnTo>
                    <a:pt x="258" y="3310"/>
                  </a:lnTo>
                  <a:lnTo>
                    <a:pt x="258" y="3314"/>
                  </a:lnTo>
                  <a:lnTo>
                    <a:pt x="254" y="3308"/>
                  </a:lnTo>
                  <a:lnTo>
                    <a:pt x="252" y="3308"/>
                  </a:lnTo>
                  <a:lnTo>
                    <a:pt x="250" y="3310"/>
                  </a:lnTo>
                  <a:lnTo>
                    <a:pt x="248" y="3314"/>
                  </a:lnTo>
                  <a:lnTo>
                    <a:pt x="250" y="3318"/>
                  </a:lnTo>
                  <a:lnTo>
                    <a:pt x="252" y="3320"/>
                  </a:lnTo>
                  <a:lnTo>
                    <a:pt x="252" y="3322"/>
                  </a:lnTo>
                  <a:lnTo>
                    <a:pt x="250" y="3324"/>
                  </a:lnTo>
                  <a:lnTo>
                    <a:pt x="252" y="3328"/>
                  </a:lnTo>
                  <a:lnTo>
                    <a:pt x="252" y="3332"/>
                  </a:lnTo>
                  <a:lnTo>
                    <a:pt x="254" y="3332"/>
                  </a:lnTo>
                  <a:lnTo>
                    <a:pt x="258" y="3324"/>
                  </a:lnTo>
                  <a:lnTo>
                    <a:pt x="260" y="3314"/>
                  </a:lnTo>
                  <a:lnTo>
                    <a:pt x="262" y="3310"/>
                  </a:lnTo>
                  <a:lnTo>
                    <a:pt x="262" y="3306"/>
                  </a:lnTo>
                  <a:close/>
                  <a:moveTo>
                    <a:pt x="284" y="3406"/>
                  </a:moveTo>
                  <a:lnTo>
                    <a:pt x="284" y="3406"/>
                  </a:lnTo>
                  <a:lnTo>
                    <a:pt x="286" y="3406"/>
                  </a:lnTo>
                  <a:lnTo>
                    <a:pt x="288" y="3404"/>
                  </a:lnTo>
                  <a:lnTo>
                    <a:pt x="290" y="3402"/>
                  </a:lnTo>
                  <a:lnTo>
                    <a:pt x="290" y="3400"/>
                  </a:lnTo>
                  <a:lnTo>
                    <a:pt x="286" y="3398"/>
                  </a:lnTo>
                  <a:lnTo>
                    <a:pt x="284" y="3400"/>
                  </a:lnTo>
                  <a:lnTo>
                    <a:pt x="284" y="3404"/>
                  </a:lnTo>
                  <a:lnTo>
                    <a:pt x="284" y="3406"/>
                  </a:lnTo>
                  <a:close/>
                  <a:moveTo>
                    <a:pt x="268" y="3336"/>
                  </a:moveTo>
                  <a:lnTo>
                    <a:pt x="268" y="3336"/>
                  </a:lnTo>
                  <a:lnTo>
                    <a:pt x="260" y="3336"/>
                  </a:lnTo>
                  <a:lnTo>
                    <a:pt x="258" y="3336"/>
                  </a:lnTo>
                  <a:lnTo>
                    <a:pt x="256" y="3338"/>
                  </a:lnTo>
                  <a:lnTo>
                    <a:pt x="258" y="3340"/>
                  </a:lnTo>
                  <a:lnTo>
                    <a:pt x="262" y="3342"/>
                  </a:lnTo>
                  <a:lnTo>
                    <a:pt x="264" y="3342"/>
                  </a:lnTo>
                  <a:lnTo>
                    <a:pt x="268" y="3340"/>
                  </a:lnTo>
                  <a:lnTo>
                    <a:pt x="268" y="3338"/>
                  </a:lnTo>
                  <a:lnTo>
                    <a:pt x="268" y="3336"/>
                  </a:lnTo>
                  <a:close/>
                  <a:moveTo>
                    <a:pt x="412" y="3500"/>
                  </a:moveTo>
                  <a:lnTo>
                    <a:pt x="412" y="3500"/>
                  </a:lnTo>
                  <a:lnTo>
                    <a:pt x="406" y="3498"/>
                  </a:lnTo>
                  <a:lnTo>
                    <a:pt x="402" y="3496"/>
                  </a:lnTo>
                  <a:lnTo>
                    <a:pt x="398" y="3498"/>
                  </a:lnTo>
                  <a:lnTo>
                    <a:pt x="396" y="3500"/>
                  </a:lnTo>
                  <a:lnTo>
                    <a:pt x="396" y="3502"/>
                  </a:lnTo>
                  <a:lnTo>
                    <a:pt x="398" y="3504"/>
                  </a:lnTo>
                  <a:lnTo>
                    <a:pt x="402" y="3502"/>
                  </a:lnTo>
                  <a:lnTo>
                    <a:pt x="406" y="3500"/>
                  </a:lnTo>
                  <a:lnTo>
                    <a:pt x="408" y="3502"/>
                  </a:lnTo>
                  <a:lnTo>
                    <a:pt x="410" y="3502"/>
                  </a:lnTo>
                  <a:lnTo>
                    <a:pt x="414" y="3504"/>
                  </a:lnTo>
                  <a:lnTo>
                    <a:pt x="414" y="3502"/>
                  </a:lnTo>
                  <a:lnTo>
                    <a:pt x="416" y="3500"/>
                  </a:lnTo>
                  <a:lnTo>
                    <a:pt x="414" y="3500"/>
                  </a:lnTo>
                  <a:lnTo>
                    <a:pt x="412" y="3500"/>
                  </a:lnTo>
                  <a:close/>
                  <a:moveTo>
                    <a:pt x="248" y="3284"/>
                  </a:moveTo>
                  <a:lnTo>
                    <a:pt x="248" y="3284"/>
                  </a:lnTo>
                  <a:lnTo>
                    <a:pt x="244" y="3282"/>
                  </a:lnTo>
                  <a:lnTo>
                    <a:pt x="244" y="3284"/>
                  </a:lnTo>
                  <a:lnTo>
                    <a:pt x="244" y="3292"/>
                  </a:lnTo>
                  <a:lnTo>
                    <a:pt x="240" y="3300"/>
                  </a:lnTo>
                  <a:lnTo>
                    <a:pt x="240" y="3302"/>
                  </a:lnTo>
                  <a:lnTo>
                    <a:pt x="244" y="3302"/>
                  </a:lnTo>
                  <a:lnTo>
                    <a:pt x="246" y="3300"/>
                  </a:lnTo>
                  <a:lnTo>
                    <a:pt x="246" y="3298"/>
                  </a:lnTo>
                  <a:lnTo>
                    <a:pt x="248" y="3294"/>
                  </a:lnTo>
                  <a:lnTo>
                    <a:pt x="248" y="3292"/>
                  </a:lnTo>
                  <a:lnTo>
                    <a:pt x="252" y="3288"/>
                  </a:lnTo>
                  <a:lnTo>
                    <a:pt x="248" y="3284"/>
                  </a:lnTo>
                  <a:close/>
                  <a:moveTo>
                    <a:pt x="376" y="3462"/>
                  </a:moveTo>
                  <a:lnTo>
                    <a:pt x="376" y="3462"/>
                  </a:lnTo>
                  <a:lnTo>
                    <a:pt x="376" y="3466"/>
                  </a:lnTo>
                  <a:lnTo>
                    <a:pt x="378" y="3468"/>
                  </a:lnTo>
                  <a:lnTo>
                    <a:pt x="380" y="3468"/>
                  </a:lnTo>
                  <a:lnTo>
                    <a:pt x="380" y="3464"/>
                  </a:lnTo>
                  <a:lnTo>
                    <a:pt x="380" y="3462"/>
                  </a:lnTo>
                  <a:lnTo>
                    <a:pt x="382" y="3462"/>
                  </a:lnTo>
                  <a:lnTo>
                    <a:pt x="384" y="3460"/>
                  </a:lnTo>
                  <a:lnTo>
                    <a:pt x="384" y="3456"/>
                  </a:lnTo>
                  <a:lnTo>
                    <a:pt x="386" y="3454"/>
                  </a:lnTo>
                  <a:lnTo>
                    <a:pt x="386" y="3452"/>
                  </a:lnTo>
                  <a:lnTo>
                    <a:pt x="386" y="3448"/>
                  </a:lnTo>
                  <a:lnTo>
                    <a:pt x="386" y="3444"/>
                  </a:lnTo>
                  <a:lnTo>
                    <a:pt x="386" y="3442"/>
                  </a:lnTo>
                  <a:lnTo>
                    <a:pt x="384" y="3440"/>
                  </a:lnTo>
                  <a:lnTo>
                    <a:pt x="378" y="3438"/>
                  </a:lnTo>
                  <a:lnTo>
                    <a:pt x="376" y="3438"/>
                  </a:lnTo>
                  <a:lnTo>
                    <a:pt x="374" y="3442"/>
                  </a:lnTo>
                  <a:lnTo>
                    <a:pt x="372" y="3444"/>
                  </a:lnTo>
                  <a:lnTo>
                    <a:pt x="370" y="3442"/>
                  </a:lnTo>
                  <a:lnTo>
                    <a:pt x="368" y="3442"/>
                  </a:lnTo>
                  <a:lnTo>
                    <a:pt x="364" y="3442"/>
                  </a:lnTo>
                  <a:lnTo>
                    <a:pt x="362" y="3444"/>
                  </a:lnTo>
                  <a:lnTo>
                    <a:pt x="362" y="3446"/>
                  </a:lnTo>
                  <a:lnTo>
                    <a:pt x="368" y="3452"/>
                  </a:lnTo>
                  <a:lnTo>
                    <a:pt x="374" y="3458"/>
                  </a:lnTo>
                  <a:lnTo>
                    <a:pt x="376" y="3460"/>
                  </a:lnTo>
                  <a:lnTo>
                    <a:pt x="376" y="3462"/>
                  </a:lnTo>
                  <a:close/>
                  <a:moveTo>
                    <a:pt x="360" y="3454"/>
                  </a:moveTo>
                  <a:lnTo>
                    <a:pt x="360" y="3454"/>
                  </a:lnTo>
                  <a:lnTo>
                    <a:pt x="358" y="3458"/>
                  </a:lnTo>
                  <a:lnTo>
                    <a:pt x="354" y="3458"/>
                  </a:lnTo>
                  <a:lnTo>
                    <a:pt x="352" y="3460"/>
                  </a:lnTo>
                  <a:lnTo>
                    <a:pt x="354" y="3462"/>
                  </a:lnTo>
                  <a:lnTo>
                    <a:pt x="356" y="3464"/>
                  </a:lnTo>
                  <a:lnTo>
                    <a:pt x="358" y="3464"/>
                  </a:lnTo>
                  <a:lnTo>
                    <a:pt x="364" y="3458"/>
                  </a:lnTo>
                  <a:lnTo>
                    <a:pt x="364" y="3456"/>
                  </a:lnTo>
                  <a:lnTo>
                    <a:pt x="364" y="3454"/>
                  </a:lnTo>
                  <a:lnTo>
                    <a:pt x="362" y="3452"/>
                  </a:lnTo>
                  <a:lnTo>
                    <a:pt x="360" y="3454"/>
                  </a:lnTo>
                  <a:close/>
                  <a:moveTo>
                    <a:pt x="390" y="3462"/>
                  </a:moveTo>
                  <a:lnTo>
                    <a:pt x="390" y="3462"/>
                  </a:lnTo>
                  <a:lnTo>
                    <a:pt x="394" y="3462"/>
                  </a:lnTo>
                  <a:lnTo>
                    <a:pt x="394" y="3460"/>
                  </a:lnTo>
                  <a:lnTo>
                    <a:pt x="396" y="3458"/>
                  </a:lnTo>
                  <a:lnTo>
                    <a:pt x="398" y="3460"/>
                  </a:lnTo>
                  <a:lnTo>
                    <a:pt x="402" y="3462"/>
                  </a:lnTo>
                  <a:lnTo>
                    <a:pt x="402" y="3464"/>
                  </a:lnTo>
                  <a:lnTo>
                    <a:pt x="402" y="3466"/>
                  </a:lnTo>
                  <a:lnTo>
                    <a:pt x="406" y="3468"/>
                  </a:lnTo>
                  <a:lnTo>
                    <a:pt x="410" y="3468"/>
                  </a:lnTo>
                  <a:lnTo>
                    <a:pt x="412" y="3466"/>
                  </a:lnTo>
                  <a:lnTo>
                    <a:pt x="412" y="3454"/>
                  </a:lnTo>
                  <a:lnTo>
                    <a:pt x="410" y="3450"/>
                  </a:lnTo>
                  <a:lnTo>
                    <a:pt x="408" y="3450"/>
                  </a:lnTo>
                  <a:lnTo>
                    <a:pt x="406" y="3450"/>
                  </a:lnTo>
                  <a:lnTo>
                    <a:pt x="402" y="3448"/>
                  </a:lnTo>
                  <a:lnTo>
                    <a:pt x="400" y="3444"/>
                  </a:lnTo>
                  <a:lnTo>
                    <a:pt x="394" y="3442"/>
                  </a:lnTo>
                  <a:lnTo>
                    <a:pt x="390" y="3444"/>
                  </a:lnTo>
                  <a:lnTo>
                    <a:pt x="388" y="3446"/>
                  </a:lnTo>
                  <a:lnTo>
                    <a:pt x="388" y="3448"/>
                  </a:lnTo>
                  <a:lnTo>
                    <a:pt x="390" y="3454"/>
                  </a:lnTo>
                  <a:lnTo>
                    <a:pt x="388" y="3456"/>
                  </a:lnTo>
                  <a:lnTo>
                    <a:pt x="388" y="3460"/>
                  </a:lnTo>
                  <a:lnTo>
                    <a:pt x="390" y="3462"/>
                  </a:lnTo>
                  <a:close/>
                  <a:moveTo>
                    <a:pt x="356" y="3450"/>
                  </a:moveTo>
                  <a:lnTo>
                    <a:pt x="356" y="3450"/>
                  </a:lnTo>
                  <a:lnTo>
                    <a:pt x="358" y="3450"/>
                  </a:lnTo>
                  <a:lnTo>
                    <a:pt x="360" y="3450"/>
                  </a:lnTo>
                  <a:lnTo>
                    <a:pt x="358" y="3444"/>
                  </a:lnTo>
                  <a:lnTo>
                    <a:pt x="358" y="3442"/>
                  </a:lnTo>
                  <a:lnTo>
                    <a:pt x="358" y="3440"/>
                  </a:lnTo>
                  <a:lnTo>
                    <a:pt x="362" y="3438"/>
                  </a:lnTo>
                  <a:lnTo>
                    <a:pt x="366" y="3436"/>
                  </a:lnTo>
                  <a:lnTo>
                    <a:pt x="366" y="3434"/>
                  </a:lnTo>
                  <a:lnTo>
                    <a:pt x="366" y="3432"/>
                  </a:lnTo>
                  <a:lnTo>
                    <a:pt x="362" y="3430"/>
                  </a:lnTo>
                  <a:lnTo>
                    <a:pt x="360" y="3430"/>
                  </a:lnTo>
                  <a:lnTo>
                    <a:pt x="358" y="3428"/>
                  </a:lnTo>
                  <a:lnTo>
                    <a:pt x="356" y="3426"/>
                  </a:lnTo>
                  <a:lnTo>
                    <a:pt x="354" y="3422"/>
                  </a:lnTo>
                  <a:lnTo>
                    <a:pt x="352" y="3420"/>
                  </a:lnTo>
                  <a:lnTo>
                    <a:pt x="348" y="3418"/>
                  </a:lnTo>
                  <a:lnTo>
                    <a:pt x="346" y="3420"/>
                  </a:lnTo>
                  <a:lnTo>
                    <a:pt x="344" y="3420"/>
                  </a:lnTo>
                  <a:lnTo>
                    <a:pt x="344" y="3418"/>
                  </a:lnTo>
                  <a:lnTo>
                    <a:pt x="342" y="3418"/>
                  </a:lnTo>
                  <a:lnTo>
                    <a:pt x="340" y="3420"/>
                  </a:lnTo>
                  <a:lnTo>
                    <a:pt x="338" y="3422"/>
                  </a:lnTo>
                  <a:lnTo>
                    <a:pt x="338" y="3418"/>
                  </a:lnTo>
                  <a:lnTo>
                    <a:pt x="336" y="3414"/>
                  </a:lnTo>
                  <a:lnTo>
                    <a:pt x="332" y="3410"/>
                  </a:lnTo>
                  <a:lnTo>
                    <a:pt x="328" y="3410"/>
                  </a:lnTo>
                  <a:lnTo>
                    <a:pt x="328" y="3412"/>
                  </a:lnTo>
                  <a:lnTo>
                    <a:pt x="328" y="3414"/>
                  </a:lnTo>
                  <a:lnTo>
                    <a:pt x="322" y="3414"/>
                  </a:lnTo>
                  <a:lnTo>
                    <a:pt x="320" y="3414"/>
                  </a:lnTo>
                  <a:lnTo>
                    <a:pt x="318" y="3414"/>
                  </a:lnTo>
                  <a:lnTo>
                    <a:pt x="320" y="3418"/>
                  </a:lnTo>
                  <a:lnTo>
                    <a:pt x="322" y="3422"/>
                  </a:lnTo>
                  <a:lnTo>
                    <a:pt x="320" y="3422"/>
                  </a:lnTo>
                  <a:lnTo>
                    <a:pt x="314" y="3420"/>
                  </a:lnTo>
                  <a:lnTo>
                    <a:pt x="310" y="3422"/>
                  </a:lnTo>
                  <a:lnTo>
                    <a:pt x="308" y="3424"/>
                  </a:lnTo>
                  <a:lnTo>
                    <a:pt x="308" y="3426"/>
                  </a:lnTo>
                  <a:lnTo>
                    <a:pt x="310" y="3428"/>
                  </a:lnTo>
                  <a:lnTo>
                    <a:pt x="312" y="3430"/>
                  </a:lnTo>
                  <a:lnTo>
                    <a:pt x="312" y="3432"/>
                  </a:lnTo>
                  <a:lnTo>
                    <a:pt x="316" y="3432"/>
                  </a:lnTo>
                  <a:lnTo>
                    <a:pt x="320" y="3430"/>
                  </a:lnTo>
                  <a:lnTo>
                    <a:pt x="322" y="3432"/>
                  </a:lnTo>
                  <a:lnTo>
                    <a:pt x="322" y="3434"/>
                  </a:lnTo>
                  <a:lnTo>
                    <a:pt x="322" y="3442"/>
                  </a:lnTo>
                  <a:lnTo>
                    <a:pt x="324" y="3444"/>
                  </a:lnTo>
                  <a:lnTo>
                    <a:pt x="328" y="3448"/>
                  </a:lnTo>
                  <a:lnTo>
                    <a:pt x="330" y="3448"/>
                  </a:lnTo>
                  <a:lnTo>
                    <a:pt x="332" y="3448"/>
                  </a:lnTo>
                  <a:lnTo>
                    <a:pt x="332" y="3442"/>
                  </a:lnTo>
                  <a:lnTo>
                    <a:pt x="332" y="3438"/>
                  </a:lnTo>
                  <a:lnTo>
                    <a:pt x="334" y="3438"/>
                  </a:lnTo>
                  <a:lnTo>
                    <a:pt x="336" y="3440"/>
                  </a:lnTo>
                  <a:lnTo>
                    <a:pt x="340" y="3438"/>
                  </a:lnTo>
                  <a:lnTo>
                    <a:pt x="342" y="3438"/>
                  </a:lnTo>
                  <a:lnTo>
                    <a:pt x="342" y="3442"/>
                  </a:lnTo>
                  <a:lnTo>
                    <a:pt x="340" y="3448"/>
                  </a:lnTo>
                  <a:lnTo>
                    <a:pt x="336" y="3450"/>
                  </a:lnTo>
                  <a:lnTo>
                    <a:pt x="334" y="3452"/>
                  </a:lnTo>
                  <a:lnTo>
                    <a:pt x="338" y="3454"/>
                  </a:lnTo>
                  <a:lnTo>
                    <a:pt x="342" y="3454"/>
                  </a:lnTo>
                  <a:lnTo>
                    <a:pt x="346" y="3454"/>
                  </a:lnTo>
                  <a:lnTo>
                    <a:pt x="348" y="3452"/>
                  </a:lnTo>
                  <a:lnTo>
                    <a:pt x="350" y="3452"/>
                  </a:lnTo>
                  <a:lnTo>
                    <a:pt x="352" y="3452"/>
                  </a:lnTo>
                  <a:lnTo>
                    <a:pt x="352" y="3450"/>
                  </a:lnTo>
                  <a:lnTo>
                    <a:pt x="354" y="3448"/>
                  </a:lnTo>
                  <a:lnTo>
                    <a:pt x="356" y="3450"/>
                  </a:lnTo>
                  <a:close/>
                  <a:moveTo>
                    <a:pt x="490" y="3366"/>
                  </a:moveTo>
                  <a:lnTo>
                    <a:pt x="490" y="3366"/>
                  </a:lnTo>
                  <a:lnTo>
                    <a:pt x="488" y="3366"/>
                  </a:lnTo>
                  <a:lnTo>
                    <a:pt x="486" y="3364"/>
                  </a:lnTo>
                  <a:lnTo>
                    <a:pt x="482" y="3360"/>
                  </a:lnTo>
                  <a:lnTo>
                    <a:pt x="480" y="3354"/>
                  </a:lnTo>
                  <a:lnTo>
                    <a:pt x="478" y="3352"/>
                  </a:lnTo>
                  <a:lnTo>
                    <a:pt x="476" y="3352"/>
                  </a:lnTo>
                  <a:lnTo>
                    <a:pt x="472" y="3356"/>
                  </a:lnTo>
                  <a:lnTo>
                    <a:pt x="468" y="3364"/>
                  </a:lnTo>
                  <a:lnTo>
                    <a:pt x="464" y="3370"/>
                  </a:lnTo>
                  <a:lnTo>
                    <a:pt x="460" y="3374"/>
                  </a:lnTo>
                  <a:lnTo>
                    <a:pt x="454" y="3374"/>
                  </a:lnTo>
                  <a:lnTo>
                    <a:pt x="450" y="3372"/>
                  </a:lnTo>
                  <a:lnTo>
                    <a:pt x="446" y="3368"/>
                  </a:lnTo>
                  <a:lnTo>
                    <a:pt x="440" y="3370"/>
                  </a:lnTo>
                  <a:lnTo>
                    <a:pt x="438" y="3370"/>
                  </a:lnTo>
                  <a:lnTo>
                    <a:pt x="440" y="3372"/>
                  </a:lnTo>
                  <a:lnTo>
                    <a:pt x="442" y="3374"/>
                  </a:lnTo>
                  <a:lnTo>
                    <a:pt x="444" y="3376"/>
                  </a:lnTo>
                  <a:lnTo>
                    <a:pt x="444" y="3378"/>
                  </a:lnTo>
                  <a:lnTo>
                    <a:pt x="448" y="3380"/>
                  </a:lnTo>
                  <a:lnTo>
                    <a:pt x="450" y="3382"/>
                  </a:lnTo>
                  <a:lnTo>
                    <a:pt x="448" y="3384"/>
                  </a:lnTo>
                  <a:lnTo>
                    <a:pt x="446" y="3388"/>
                  </a:lnTo>
                  <a:lnTo>
                    <a:pt x="444" y="3388"/>
                  </a:lnTo>
                  <a:lnTo>
                    <a:pt x="440" y="3384"/>
                  </a:lnTo>
                  <a:lnTo>
                    <a:pt x="438" y="3382"/>
                  </a:lnTo>
                  <a:lnTo>
                    <a:pt x="438" y="3384"/>
                  </a:lnTo>
                  <a:lnTo>
                    <a:pt x="436" y="3388"/>
                  </a:lnTo>
                  <a:lnTo>
                    <a:pt x="436" y="3398"/>
                  </a:lnTo>
                  <a:lnTo>
                    <a:pt x="440" y="3410"/>
                  </a:lnTo>
                  <a:lnTo>
                    <a:pt x="442" y="3412"/>
                  </a:lnTo>
                  <a:lnTo>
                    <a:pt x="448" y="3414"/>
                  </a:lnTo>
                  <a:lnTo>
                    <a:pt x="460" y="3410"/>
                  </a:lnTo>
                  <a:lnTo>
                    <a:pt x="474" y="3406"/>
                  </a:lnTo>
                  <a:lnTo>
                    <a:pt x="478" y="3406"/>
                  </a:lnTo>
                  <a:lnTo>
                    <a:pt x="480" y="3408"/>
                  </a:lnTo>
                  <a:lnTo>
                    <a:pt x="482" y="3414"/>
                  </a:lnTo>
                  <a:lnTo>
                    <a:pt x="478" y="3418"/>
                  </a:lnTo>
                  <a:lnTo>
                    <a:pt x="472" y="3422"/>
                  </a:lnTo>
                  <a:lnTo>
                    <a:pt x="466" y="3424"/>
                  </a:lnTo>
                  <a:lnTo>
                    <a:pt x="452" y="3430"/>
                  </a:lnTo>
                  <a:lnTo>
                    <a:pt x="448" y="3434"/>
                  </a:lnTo>
                  <a:lnTo>
                    <a:pt x="448" y="3438"/>
                  </a:lnTo>
                  <a:lnTo>
                    <a:pt x="452" y="3446"/>
                  </a:lnTo>
                  <a:lnTo>
                    <a:pt x="458" y="3452"/>
                  </a:lnTo>
                  <a:lnTo>
                    <a:pt x="464" y="3458"/>
                  </a:lnTo>
                  <a:lnTo>
                    <a:pt x="474" y="3462"/>
                  </a:lnTo>
                  <a:lnTo>
                    <a:pt x="488" y="3470"/>
                  </a:lnTo>
                  <a:lnTo>
                    <a:pt x="494" y="3472"/>
                  </a:lnTo>
                  <a:lnTo>
                    <a:pt x="496" y="3474"/>
                  </a:lnTo>
                  <a:lnTo>
                    <a:pt x="482" y="3472"/>
                  </a:lnTo>
                  <a:lnTo>
                    <a:pt x="476" y="3468"/>
                  </a:lnTo>
                  <a:lnTo>
                    <a:pt x="474" y="3468"/>
                  </a:lnTo>
                  <a:lnTo>
                    <a:pt x="472" y="3468"/>
                  </a:lnTo>
                  <a:lnTo>
                    <a:pt x="470" y="3470"/>
                  </a:lnTo>
                  <a:lnTo>
                    <a:pt x="468" y="3470"/>
                  </a:lnTo>
                  <a:lnTo>
                    <a:pt x="462" y="3466"/>
                  </a:lnTo>
                  <a:lnTo>
                    <a:pt x="456" y="3464"/>
                  </a:lnTo>
                  <a:lnTo>
                    <a:pt x="452" y="3464"/>
                  </a:lnTo>
                  <a:lnTo>
                    <a:pt x="450" y="3464"/>
                  </a:lnTo>
                  <a:lnTo>
                    <a:pt x="448" y="3466"/>
                  </a:lnTo>
                  <a:lnTo>
                    <a:pt x="448" y="3468"/>
                  </a:lnTo>
                  <a:lnTo>
                    <a:pt x="448" y="3472"/>
                  </a:lnTo>
                  <a:lnTo>
                    <a:pt x="450" y="3472"/>
                  </a:lnTo>
                  <a:lnTo>
                    <a:pt x="448" y="3472"/>
                  </a:lnTo>
                  <a:lnTo>
                    <a:pt x="442" y="3468"/>
                  </a:lnTo>
                  <a:lnTo>
                    <a:pt x="422" y="3454"/>
                  </a:lnTo>
                  <a:lnTo>
                    <a:pt x="416" y="3452"/>
                  </a:lnTo>
                  <a:lnTo>
                    <a:pt x="416" y="3454"/>
                  </a:lnTo>
                  <a:lnTo>
                    <a:pt x="418" y="3456"/>
                  </a:lnTo>
                  <a:lnTo>
                    <a:pt x="422" y="3462"/>
                  </a:lnTo>
                  <a:lnTo>
                    <a:pt x="428" y="3464"/>
                  </a:lnTo>
                  <a:lnTo>
                    <a:pt x="430" y="3466"/>
                  </a:lnTo>
                  <a:lnTo>
                    <a:pt x="426" y="3466"/>
                  </a:lnTo>
                  <a:lnTo>
                    <a:pt x="420" y="3466"/>
                  </a:lnTo>
                  <a:lnTo>
                    <a:pt x="418" y="3468"/>
                  </a:lnTo>
                  <a:lnTo>
                    <a:pt x="416" y="3472"/>
                  </a:lnTo>
                  <a:lnTo>
                    <a:pt x="414" y="3476"/>
                  </a:lnTo>
                  <a:lnTo>
                    <a:pt x="408" y="3474"/>
                  </a:lnTo>
                  <a:lnTo>
                    <a:pt x="398" y="3470"/>
                  </a:lnTo>
                  <a:lnTo>
                    <a:pt x="398" y="3472"/>
                  </a:lnTo>
                  <a:lnTo>
                    <a:pt x="396" y="3474"/>
                  </a:lnTo>
                  <a:lnTo>
                    <a:pt x="392" y="3472"/>
                  </a:lnTo>
                  <a:lnTo>
                    <a:pt x="380" y="3470"/>
                  </a:lnTo>
                  <a:lnTo>
                    <a:pt x="380" y="3472"/>
                  </a:lnTo>
                  <a:lnTo>
                    <a:pt x="382" y="3476"/>
                  </a:lnTo>
                  <a:lnTo>
                    <a:pt x="386" y="3478"/>
                  </a:lnTo>
                  <a:lnTo>
                    <a:pt x="386" y="3480"/>
                  </a:lnTo>
                  <a:lnTo>
                    <a:pt x="382" y="3480"/>
                  </a:lnTo>
                  <a:lnTo>
                    <a:pt x="376" y="3476"/>
                  </a:lnTo>
                  <a:lnTo>
                    <a:pt x="374" y="3474"/>
                  </a:lnTo>
                  <a:lnTo>
                    <a:pt x="372" y="3474"/>
                  </a:lnTo>
                  <a:lnTo>
                    <a:pt x="374" y="3476"/>
                  </a:lnTo>
                  <a:lnTo>
                    <a:pt x="374" y="3482"/>
                  </a:lnTo>
                  <a:lnTo>
                    <a:pt x="374" y="3484"/>
                  </a:lnTo>
                  <a:lnTo>
                    <a:pt x="374" y="3486"/>
                  </a:lnTo>
                  <a:lnTo>
                    <a:pt x="376" y="3486"/>
                  </a:lnTo>
                  <a:lnTo>
                    <a:pt x="380" y="3488"/>
                  </a:lnTo>
                  <a:lnTo>
                    <a:pt x="384" y="3486"/>
                  </a:lnTo>
                  <a:lnTo>
                    <a:pt x="390" y="3486"/>
                  </a:lnTo>
                  <a:lnTo>
                    <a:pt x="394" y="3488"/>
                  </a:lnTo>
                  <a:lnTo>
                    <a:pt x="396" y="3488"/>
                  </a:lnTo>
                  <a:lnTo>
                    <a:pt x="398" y="3484"/>
                  </a:lnTo>
                  <a:lnTo>
                    <a:pt x="400" y="3480"/>
                  </a:lnTo>
                  <a:lnTo>
                    <a:pt x="402" y="3480"/>
                  </a:lnTo>
                  <a:lnTo>
                    <a:pt x="404" y="3480"/>
                  </a:lnTo>
                  <a:lnTo>
                    <a:pt x="402" y="3484"/>
                  </a:lnTo>
                  <a:lnTo>
                    <a:pt x="402" y="3486"/>
                  </a:lnTo>
                  <a:lnTo>
                    <a:pt x="404" y="3488"/>
                  </a:lnTo>
                  <a:lnTo>
                    <a:pt x="408" y="3488"/>
                  </a:lnTo>
                  <a:lnTo>
                    <a:pt x="412" y="3486"/>
                  </a:lnTo>
                  <a:lnTo>
                    <a:pt x="416" y="3486"/>
                  </a:lnTo>
                  <a:lnTo>
                    <a:pt x="414" y="3488"/>
                  </a:lnTo>
                  <a:lnTo>
                    <a:pt x="412" y="3492"/>
                  </a:lnTo>
                  <a:lnTo>
                    <a:pt x="414" y="3494"/>
                  </a:lnTo>
                  <a:lnTo>
                    <a:pt x="416" y="3492"/>
                  </a:lnTo>
                  <a:lnTo>
                    <a:pt x="418" y="3494"/>
                  </a:lnTo>
                  <a:lnTo>
                    <a:pt x="422" y="3498"/>
                  </a:lnTo>
                  <a:lnTo>
                    <a:pt x="424" y="3498"/>
                  </a:lnTo>
                  <a:lnTo>
                    <a:pt x="428" y="3496"/>
                  </a:lnTo>
                  <a:lnTo>
                    <a:pt x="432" y="3496"/>
                  </a:lnTo>
                  <a:lnTo>
                    <a:pt x="438" y="3498"/>
                  </a:lnTo>
                  <a:lnTo>
                    <a:pt x="442" y="3498"/>
                  </a:lnTo>
                  <a:lnTo>
                    <a:pt x="446" y="3496"/>
                  </a:lnTo>
                  <a:lnTo>
                    <a:pt x="450" y="3496"/>
                  </a:lnTo>
                  <a:lnTo>
                    <a:pt x="452" y="3498"/>
                  </a:lnTo>
                  <a:lnTo>
                    <a:pt x="452" y="3500"/>
                  </a:lnTo>
                  <a:lnTo>
                    <a:pt x="456" y="3498"/>
                  </a:lnTo>
                  <a:lnTo>
                    <a:pt x="458" y="3496"/>
                  </a:lnTo>
                  <a:lnTo>
                    <a:pt x="462" y="3496"/>
                  </a:lnTo>
                  <a:lnTo>
                    <a:pt x="464" y="3496"/>
                  </a:lnTo>
                  <a:lnTo>
                    <a:pt x="466" y="3492"/>
                  </a:lnTo>
                  <a:lnTo>
                    <a:pt x="468" y="3494"/>
                  </a:lnTo>
                  <a:lnTo>
                    <a:pt x="470" y="3498"/>
                  </a:lnTo>
                  <a:lnTo>
                    <a:pt x="478" y="3500"/>
                  </a:lnTo>
                  <a:lnTo>
                    <a:pt x="496" y="3504"/>
                  </a:lnTo>
                  <a:lnTo>
                    <a:pt x="502" y="3504"/>
                  </a:lnTo>
                  <a:lnTo>
                    <a:pt x="504" y="3504"/>
                  </a:lnTo>
                  <a:lnTo>
                    <a:pt x="504" y="3502"/>
                  </a:lnTo>
                  <a:lnTo>
                    <a:pt x="504" y="3500"/>
                  </a:lnTo>
                  <a:lnTo>
                    <a:pt x="506" y="3500"/>
                  </a:lnTo>
                  <a:lnTo>
                    <a:pt x="510" y="3502"/>
                  </a:lnTo>
                  <a:lnTo>
                    <a:pt x="510" y="3364"/>
                  </a:lnTo>
                  <a:lnTo>
                    <a:pt x="508" y="3362"/>
                  </a:lnTo>
                  <a:lnTo>
                    <a:pt x="504" y="3360"/>
                  </a:lnTo>
                  <a:lnTo>
                    <a:pt x="500" y="3360"/>
                  </a:lnTo>
                  <a:lnTo>
                    <a:pt x="496" y="3364"/>
                  </a:lnTo>
                  <a:lnTo>
                    <a:pt x="490" y="3366"/>
                  </a:lnTo>
                  <a:close/>
                  <a:moveTo>
                    <a:pt x="298" y="2826"/>
                  </a:moveTo>
                  <a:lnTo>
                    <a:pt x="298" y="2826"/>
                  </a:lnTo>
                  <a:lnTo>
                    <a:pt x="304" y="2826"/>
                  </a:lnTo>
                  <a:lnTo>
                    <a:pt x="306" y="2824"/>
                  </a:lnTo>
                  <a:lnTo>
                    <a:pt x="306" y="2822"/>
                  </a:lnTo>
                  <a:lnTo>
                    <a:pt x="304" y="2820"/>
                  </a:lnTo>
                  <a:lnTo>
                    <a:pt x="302" y="2814"/>
                  </a:lnTo>
                  <a:lnTo>
                    <a:pt x="304" y="2812"/>
                  </a:lnTo>
                  <a:lnTo>
                    <a:pt x="308" y="2812"/>
                  </a:lnTo>
                  <a:lnTo>
                    <a:pt x="310" y="2812"/>
                  </a:lnTo>
                  <a:lnTo>
                    <a:pt x="312" y="2810"/>
                  </a:lnTo>
                  <a:lnTo>
                    <a:pt x="310" y="2806"/>
                  </a:lnTo>
                  <a:lnTo>
                    <a:pt x="308" y="2800"/>
                  </a:lnTo>
                  <a:lnTo>
                    <a:pt x="308" y="2798"/>
                  </a:lnTo>
                  <a:lnTo>
                    <a:pt x="310" y="2798"/>
                  </a:lnTo>
                  <a:lnTo>
                    <a:pt x="314" y="2798"/>
                  </a:lnTo>
                  <a:lnTo>
                    <a:pt x="314" y="2794"/>
                  </a:lnTo>
                  <a:lnTo>
                    <a:pt x="304" y="2784"/>
                  </a:lnTo>
                  <a:lnTo>
                    <a:pt x="302" y="2780"/>
                  </a:lnTo>
                  <a:lnTo>
                    <a:pt x="302" y="2778"/>
                  </a:lnTo>
                  <a:lnTo>
                    <a:pt x="306" y="2776"/>
                  </a:lnTo>
                  <a:lnTo>
                    <a:pt x="306" y="2774"/>
                  </a:lnTo>
                  <a:lnTo>
                    <a:pt x="306" y="2770"/>
                  </a:lnTo>
                  <a:lnTo>
                    <a:pt x="306" y="2768"/>
                  </a:lnTo>
                  <a:lnTo>
                    <a:pt x="316" y="2764"/>
                  </a:lnTo>
                  <a:lnTo>
                    <a:pt x="318" y="2764"/>
                  </a:lnTo>
                  <a:lnTo>
                    <a:pt x="320" y="2762"/>
                  </a:lnTo>
                  <a:lnTo>
                    <a:pt x="318" y="2758"/>
                  </a:lnTo>
                  <a:lnTo>
                    <a:pt x="312" y="2748"/>
                  </a:lnTo>
                  <a:lnTo>
                    <a:pt x="310" y="2740"/>
                  </a:lnTo>
                  <a:lnTo>
                    <a:pt x="308" y="2738"/>
                  </a:lnTo>
                  <a:lnTo>
                    <a:pt x="302" y="2738"/>
                  </a:lnTo>
                  <a:lnTo>
                    <a:pt x="298" y="2740"/>
                  </a:lnTo>
                  <a:lnTo>
                    <a:pt x="298" y="2738"/>
                  </a:lnTo>
                  <a:lnTo>
                    <a:pt x="298" y="2736"/>
                  </a:lnTo>
                  <a:lnTo>
                    <a:pt x="296" y="2736"/>
                  </a:lnTo>
                  <a:lnTo>
                    <a:pt x="292" y="2736"/>
                  </a:lnTo>
                  <a:lnTo>
                    <a:pt x="290" y="2736"/>
                  </a:lnTo>
                  <a:lnTo>
                    <a:pt x="290" y="2738"/>
                  </a:lnTo>
                  <a:lnTo>
                    <a:pt x="290" y="2744"/>
                  </a:lnTo>
                  <a:lnTo>
                    <a:pt x="290" y="2752"/>
                  </a:lnTo>
                  <a:lnTo>
                    <a:pt x="288" y="2756"/>
                  </a:lnTo>
                  <a:lnTo>
                    <a:pt x="286" y="2762"/>
                  </a:lnTo>
                  <a:lnTo>
                    <a:pt x="284" y="2770"/>
                  </a:lnTo>
                  <a:lnTo>
                    <a:pt x="284" y="2778"/>
                  </a:lnTo>
                  <a:lnTo>
                    <a:pt x="286" y="2782"/>
                  </a:lnTo>
                  <a:lnTo>
                    <a:pt x="286" y="2790"/>
                  </a:lnTo>
                  <a:lnTo>
                    <a:pt x="282" y="2802"/>
                  </a:lnTo>
                  <a:lnTo>
                    <a:pt x="278" y="2814"/>
                  </a:lnTo>
                  <a:lnTo>
                    <a:pt x="278" y="2818"/>
                  </a:lnTo>
                  <a:lnTo>
                    <a:pt x="280" y="2822"/>
                  </a:lnTo>
                  <a:lnTo>
                    <a:pt x="286" y="2824"/>
                  </a:lnTo>
                  <a:lnTo>
                    <a:pt x="298" y="2826"/>
                  </a:lnTo>
                  <a:close/>
                  <a:moveTo>
                    <a:pt x="316" y="2894"/>
                  </a:moveTo>
                  <a:lnTo>
                    <a:pt x="316" y="2894"/>
                  </a:lnTo>
                  <a:lnTo>
                    <a:pt x="316" y="2898"/>
                  </a:lnTo>
                  <a:lnTo>
                    <a:pt x="318" y="2902"/>
                  </a:lnTo>
                  <a:lnTo>
                    <a:pt x="318" y="2904"/>
                  </a:lnTo>
                  <a:lnTo>
                    <a:pt x="318" y="2906"/>
                  </a:lnTo>
                  <a:lnTo>
                    <a:pt x="320" y="2908"/>
                  </a:lnTo>
                  <a:lnTo>
                    <a:pt x="324" y="2910"/>
                  </a:lnTo>
                  <a:lnTo>
                    <a:pt x="330" y="2910"/>
                  </a:lnTo>
                  <a:lnTo>
                    <a:pt x="336" y="2902"/>
                  </a:lnTo>
                  <a:lnTo>
                    <a:pt x="338" y="2900"/>
                  </a:lnTo>
                  <a:lnTo>
                    <a:pt x="338" y="2898"/>
                  </a:lnTo>
                  <a:lnTo>
                    <a:pt x="338" y="2896"/>
                  </a:lnTo>
                  <a:lnTo>
                    <a:pt x="342" y="2894"/>
                  </a:lnTo>
                  <a:lnTo>
                    <a:pt x="344" y="2890"/>
                  </a:lnTo>
                  <a:lnTo>
                    <a:pt x="342" y="2886"/>
                  </a:lnTo>
                  <a:lnTo>
                    <a:pt x="338" y="2882"/>
                  </a:lnTo>
                  <a:lnTo>
                    <a:pt x="332" y="2880"/>
                  </a:lnTo>
                  <a:lnTo>
                    <a:pt x="330" y="2880"/>
                  </a:lnTo>
                  <a:lnTo>
                    <a:pt x="330" y="2882"/>
                  </a:lnTo>
                  <a:lnTo>
                    <a:pt x="328" y="2882"/>
                  </a:lnTo>
                  <a:lnTo>
                    <a:pt x="326" y="2882"/>
                  </a:lnTo>
                  <a:lnTo>
                    <a:pt x="324" y="2882"/>
                  </a:lnTo>
                  <a:lnTo>
                    <a:pt x="324" y="2884"/>
                  </a:lnTo>
                  <a:lnTo>
                    <a:pt x="322" y="2888"/>
                  </a:lnTo>
                  <a:lnTo>
                    <a:pt x="322" y="2892"/>
                  </a:lnTo>
                  <a:lnTo>
                    <a:pt x="320" y="2894"/>
                  </a:lnTo>
                  <a:lnTo>
                    <a:pt x="318" y="2894"/>
                  </a:lnTo>
                  <a:lnTo>
                    <a:pt x="316" y="2894"/>
                  </a:lnTo>
                  <a:close/>
                  <a:moveTo>
                    <a:pt x="258" y="2836"/>
                  </a:moveTo>
                  <a:lnTo>
                    <a:pt x="258" y="2836"/>
                  </a:lnTo>
                  <a:lnTo>
                    <a:pt x="262" y="2838"/>
                  </a:lnTo>
                  <a:lnTo>
                    <a:pt x="264" y="2838"/>
                  </a:lnTo>
                  <a:lnTo>
                    <a:pt x="266" y="2836"/>
                  </a:lnTo>
                  <a:lnTo>
                    <a:pt x="266" y="2834"/>
                  </a:lnTo>
                  <a:lnTo>
                    <a:pt x="262" y="2832"/>
                  </a:lnTo>
                  <a:lnTo>
                    <a:pt x="260" y="2832"/>
                  </a:lnTo>
                  <a:lnTo>
                    <a:pt x="258" y="2834"/>
                  </a:lnTo>
                  <a:lnTo>
                    <a:pt x="258" y="2836"/>
                  </a:lnTo>
                  <a:close/>
                  <a:moveTo>
                    <a:pt x="324" y="2852"/>
                  </a:moveTo>
                  <a:lnTo>
                    <a:pt x="324" y="2852"/>
                  </a:lnTo>
                  <a:lnTo>
                    <a:pt x="320" y="2856"/>
                  </a:lnTo>
                  <a:lnTo>
                    <a:pt x="322" y="2858"/>
                  </a:lnTo>
                  <a:lnTo>
                    <a:pt x="324" y="2860"/>
                  </a:lnTo>
                  <a:lnTo>
                    <a:pt x="326" y="2858"/>
                  </a:lnTo>
                  <a:lnTo>
                    <a:pt x="326" y="2854"/>
                  </a:lnTo>
                  <a:lnTo>
                    <a:pt x="326" y="2852"/>
                  </a:lnTo>
                  <a:lnTo>
                    <a:pt x="324" y="2850"/>
                  </a:lnTo>
                  <a:lnTo>
                    <a:pt x="324" y="2852"/>
                  </a:lnTo>
                  <a:close/>
                  <a:moveTo>
                    <a:pt x="266" y="2958"/>
                  </a:moveTo>
                  <a:lnTo>
                    <a:pt x="266" y="2958"/>
                  </a:lnTo>
                  <a:lnTo>
                    <a:pt x="270" y="2958"/>
                  </a:lnTo>
                  <a:lnTo>
                    <a:pt x="270" y="2954"/>
                  </a:lnTo>
                  <a:lnTo>
                    <a:pt x="270" y="2950"/>
                  </a:lnTo>
                  <a:lnTo>
                    <a:pt x="268" y="2950"/>
                  </a:lnTo>
                  <a:lnTo>
                    <a:pt x="266" y="2952"/>
                  </a:lnTo>
                  <a:lnTo>
                    <a:pt x="264" y="2954"/>
                  </a:lnTo>
                  <a:lnTo>
                    <a:pt x="264" y="2956"/>
                  </a:lnTo>
                  <a:lnTo>
                    <a:pt x="266" y="2958"/>
                  </a:lnTo>
                  <a:close/>
                  <a:moveTo>
                    <a:pt x="244" y="3242"/>
                  </a:moveTo>
                  <a:lnTo>
                    <a:pt x="244" y="3242"/>
                  </a:lnTo>
                  <a:lnTo>
                    <a:pt x="248" y="3238"/>
                  </a:lnTo>
                  <a:lnTo>
                    <a:pt x="248" y="3236"/>
                  </a:lnTo>
                  <a:lnTo>
                    <a:pt x="246" y="3236"/>
                  </a:lnTo>
                  <a:lnTo>
                    <a:pt x="240" y="3234"/>
                  </a:lnTo>
                  <a:lnTo>
                    <a:pt x="234" y="3234"/>
                  </a:lnTo>
                  <a:lnTo>
                    <a:pt x="234" y="3236"/>
                  </a:lnTo>
                  <a:lnTo>
                    <a:pt x="236" y="3240"/>
                  </a:lnTo>
                  <a:lnTo>
                    <a:pt x="236" y="3242"/>
                  </a:lnTo>
                  <a:lnTo>
                    <a:pt x="232" y="3248"/>
                  </a:lnTo>
                  <a:lnTo>
                    <a:pt x="234" y="3250"/>
                  </a:lnTo>
                  <a:lnTo>
                    <a:pt x="238" y="3252"/>
                  </a:lnTo>
                  <a:lnTo>
                    <a:pt x="242" y="3254"/>
                  </a:lnTo>
                  <a:lnTo>
                    <a:pt x="242" y="3250"/>
                  </a:lnTo>
                  <a:lnTo>
                    <a:pt x="242" y="3246"/>
                  </a:lnTo>
                  <a:lnTo>
                    <a:pt x="244" y="3242"/>
                  </a:lnTo>
                  <a:close/>
                  <a:moveTo>
                    <a:pt x="302" y="2848"/>
                  </a:moveTo>
                  <a:lnTo>
                    <a:pt x="302" y="2848"/>
                  </a:lnTo>
                  <a:lnTo>
                    <a:pt x="300" y="2846"/>
                  </a:lnTo>
                  <a:lnTo>
                    <a:pt x="298" y="2846"/>
                  </a:lnTo>
                  <a:lnTo>
                    <a:pt x="296" y="2846"/>
                  </a:lnTo>
                  <a:lnTo>
                    <a:pt x="292" y="2846"/>
                  </a:lnTo>
                  <a:lnTo>
                    <a:pt x="288" y="2846"/>
                  </a:lnTo>
                  <a:lnTo>
                    <a:pt x="286" y="2848"/>
                  </a:lnTo>
                  <a:lnTo>
                    <a:pt x="288" y="2850"/>
                  </a:lnTo>
                  <a:lnTo>
                    <a:pt x="292" y="2854"/>
                  </a:lnTo>
                  <a:lnTo>
                    <a:pt x="294" y="2854"/>
                  </a:lnTo>
                  <a:lnTo>
                    <a:pt x="296" y="2854"/>
                  </a:lnTo>
                  <a:lnTo>
                    <a:pt x="300" y="2852"/>
                  </a:lnTo>
                  <a:lnTo>
                    <a:pt x="302" y="2850"/>
                  </a:lnTo>
                  <a:lnTo>
                    <a:pt x="302" y="2848"/>
                  </a:lnTo>
                  <a:close/>
                  <a:moveTo>
                    <a:pt x="302" y="2912"/>
                  </a:moveTo>
                  <a:lnTo>
                    <a:pt x="302" y="2912"/>
                  </a:lnTo>
                  <a:lnTo>
                    <a:pt x="304" y="2910"/>
                  </a:lnTo>
                  <a:lnTo>
                    <a:pt x="302" y="2906"/>
                  </a:lnTo>
                  <a:lnTo>
                    <a:pt x="300" y="2904"/>
                  </a:lnTo>
                  <a:lnTo>
                    <a:pt x="298" y="2904"/>
                  </a:lnTo>
                  <a:lnTo>
                    <a:pt x="296" y="2906"/>
                  </a:lnTo>
                  <a:lnTo>
                    <a:pt x="298" y="2910"/>
                  </a:lnTo>
                  <a:lnTo>
                    <a:pt x="300" y="2912"/>
                  </a:lnTo>
                  <a:lnTo>
                    <a:pt x="302" y="2912"/>
                  </a:lnTo>
                  <a:close/>
                  <a:moveTo>
                    <a:pt x="306" y="2942"/>
                  </a:moveTo>
                  <a:lnTo>
                    <a:pt x="306" y="2942"/>
                  </a:lnTo>
                  <a:lnTo>
                    <a:pt x="304" y="2942"/>
                  </a:lnTo>
                  <a:lnTo>
                    <a:pt x="302" y="2948"/>
                  </a:lnTo>
                  <a:lnTo>
                    <a:pt x="302" y="2952"/>
                  </a:lnTo>
                  <a:lnTo>
                    <a:pt x="304" y="2958"/>
                  </a:lnTo>
                  <a:lnTo>
                    <a:pt x="306" y="2958"/>
                  </a:lnTo>
                  <a:lnTo>
                    <a:pt x="308" y="2958"/>
                  </a:lnTo>
                  <a:lnTo>
                    <a:pt x="308" y="2952"/>
                  </a:lnTo>
                  <a:lnTo>
                    <a:pt x="310" y="2944"/>
                  </a:lnTo>
                  <a:lnTo>
                    <a:pt x="308" y="2942"/>
                  </a:lnTo>
                  <a:lnTo>
                    <a:pt x="306" y="2942"/>
                  </a:lnTo>
                  <a:close/>
                  <a:moveTo>
                    <a:pt x="278" y="2958"/>
                  </a:moveTo>
                  <a:lnTo>
                    <a:pt x="278" y="2958"/>
                  </a:lnTo>
                  <a:lnTo>
                    <a:pt x="280" y="2956"/>
                  </a:lnTo>
                  <a:lnTo>
                    <a:pt x="284" y="2952"/>
                  </a:lnTo>
                  <a:lnTo>
                    <a:pt x="286" y="2950"/>
                  </a:lnTo>
                  <a:lnTo>
                    <a:pt x="284" y="2946"/>
                  </a:lnTo>
                  <a:lnTo>
                    <a:pt x="280" y="2942"/>
                  </a:lnTo>
                  <a:lnTo>
                    <a:pt x="276" y="2942"/>
                  </a:lnTo>
                  <a:lnTo>
                    <a:pt x="274" y="2944"/>
                  </a:lnTo>
                  <a:lnTo>
                    <a:pt x="272" y="2946"/>
                  </a:lnTo>
                  <a:lnTo>
                    <a:pt x="274" y="2950"/>
                  </a:lnTo>
                  <a:lnTo>
                    <a:pt x="274" y="2952"/>
                  </a:lnTo>
                  <a:lnTo>
                    <a:pt x="274" y="2956"/>
                  </a:lnTo>
                  <a:lnTo>
                    <a:pt x="274" y="2958"/>
                  </a:lnTo>
                  <a:lnTo>
                    <a:pt x="278" y="2958"/>
                  </a:lnTo>
                  <a:close/>
                  <a:moveTo>
                    <a:pt x="1872" y="956"/>
                  </a:moveTo>
                  <a:lnTo>
                    <a:pt x="1872" y="956"/>
                  </a:lnTo>
                  <a:lnTo>
                    <a:pt x="1868" y="926"/>
                  </a:lnTo>
                  <a:lnTo>
                    <a:pt x="1864" y="900"/>
                  </a:lnTo>
                  <a:lnTo>
                    <a:pt x="1862" y="888"/>
                  </a:lnTo>
                  <a:lnTo>
                    <a:pt x="1858" y="876"/>
                  </a:lnTo>
                  <a:lnTo>
                    <a:pt x="1852" y="868"/>
                  </a:lnTo>
                  <a:lnTo>
                    <a:pt x="1844" y="858"/>
                  </a:lnTo>
                  <a:lnTo>
                    <a:pt x="1836" y="852"/>
                  </a:lnTo>
                  <a:lnTo>
                    <a:pt x="1830" y="850"/>
                  </a:lnTo>
                  <a:lnTo>
                    <a:pt x="1824" y="850"/>
                  </a:lnTo>
                  <a:lnTo>
                    <a:pt x="1816" y="850"/>
                  </a:lnTo>
                  <a:lnTo>
                    <a:pt x="1810" y="852"/>
                  </a:lnTo>
                  <a:lnTo>
                    <a:pt x="1800" y="850"/>
                  </a:lnTo>
                  <a:lnTo>
                    <a:pt x="1788" y="846"/>
                  </a:lnTo>
                  <a:lnTo>
                    <a:pt x="1774" y="838"/>
                  </a:lnTo>
                  <a:lnTo>
                    <a:pt x="1760" y="828"/>
                  </a:lnTo>
                  <a:lnTo>
                    <a:pt x="1750" y="820"/>
                  </a:lnTo>
                  <a:lnTo>
                    <a:pt x="1744" y="814"/>
                  </a:lnTo>
                  <a:lnTo>
                    <a:pt x="1740" y="808"/>
                  </a:lnTo>
                  <a:lnTo>
                    <a:pt x="1734" y="796"/>
                  </a:lnTo>
                  <a:lnTo>
                    <a:pt x="1728" y="788"/>
                  </a:lnTo>
                  <a:lnTo>
                    <a:pt x="1718" y="780"/>
                  </a:lnTo>
                  <a:lnTo>
                    <a:pt x="1698" y="762"/>
                  </a:lnTo>
                  <a:lnTo>
                    <a:pt x="1688" y="754"/>
                  </a:lnTo>
                  <a:lnTo>
                    <a:pt x="1680" y="748"/>
                  </a:lnTo>
                  <a:lnTo>
                    <a:pt x="1670" y="742"/>
                  </a:lnTo>
                  <a:lnTo>
                    <a:pt x="1660" y="740"/>
                  </a:lnTo>
                  <a:lnTo>
                    <a:pt x="1646" y="740"/>
                  </a:lnTo>
                  <a:lnTo>
                    <a:pt x="1632" y="740"/>
                  </a:lnTo>
                  <a:lnTo>
                    <a:pt x="1618" y="742"/>
                  </a:lnTo>
                  <a:lnTo>
                    <a:pt x="1602" y="742"/>
                  </a:lnTo>
                  <a:lnTo>
                    <a:pt x="1590" y="742"/>
                  </a:lnTo>
                  <a:lnTo>
                    <a:pt x="1578" y="738"/>
                  </a:lnTo>
                  <a:lnTo>
                    <a:pt x="1556" y="732"/>
                  </a:lnTo>
                  <a:lnTo>
                    <a:pt x="1536" y="722"/>
                  </a:lnTo>
                  <a:lnTo>
                    <a:pt x="1530" y="722"/>
                  </a:lnTo>
                  <a:lnTo>
                    <a:pt x="1526" y="722"/>
                  </a:lnTo>
                  <a:lnTo>
                    <a:pt x="1516" y="724"/>
                  </a:lnTo>
                  <a:lnTo>
                    <a:pt x="1508" y="730"/>
                  </a:lnTo>
                  <a:lnTo>
                    <a:pt x="1500" y="738"/>
                  </a:lnTo>
                  <a:lnTo>
                    <a:pt x="1488" y="750"/>
                  </a:lnTo>
                  <a:lnTo>
                    <a:pt x="1482" y="754"/>
                  </a:lnTo>
                  <a:lnTo>
                    <a:pt x="1480" y="752"/>
                  </a:lnTo>
                  <a:lnTo>
                    <a:pt x="1478" y="748"/>
                  </a:lnTo>
                  <a:lnTo>
                    <a:pt x="1478" y="742"/>
                  </a:lnTo>
                  <a:lnTo>
                    <a:pt x="1482" y="728"/>
                  </a:lnTo>
                  <a:lnTo>
                    <a:pt x="1486" y="716"/>
                  </a:lnTo>
                  <a:lnTo>
                    <a:pt x="1488" y="712"/>
                  </a:lnTo>
                  <a:lnTo>
                    <a:pt x="1486" y="708"/>
                  </a:lnTo>
                  <a:lnTo>
                    <a:pt x="1482" y="702"/>
                  </a:lnTo>
                  <a:lnTo>
                    <a:pt x="1480" y="698"/>
                  </a:lnTo>
                  <a:lnTo>
                    <a:pt x="1478" y="688"/>
                  </a:lnTo>
                  <a:lnTo>
                    <a:pt x="1476" y="684"/>
                  </a:lnTo>
                  <a:lnTo>
                    <a:pt x="1470" y="680"/>
                  </a:lnTo>
                  <a:lnTo>
                    <a:pt x="1464" y="678"/>
                  </a:lnTo>
                  <a:lnTo>
                    <a:pt x="1454" y="674"/>
                  </a:lnTo>
                  <a:lnTo>
                    <a:pt x="1444" y="670"/>
                  </a:lnTo>
                  <a:lnTo>
                    <a:pt x="1438" y="668"/>
                  </a:lnTo>
                  <a:lnTo>
                    <a:pt x="1428" y="658"/>
                  </a:lnTo>
                  <a:lnTo>
                    <a:pt x="1420" y="652"/>
                  </a:lnTo>
                  <a:lnTo>
                    <a:pt x="1416" y="650"/>
                  </a:lnTo>
                  <a:lnTo>
                    <a:pt x="1410" y="650"/>
                  </a:lnTo>
                  <a:lnTo>
                    <a:pt x="1400" y="648"/>
                  </a:lnTo>
                  <a:lnTo>
                    <a:pt x="1392" y="644"/>
                  </a:lnTo>
                  <a:lnTo>
                    <a:pt x="1382" y="640"/>
                  </a:lnTo>
                  <a:lnTo>
                    <a:pt x="1362" y="638"/>
                  </a:lnTo>
                  <a:lnTo>
                    <a:pt x="1354" y="638"/>
                  </a:lnTo>
                  <a:lnTo>
                    <a:pt x="1348" y="640"/>
                  </a:lnTo>
                  <a:lnTo>
                    <a:pt x="1340" y="644"/>
                  </a:lnTo>
                  <a:lnTo>
                    <a:pt x="1332" y="654"/>
                  </a:lnTo>
                  <a:lnTo>
                    <a:pt x="1326" y="662"/>
                  </a:lnTo>
                  <a:lnTo>
                    <a:pt x="1318" y="676"/>
                  </a:lnTo>
                  <a:lnTo>
                    <a:pt x="1314" y="678"/>
                  </a:lnTo>
                  <a:lnTo>
                    <a:pt x="1312" y="674"/>
                  </a:lnTo>
                  <a:lnTo>
                    <a:pt x="1310" y="666"/>
                  </a:lnTo>
                  <a:lnTo>
                    <a:pt x="1314" y="658"/>
                  </a:lnTo>
                  <a:lnTo>
                    <a:pt x="1322" y="642"/>
                  </a:lnTo>
                  <a:lnTo>
                    <a:pt x="1326" y="634"/>
                  </a:lnTo>
                  <a:lnTo>
                    <a:pt x="1326" y="628"/>
                  </a:lnTo>
                  <a:lnTo>
                    <a:pt x="1326" y="626"/>
                  </a:lnTo>
                  <a:lnTo>
                    <a:pt x="1322" y="622"/>
                  </a:lnTo>
                  <a:lnTo>
                    <a:pt x="1314" y="618"/>
                  </a:lnTo>
                  <a:lnTo>
                    <a:pt x="1296" y="614"/>
                  </a:lnTo>
                  <a:lnTo>
                    <a:pt x="1288" y="614"/>
                  </a:lnTo>
                  <a:lnTo>
                    <a:pt x="1278" y="616"/>
                  </a:lnTo>
                  <a:lnTo>
                    <a:pt x="1256" y="612"/>
                  </a:lnTo>
                  <a:lnTo>
                    <a:pt x="1246" y="612"/>
                  </a:lnTo>
                  <a:lnTo>
                    <a:pt x="1240" y="614"/>
                  </a:lnTo>
                  <a:lnTo>
                    <a:pt x="1234" y="620"/>
                  </a:lnTo>
                  <a:lnTo>
                    <a:pt x="1230" y="626"/>
                  </a:lnTo>
                  <a:lnTo>
                    <a:pt x="1230" y="634"/>
                  </a:lnTo>
                  <a:lnTo>
                    <a:pt x="1228" y="642"/>
                  </a:lnTo>
                  <a:lnTo>
                    <a:pt x="1228" y="656"/>
                  </a:lnTo>
                  <a:lnTo>
                    <a:pt x="1226" y="652"/>
                  </a:lnTo>
                  <a:lnTo>
                    <a:pt x="1222" y="652"/>
                  </a:lnTo>
                  <a:lnTo>
                    <a:pt x="1216" y="658"/>
                  </a:lnTo>
                  <a:lnTo>
                    <a:pt x="1214" y="660"/>
                  </a:lnTo>
                  <a:lnTo>
                    <a:pt x="1212" y="660"/>
                  </a:lnTo>
                  <a:lnTo>
                    <a:pt x="1212" y="658"/>
                  </a:lnTo>
                  <a:lnTo>
                    <a:pt x="1214" y="650"/>
                  </a:lnTo>
                  <a:lnTo>
                    <a:pt x="1216" y="642"/>
                  </a:lnTo>
                  <a:lnTo>
                    <a:pt x="1214" y="638"/>
                  </a:lnTo>
                  <a:lnTo>
                    <a:pt x="1210" y="636"/>
                  </a:lnTo>
                  <a:lnTo>
                    <a:pt x="1206" y="638"/>
                  </a:lnTo>
                  <a:lnTo>
                    <a:pt x="1198" y="640"/>
                  </a:lnTo>
                  <a:lnTo>
                    <a:pt x="1198" y="636"/>
                  </a:lnTo>
                  <a:lnTo>
                    <a:pt x="1202" y="632"/>
                  </a:lnTo>
                  <a:lnTo>
                    <a:pt x="1202" y="628"/>
                  </a:lnTo>
                  <a:lnTo>
                    <a:pt x="1204" y="620"/>
                  </a:lnTo>
                  <a:lnTo>
                    <a:pt x="1204" y="616"/>
                  </a:lnTo>
                  <a:lnTo>
                    <a:pt x="1206" y="614"/>
                  </a:lnTo>
                  <a:lnTo>
                    <a:pt x="1210" y="610"/>
                  </a:lnTo>
                  <a:lnTo>
                    <a:pt x="1216" y="608"/>
                  </a:lnTo>
                  <a:lnTo>
                    <a:pt x="1224" y="604"/>
                  </a:lnTo>
                  <a:lnTo>
                    <a:pt x="1230" y="596"/>
                  </a:lnTo>
                  <a:lnTo>
                    <a:pt x="1240" y="582"/>
                  </a:lnTo>
                  <a:lnTo>
                    <a:pt x="1248" y="566"/>
                  </a:lnTo>
                  <a:lnTo>
                    <a:pt x="1254" y="560"/>
                  </a:lnTo>
                  <a:lnTo>
                    <a:pt x="1260" y="556"/>
                  </a:lnTo>
                  <a:lnTo>
                    <a:pt x="1264" y="554"/>
                  </a:lnTo>
                  <a:lnTo>
                    <a:pt x="1266" y="548"/>
                  </a:lnTo>
                  <a:lnTo>
                    <a:pt x="1266" y="542"/>
                  </a:lnTo>
                  <a:lnTo>
                    <a:pt x="1266" y="536"/>
                  </a:lnTo>
                  <a:lnTo>
                    <a:pt x="1264" y="528"/>
                  </a:lnTo>
                  <a:lnTo>
                    <a:pt x="1260" y="524"/>
                  </a:lnTo>
                  <a:lnTo>
                    <a:pt x="1256" y="520"/>
                  </a:lnTo>
                  <a:lnTo>
                    <a:pt x="1252" y="518"/>
                  </a:lnTo>
                  <a:lnTo>
                    <a:pt x="1244" y="518"/>
                  </a:lnTo>
                  <a:lnTo>
                    <a:pt x="1240" y="516"/>
                  </a:lnTo>
                  <a:lnTo>
                    <a:pt x="1238" y="514"/>
                  </a:lnTo>
                  <a:lnTo>
                    <a:pt x="1238" y="508"/>
                  </a:lnTo>
                  <a:lnTo>
                    <a:pt x="1236" y="504"/>
                  </a:lnTo>
                  <a:lnTo>
                    <a:pt x="1234" y="502"/>
                  </a:lnTo>
                  <a:lnTo>
                    <a:pt x="1234" y="500"/>
                  </a:lnTo>
                  <a:lnTo>
                    <a:pt x="1232" y="494"/>
                  </a:lnTo>
                  <a:lnTo>
                    <a:pt x="1232" y="490"/>
                  </a:lnTo>
                  <a:lnTo>
                    <a:pt x="1230" y="488"/>
                  </a:lnTo>
                  <a:lnTo>
                    <a:pt x="1228" y="484"/>
                  </a:lnTo>
                  <a:lnTo>
                    <a:pt x="1226" y="480"/>
                  </a:lnTo>
                  <a:lnTo>
                    <a:pt x="1226" y="476"/>
                  </a:lnTo>
                  <a:lnTo>
                    <a:pt x="1226" y="472"/>
                  </a:lnTo>
                  <a:lnTo>
                    <a:pt x="1222" y="466"/>
                  </a:lnTo>
                  <a:lnTo>
                    <a:pt x="1220" y="444"/>
                  </a:lnTo>
                  <a:lnTo>
                    <a:pt x="1218" y="422"/>
                  </a:lnTo>
                  <a:lnTo>
                    <a:pt x="1218" y="418"/>
                  </a:lnTo>
                  <a:lnTo>
                    <a:pt x="1216" y="416"/>
                  </a:lnTo>
                  <a:lnTo>
                    <a:pt x="1214" y="414"/>
                  </a:lnTo>
                  <a:lnTo>
                    <a:pt x="1212" y="410"/>
                  </a:lnTo>
                  <a:lnTo>
                    <a:pt x="1206" y="398"/>
                  </a:lnTo>
                  <a:lnTo>
                    <a:pt x="1202" y="392"/>
                  </a:lnTo>
                  <a:lnTo>
                    <a:pt x="1200" y="392"/>
                  </a:lnTo>
                  <a:lnTo>
                    <a:pt x="1198" y="394"/>
                  </a:lnTo>
                  <a:lnTo>
                    <a:pt x="1198" y="396"/>
                  </a:lnTo>
                  <a:lnTo>
                    <a:pt x="1196" y="402"/>
                  </a:lnTo>
                  <a:lnTo>
                    <a:pt x="1192" y="410"/>
                  </a:lnTo>
                  <a:lnTo>
                    <a:pt x="1192" y="406"/>
                  </a:lnTo>
                  <a:lnTo>
                    <a:pt x="1192" y="404"/>
                  </a:lnTo>
                  <a:lnTo>
                    <a:pt x="1192" y="400"/>
                  </a:lnTo>
                  <a:lnTo>
                    <a:pt x="1192" y="394"/>
                  </a:lnTo>
                  <a:lnTo>
                    <a:pt x="1188" y="380"/>
                  </a:lnTo>
                  <a:lnTo>
                    <a:pt x="1186" y="380"/>
                  </a:lnTo>
                  <a:lnTo>
                    <a:pt x="1184" y="382"/>
                  </a:lnTo>
                  <a:lnTo>
                    <a:pt x="1182" y="382"/>
                  </a:lnTo>
                  <a:lnTo>
                    <a:pt x="1180" y="380"/>
                  </a:lnTo>
                  <a:lnTo>
                    <a:pt x="1178" y="374"/>
                  </a:lnTo>
                  <a:lnTo>
                    <a:pt x="1174" y="372"/>
                  </a:lnTo>
                  <a:lnTo>
                    <a:pt x="1172" y="368"/>
                  </a:lnTo>
                  <a:lnTo>
                    <a:pt x="1166" y="364"/>
                  </a:lnTo>
                  <a:lnTo>
                    <a:pt x="1158" y="360"/>
                  </a:lnTo>
                  <a:lnTo>
                    <a:pt x="1154" y="356"/>
                  </a:lnTo>
                  <a:lnTo>
                    <a:pt x="1150" y="350"/>
                  </a:lnTo>
                  <a:lnTo>
                    <a:pt x="1148" y="346"/>
                  </a:lnTo>
                  <a:lnTo>
                    <a:pt x="1144" y="342"/>
                  </a:lnTo>
                  <a:lnTo>
                    <a:pt x="1136" y="338"/>
                  </a:lnTo>
                  <a:lnTo>
                    <a:pt x="1126" y="334"/>
                  </a:lnTo>
                  <a:lnTo>
                    <a:pt x="1114" y="330"/>
                  </a:lnTo>
                  <a:lnTo>
                    <a:pt x="1102" y="324"/>
                  </a:lnTo>
                  <a:lnTo>
                    <a:pt x="1072" y="316"/>
                  </a:lnTo>
                  <a:lnTo>
                    <a:pt x="1060" y="314"/>
                  </a:lnTo>
                  <a:lnTo>
                    <a:pt x="1056" y="314"/>
                  </a:lnTo>
                  <a:lnTo>
                    <a:pt x="1054" y="316"/>
                  </a:lnTo>
                  <a:lnTo>
                    <a:pt x="1048" y="316"/>
                  </a:lnTo>
                  <a:lnTo>
                    <a:pt x="1038" y="314"/>
                  </a:lnTo>
                  <a:lnTo>
                    <a:pt x="1026" y="314"/>
                  </a:lnTo>
                  <a:lnTo>
                    <a:pt x="1024" y="316"/>
                  </a:lnTo>
                  <a:lnTo>
                    <a:pt x="1022" y="318"/>
                  </a:lnTo>
                  <a:lnTo>
                    <a:pt x="1022" y="322"/>
                  </a:lnTo>
                  <a:lnTo>
                    <a:pt x="1018" y="322"/>
                  </a:lnTo>
                  <a:lnTo>
                    <a:pt x="1006" y="318"/>
                  </a:lnTo>
                  <a:lnTo>
                    <a:pt x="998" y="316"/>
                  </a:lnTo>
                  <a:lnTo>
                    <a:pt x="990" y="314"/>
                  </a:lnTo>
                  <a:lnTo>
                    <a:pt x="982" y="316"/>
                  </a:lnTo>
                  <a:lnTo>
                    <a:pt x="974" y="318"/>
                  </a:lnTo>
                  <a:lnTo>
                    <a:pt x="972" y="316"/>
                  </a:lnTo>
                  <a:lnTo>
                    <a:pt x="972" y="314"/>
                  </a:lnTo>
                  <a:lnTo>
                    <a:pt x="968" y="308"/>
                  </a:lnTo>
                  <a:lnTo>
                    <a:pt x="966" y="302"/>
                  </a:lnTo>
                  <a:lnTo>
                    <a:pt x="964" y="300"/>
                  </a:lnTo>
                  <a:lnTo>
                    <a:pt x="962" y="298"/>
                  </a:lnTo>
                  <a:lnTo>
                    <a:pt x="958" y="296"/>
                  </a:lnTo>
                  <a:lnTo>
                    <a:pt x="956" y="294"/>
                  </a:lnTo>
                  <a:lnTo>
                    <a:pt x="954" y="288"/>
                  </a:lnTo>
                  <a:lnTo>
                    <a:pt x="952" y="284"/>
                  </a:lnTo>
                  <a:lnTo>
                    <a:pt x="948" y="280"/>
                  </a:lnTo>
                  <a:lnTo>
                    <a:pt x="942" y="276"/>
                  </a:lnTo>
                  <a:lnTo>
                    <a:pt x="934" y="274"/>
                  </a:lnTo>
                  <a:lnTo>
                    <a:pt x="920" y="270"/>
                  </a:lnTo>
                  <a:lnTo>
                    <a:pt x="916" y="268"/>
                  </a:lnTo>
                  <a:lnTo>
                    <a:pt x="916" y="264"/>
                  </a:lnTo>
                  <a:lnTo>
                    <a:pt x="918" y="254"/>
                  </a:lnTo>
                  <a:lnTo>
                    <a:pt x="918" y="248"/>
                  </a:lnTo>
                  <a:lnTo>
                    <a:pt x="918" y="242"/>
                  </a:lnTo>
                  <a:lnTo>
                    <a:pt x="914" y="234"/>
                  </a:lnTo>
                  <a:lnTo>
                    <a:pt x="908" y="228"/>
                  </a:lnTo>
                  <a:lnTo>
                    <a:pt x="892" y="214"/>
                  </a:lnTo>
                  <a:lnTo>
                    <a:pt x="868" y="198"/>
                  </a:lnTo>
                  <a:lnTo>
                    <a:pt x="862" y="192"/>
                  </a:lnTo>
                  <a:lnTo>
                    <a:pt x="852" y="188"/>
                  </a:lnTo>
                  <a:lnTo>
                    <a:pt x="840" y="188"/>
                  </a:lnTo>
                  <a:lnTo>
                    <a:pt x="830" y="188"/>
                  </a:lnTo>
                  <a:lnTo>
                    <a:pt x="818" y="190"/>
                  </a:lnTo>
                  <a:lnTo>
                    <a:pt x="804" y="194"/>
                  </a:lnTo>
                  <a:lnTo>
                    <a:pt x="802" y="192"/>
                  </a:lnTo>
                  <a:lnTo>
                    <a:pt x="804" y="190"/>
                  </a:lnTo>
                  <a:lnTo>
                    <a:pt x="808" y="184"/>
                  </a:lnTo>
                  <a:lnTo>
                    <a:pt x="810" y="180"/>
                  </a:lnTo>
                  <a:lnTo>
                    <a:pt x="812" y="172"/>
                  </a:lnTo>
                  <a:lnTo>
                    <a:pt x="814" y="164"/>
                  </a:lnTo>
                  <a:lnTo>
                    <a:pt x="816" y="160"/>
                  </a:lnTo>
                  <a:lnTo>
                    <a:pt x="822" y="156"/>
                  </a:lnTo>
                  <a:lnTo>
                    <a:pt x="826" y="152"/>
                  </a:lnTo>
                  <a:lnTo>
                    <a:pt x="826" y="150"/>
                  </a:lnTo>
                  <a:lnTo>
                    <a:pt x="826" y="148"/>
                  </a:lnTo>
                  <a:lnTo>
                    <a:pt x="822" y="146"/>
                  </a:lnTo>
                  <a:lnTo>
                    <a:pt x="814" y="142"/>
                  </a:lnTo>
                  <a:lnTo>
                    <a:pt x="810" y="138"/>
                  </a:lnTo>
                  <a:lnTo>
                    <a:pt x="808" y="134"/>
                  </a:lnTo>
                  <a:lnTo>
                    <a:pt x="804" y="130"/>
                  </a:lnTo>
                  <a:lnTo>
                    <a:pt x="800" y="128"/>
                  </a:lnTo>
                  <a:lnTo>
                    <a:pt x="792" y="128"/>
                  </a:lnTo>
                  <a:lnTo>
                    <a:pt x="784" y="126"/>
                  </a:lnTo>
                  <a:lnTo>
                    <a:pt x="780" y="124"/>
                  </a:lnTo>
                  <a:lnTo>
                    <a:pt x="778" y="122"/>
                  </a:lnTo>
                  <a:lnTo>
                    <a:pt x="772" y="116"/>
                  </a:lnTo>
                  <a:lnTo>
                    <a:pt x="766" y="112"/>
                  </a:lnTo>
                  <a:lnTo>
                    <a:pt x="752" y="104"/>
                  </a:lnTo>
                  <a:lnTo>
                    <a:pt x="746" y="100"/>
                  </a:lnTo>
                  <a:lnTo>
                    <a:pt x="744" y="98"/>
                  </a:lnTo>
                  <a:lnTo>
                    <a:pt x="748" y="94"/>
                  </a:lnTo>
                  <a:lnTo>
                    <a:pt x="756" y="92"/>
                  </a:lnTo>
                  <a:lnTo>
                    <a:pt x="772" y="88"/>
                  </a:lnTo>
                  <a:lnTo>
                    <a:pt x="782" y="84"/>
                  </a:lnTo>
                  <a:lnTo>
                    <a:pt x="782" y="82"/>
                  </a:lnTo>
                  <a:lnTo>
                    <a:pt x="778" y="80"/>
                  </a:lnTo>
                  <a:lnTo>
                    <a:pt x="762" y="78"/>
                  </a:lnTo>
                  <a:lnTo>
                    <a:pt x="744" y="78"/>
                  </a:lnTo>
                  <a:lnTo>
                    <a:pt x="736" y="80"/>
                  </a:lnTo>
                  <a:lnTo>
                    <a:pt x="726" y="82"/>
                  </a:lnTo>
                  <a:lnTo>
                    <a:pt x="706" y="84"/>
                  </a:lnTo>
                  <a:lnTo>
                    <a:pt x="696" y="84"/>
                  </a:lnTo>
                  <a:lnTo>
                    <a:pt x="688" y="86"/>
                  </a:lnTo>
                  <a:lnTo>
                    <a:pt x="684" y="88"/>
                  </a:lnTo>
                  <a:lnTo>
                    <a:pt x="682" y="92"/>
                  </a:lnTo>
                  <a:lnTo>
                    <a:pt x="680" y="98"/>
                  </a:lnTo>
                  <a:lnTo>
                    <a:pt x="678" y="100"/>
                  </a:lnTo>
                  <a:lnTo>
                    <a:pt x="674" y="104"/>
                  </a:lnTo>
                  <a:lnTo>
                    <a:pt x="662" y="110"/>
                  </a:lnTo>
                  <a:lnTo>
                    <a:pt x="654" y="112"/>
                  </a:lnTo>
                  <a:lnTo>
                    <a:pt x="646" y="112"/>
                  </a:lnTo>
                  <a:lnTo>
                    <a:pt x="638" y="112"/>
                  </a:lnTo>
                  <a:lnTo>
                    <a:pt x="630" y="108"/>
                  </a:lnTo>
                  <a:lnTo>
                    <a:pt x="622" y="102"/>
                  </a:lnTo>
                  <a:lnTo>
                    <a:pt x="616" y="94"/>
                  </a:lnTo>
                  <a:lnTo>
                    <a:pt x="612" y="88"/>
                  </a:lnTo>
                  <a:lnTo>
                    <a:pt x="608" y="86"/>
                  </a:lnTo>
                  <a:lnTo>
                    <a:pt x="602" y="84"/>
                  </a:lnTo>
                  <a:lnTo>
                    <a:pt x="594" y="84"/>
                  </a:lnTo>
                  <a:lnTo>
                    <a:pt x="580" y="86"/>
                  </a:lnTo>
                  <a:lnTo>
                    <a:pt x="564" y="90"/>
                  </a:lnTo>
                  <a:lnTo>
                    <a:pt x="548" y="94"/>
                  </a:lnTo>
                  <a:lnTo>
                    <a:pt x="536" y="94"/>
                  </a:lnTo>
                  <a:lnTo>
                    <a:pt x="530" y="92"/>
                  </a:lnTo>
                  <a:lnTo>
                    <a:pt x="526" y="90"/>
                  </a:lnTo>
                  <a:lnTo>
                    <a:pt x="524" y="84"/>
                  </a:lnTo>
                  <a:lnTo>
                    <a:pt x="522" y="78"/>
                  </a:lnTo>
                  <a:lnTo>
                    <a:pt x="520" y="64"/>
                  </a:lnTo>
                  <a:lnTo>
                    <a:pt x="516" y="56"/>
                  </a:lnTo>
                  <a:lnTo>
                    <a:pt x="508" y="50"/>
                  </a:lnTo>
                  <a:lnTo>
                    <a:pt x="500" y="46"/>
                  </a:lnTo>
                  <a:lnTo>
                    <a:pt x="490" y="44"/>
                  </a:lnTo>
                  <a:lnTo>
                    <a:pt x="482" y="40"/>
                  </a:lnTo>
                  <a:lnTo>
                    <a:pt x="474" y="32"/>
                  </a:lnTo>
                  <a:lnTo>
                    <a:pt x="468" y="22"/>
                  </a:lnTo>
                  <a:lnTo>
                    <a:pt x="464" y="12"/>
                  </a:lnTo>
                  <a:lnTo>
                    <a:pt x="458" y="8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6"/>
                  </a:lnTo>
                  <a:lnTo>
                    <a:pt x="444" y="22"/>
                  </a:lnTo>
                  <a:lnTo>
                    <a:pt x="444" y="28"/>
                  </a:lnTo>
                  <a:lnTo>
                    <a:pt x="444" y="34"/>
                  </a:lnTo>
                  <a:lnTo>
                    <a:pt x="448" y="40"/>
                  </a:lnTo>
                  <a:lnTo>
                    <a:pt x="452" y="48"/>
                  </a:lnTo>
                  <a:lnTo>
                    <a:pt x="452" y="50"/>
                  </a:lnTo>
                  <a:lnTo>
                    <a:pt x="448" y="52"/>
                  </a:lnTo>
                  <a:lnTo>
                    <a:pt x="430" y="56"/>
                  </a:lnTo>
                  <a:lnTo>
                    <a:pt x="420" y="60"/>
                  </a:lnTo>
                  <a:lnTo>
                    <a:pt x="410" y="64"/>
                  </a:lnTo>
                  <a:lnTo>
                    <a:pt x="402" y="70"/>
                  </a:lnTo>
                  <a:lnTo>
                    <a:pt x="398" y="74"/>
                  </a:lnTo>
                  <a:lnTo>
                    <a:pt x="392" y="80"/>
                  </a:lnTo>
                  <a:lnTo>
                    <a:pt x="390" y="78"/>
                  </a:lnTo>
                  <a:lnTo>
                    <a:pt x="388" y="72"/>
                  </a:lnTo>
                  <a:lnTo>
                    <a:pt x="386" y="64"/>
                  </a:lnTo>
                  <a:lnTo>
                    <a:pt x="380" y="56"/>
                  </a:lnTo>
                  <a:lnTo>
                    <a:pt x="376" y="52"/>
                  </a:lnTo>
                  <a:lnTo>
                    <a:pt x="376" y="48"/>
                  </a:lnTo>
                  <a:lnTo>
                    <a:pt x="378" y="44"/>
                  </a:lnTo>
                  <a:lnTo>
                    <a:pt x="382" y="40"/>
                  </a:lnTo>
                  <a:lnTo>
                    <a:pt x="392" y="32"/>
                  </a:lnTo>
                  <a:lnTo>
                    <a:pt x="402" y="26"/>
                  </a:lnTo>
                  <a:lnTo>
                    <a:pt x="406" y="24"/>
                  </a:lnTo>
                  <a:lnTo>
                    <a:pt x="410" y="20"/>
                  </a:lnTo>
                  <a:lnTo>
                    <a:pt x="410" y="14"/>
                  </a:lnTo>
                  <a:lnTo>
                    <a:pt x="410" y="10"/>
                  </a:lnTo>
                  <a:lnTo>
                    <a:pt x="408" y="6"/>
                  </a:lnTo>
                  <a:lnTo>
                    <a:pt x="404" y="2"/>
                  </a:lnTo>
                  <a:lnTo>
                    <a:pt x="398" y="0"/>
                  </a:lnTo>
                  <a:lnTo>
                    <a:pt x="390" y="0"/>
                  </a:lnTo>
                  <a:lnTo>
                    <a:pt x="378" y="4"/>
                  </a:lnTo>
                  <a:lnTo>
                    <a:pt x="374" y="6"/>
                  </a:lnTo>
                  <a:lnTo>
                    <a:pt x="370" y="10"/>
                  </a:lnTo>
                  <a:lnTo>
                    <a:pt x="362" y="20"/>
                  </a:lnTo>
                  <a:lnTo>
                    <a:pt x="354" y="26"/>
                  </a:lnTo>
                  <a:lnTo>
                    <a:pt x="344" y="36"/>
                  </a:lnTo>
                  <a:lnTo>
                    <a:pt x="328" y="46"/>
                  </a:lnTo>
                  <a:lnTo>
                    <a:pt x="316" y="50"/>
                  </a:lnTo>
                  <a:lnTo>
                    <a:pt x="306" y="52"/>
                  </a:lnTo>
                  <a:lnTo>
                    <a:pt x="298" y="52"/>
                  </a:lnTo>
                  <a:lnTo>
                    <a:pt x="294" y="50"/>
                  </a:lnTo>
                  <a:lnTo>
                    <a:pt x="290" y="50"/>
                  </a:lnTo>
                  <a:lnTo>
                    <a:pt x="286" y="52"/>
                  </a:lnTo>
                  <a:lnTo>
                    <a:pt x="284" y="58"/>
                  </a:lnTo>
                  <a:lnTo>
                    <a:pt x="280" y="66"/>
                  </a:lnTo>
                  <a:lnTo>
                    <a:pt x="276" y="68"/>
                  </a:lnTo>
                  <a:lnTo>
                    <a:pt x="270" y="68"/>
                  </a:lnTo>
                  <a:lnTo>
                    <a:pt x="266" y="66"/>
                  </a:lnTo>
                  <a:lnTo>
                    <a:pt x="256" y="62"/>
                  </a:lnTo>
                  <a:lnTo>
                    <a:pt x="252" y="64"/>
                  </a:lnTo>
                  <a:lnTo>
                    <a:pt x="250" y="68"/>
                  </a:lnTo>
                  <a:lnTo>
                    <a:pt x="248" y="72"/>
                  </a:lnTo>
                  <a:lnTo>
                    <a:pt x="244" y="78"/>
                  </a:lnTo>
                  <a:lnTo>
                    <a:pt x="238" y="86"/>
                  </a:lnTo>
                  <a:lnTo>
                    <a:pt x="234" y="92"/>
                  </a:lnTo>
                  <a:lnTo>
                    <a:pt x="232" y="100"/>
                  </a:lnTo>
                  <a:lnTo>
                    <a:pt x="230" y="110"/>
                  </a:lnTo>
                  <a:lnTo>
                    <a:pt x="230" y="122"/>
                  </a:lnTo>
                  <a:lnTo>
                    <a:pt x="230" y="13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6"/>
                  </a:lnTo>
                  <a:lnTo>
                    <a:pt x="214" y="146"/>
                  </a:lnTo>
                  <a:lnTo>
                    <a:pt x="210" y="148"/>
                  </a:lnTo>
                  <a:lnTo>
                    <a:pt x="208" y="150"/>
                  </a:lnTo>
                  <a:lnTo>
                    <a:pt x="206" y="158"/>
                  </a:lnTo>
                  <a:lnTo>
                    <a:pt x="202" y="166"/>
                  </a:lnTo>
                  <a:lnTo>
                    <a:pt x="198" y="170"/>
                  </a:lnTo>
                  <a:lnTo>
                    <a:pt x="180" y="202"/>
                  </a:lnTo>
                  <a:lnTo>
                    <a:pt x="182" y="212"/>
                  </a:lnTo>
                  <a:lnTo>
                    <a:pt x="182" y="214"/>
                  </a:lnTo>
                  <a:lnTo>
                    <a:pt x="180" y="214"/>
                  </a:lnTo>
                  <a:lnTo>
                    <a:pt x="176" y="210"/>
                  </a:lnTo>
                  <a:lnTo>
                    <a:pt x="144" y="264"/>
                  </a:lnTo>
                  <a:lnTo>
                    <a:pt x="146" y="274"/>
                  </a:lnTo>
                  <a:lnTo>
                    <a:pt x="148" y="278"/>
                  </a:lnTo>
                  <a:lnTo>
                    <a:pt x="152" y="280"/>
                  </a:lnTo>
                  <a:lnTo>
                    <a:pt x="156" y="284"/>
                  </a:lnTo>
                  <a:lnTo>
                    <a:pt x="158" y="286"/>
                  </a:lnTo>
                  <a:lnTo>
                    <a:pt x="158" y="290"/>
                  </a:lnTo>
                  <a:lnTo>
                    <a:pt x="156" y="296"/>
                  </a:lnTo>
                  <a:lnTo>
                    <a:pt x="154" y="304"/>
                  </a:lnTo>
                  <a:lnTo>
                    <a:pt x="154" y="310"/>
                  </a:lnTo>
                  <a:lnTo>
                    <a:pt x="156" y="314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0" y="328"/>
                  </a:lnTo>
                  <a:lnTo>
                    <a:pt x="158" y="330"/>
                  </a:lnTo>
                  <a:lnTo>
                    <a:pt x="154" y="334"/>
                  </a:lnTo>
                  <a:lnTo>
                    <a:pt x="152" y="338"/>
                  </a:lnTo>
                  <a:lnTo>
                    <a:pt x="150" y="348"/>
                  </a:lnTo>
                  <a:lnTo>
                    <a:pt x="152" y="360"/>
                  </a:lnTo>
                  <a:lnTo>
                    <a:pt x="154" y="374"/>
                  </a:lnTo>
                  <a:lnTo>
                    <a:pt x="154" y="386"/>
                  </a:lnTo>
                  <a:lnTo>
                    <a:pt x="152" y="406"/>
                  </a:lnTo>
                  <a:lnTo>
                    <a:pt x="152" y="418"/>
                  </a:lnTo>
                  <a:lnTo>
                    <a:pt x="152" y="422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58" y="434"/>
                  </a:lnTo>
                  <a:lnTo>
                    <a:pt x="158" y="444"/>
                  </a:lnTo>
                  <a:lnTo>
                    <a:pt x="154" y="454"/>
                  </a:lnTo>
                  <a:lnTo>
                    <a:pt x="150" y="464"/>
                  </a:lnTo>
                  <a:lnTo>
                    <a:pt x="144" y="472"/>
                  </a:lnTo>
                  <a:lnTo>
                    <a:pt x="138" y="478"/>
                  </a:lnTo>
                  <a:lnTo>
                    <a:pt x="132" y="480"/>
                  </a:lnTo>
                  <a:lnTo>
                    <a:pt x="118" y="482"/>
                  </a:lnTo>
                  <a:lnTo>
                    <a:pt x="110" y="486"/>
                  </a:lnTo>
                  <a:lnTo>
                    <a:pt x="106" y="490"/>
                  </a:lnTo>
                  <a:lnTo>
                    <a:pt x="104" y="494"/>
                  </a:lnTo>
                  <a:lnTo>
                    <a:pt x="104" y="498"/>
                  </a:lnTo>
                  <a:lnTo>
                    <a:pt x="104" y="504"/>
                  </a:lnTo>
                  <a:lnTo>
                    <a:pt x="104" y="510"/>
                  </a:lnTo>
                  <a:lnTo>
                    <a:pt x="102" y="512"/>
                  </a:lnTo>
                  <a:lnTo>
                    <a:pt x="96" y="516"/>
                  </a:lnTo>
                  <a:lnTo>
                    <a:pt x="92" y="518"/>
                  </a:lnTo>
                  <a:lnTo>
                    <a:pt x="92" y="520"/>
                  </a:lnTo>
                  <a:lnTo>
                    <a:pt x="94" y="526"/>
                  </a:lnTo>
                  <a:lnTo>
                    <a:pt x="98" y="536"/>
                  </a:lnTo>
                  <a:lnTo>
                    <a:pt x="98" y="540"/>
                  </a:lnTo>
                  <a:lnTo>
                    <a:pt x="98" y="542"/>
                  </a:lnTo>
                  <a:lnTo>
                    <a:pt x="92" y="548"/>
                  </a:lnTo>
                  <a:lnTo>
                    <a:pt x="84" y="552"/>
                  </a:lnTo>
                  <a:lnTo>
                    <a:pt x="74" y="554"/>
                  </a:lnTo>
                  <a:lnTo>
                    <a:pt x="64" y="558"/>
                  </a:lnTo>
                  <a:lnTo>
                    <a:pt x="56" y="562"/>
                  </a:lnTo>
                  <a:lnTo>
                    <a:pt x="50" y="570"/>
                  </a:lnTo>
                  <a:lnTo>
                    <a:pt x="50" y="574"/>
                  </a:lnTo>
                  <a:lnTo>
                    <a:pt x="50" y="578"/>
                  </a:lnTo>
                  <a:lnTo>
                    <a:pt x="50" y="592"/>
                  </a:lnTo>
                  <a:lnTo>
                    <a:pt x="48" y="600"/>
                  </a:lnTo>
                  <a:lnTo>
                    <a:pt x="46" y="606"/>
                  </a:lnTo>
                  <a:lnTo>
                    <a:pt x="42" y="610"/>
                  </a:lnTo>
                  <a:lnTo>
                    <a:pt x="36" y="618"/>
                  </a:lnTo>
                  <a:lnTo>
                    <a:pt x="34" y="624"/>
                  </a:lnTo>
                  <a:lnTo>
                    <a:pt x="34" y="632"/>
                  </a:lnTo>
                  <a:lnTo>
                    <a:pt x="34" y="642"/>
                  </a:lnTo>
                  <a:lnTo>
                    <a:pt x="30" y="646"/>
                  </a:lnTo>
                  <a:lnTo>
                    <a:pt x="28" y="648"/>
                  </a:lnTo>
                  <a:lnTo>
                    <a:pt x="22" y="650"/>
                  </a:lnTo>
                  <a:lnTo>
                    <a:pt x="18" y="652"/>
                  </a:lnTo>
                  <a:lnTo>
                    <a:pt x="16" y="654"/>
                  </a:lnTo>
                  <a:lnTo>
                    <a:pt x="14" y="660"/>
                  </a:lnTo>
                  <a:lnTo>
                    <a:pt x="16" y="670"/>
                  </a:lnTo>
                  <a:lnTo>
                    <a:pt x="18" y="688"/>
                  </a:lnTo>
                  <a:lnTo>
                    <a:pt x="20" y="698"/>
                  </a:lnTo>
                  <a:lnTo>
                    <a:pt x="18" y="706"/>
                  </a:lnTo>
                  <a:lnTo>
                    <a:pt x="18" y="710"/>
                  </a:lnTo>
                  <a:lnTo>
                    <a:pt x="16" y="714"/>
                  </a:lnTo>
                  <a:lnTo>
                    <a:pt x="18" y="716"/>
                  </a:lnTo>
                  <a:lnTo>
                    <a:pt x="28" y="728"/>
                  </a:lnTo>
                  <a:lnTo>
                    <a:pt x="34" y="734"/>
                  </a:lnTo>
                  <a:lnTo>
                    <a:pt x="42" y="736"/>
                  </a:lnTo>
                  <a:lnTo>
                    <a:pt x="46" y="736"/>
                  </a:lnTo>
                  <a:lnTo>
                    <a:pt x="50" y="732"/>
                  </a:lnTo>
                  <a:lnTo>
                    <a:pt x="54" y="726"/>
                  </a:lnTo>
                  <a:lnTo>
                    <a:pt x="56" y="726"/>
                  </a:lnTo>
                  <a:lnTo>
                    <a:pt x="56" y="730"/>
                  </a:lnTo>
                  <a:lnTo>
                    <a:pt x="56" y="744"/>
                  </a:lnTo>
                  <a:lnTo>
                    <a:pt x="54" y="756"/>
                  </a:lnTo>
                  <a:lnTo>
                    <a:pt x="52" y="760"/>
                  </a:lnTo>
                  <a:lnTo>
                    <a:pt x="48" y="766"/>
                  </a:lnTo>
                  <a:lnTo>
                    <a:pt x="44" y="768"/>
                  </a:lnTo>
                  <a:lnTo>
                    <a:pt x="38" y="770"/>
                  </a:lnTo>
                  <a:lnTo>
                    <a:pt x="22" y="786"/>
                  </a:lnTo>
                  <a:lnTo>
                    <a:pt x="12" y="800"/>
                  </a:lnTo>
                  <a:lnTo>
                    <a:pt x="6" y="812"/>
                  </a:lnTo>
                  <a:lnTo>
                    <a:pt x="2" y="824"/>
                  </a:lnTo>
                  <a:lnTo>
                    <a:pt x="0" y="836"/>
                  </a:lnTo>
                  <a:lnTo>
                    <a:pt x="0" y="844"/>
                  </a:lnTo>
                  <a:lnTo>
                    <a:pt x="2" y="860"/>
                  </a:lnTo>
                  <a:lnTo>
                    <a:pt x="4" y="866"/>
                  </a:lnTo>
                  <a:lnTo>
                    <a:pt x="8" y="870"/>
                  </a:lnTo>
                  <a:lnTo>
                    <a:pt x="16" y="876"/>
                  </a:lnTo>
                  <a:lnTo>
                    <a:pt x="18" y="878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2" y="888"/>
                  </a:lnTo>
                  <a:lnTo>
                    <a:pt x="8" y="892"/>
                  </a:lnTo>
                  <a:lnTo>
                    <a:pt x="6" y="896"/>
                  </a:lnTo>
                  <a:lnTo>
                    <a:pt x="6" y="900"/>
                  </a:lnTo>
                  <a:lnTo>
                    <a:pt x="6" y="902"/>
                  </a:lnTo>
                  <a:lnTo>
                    <a:pt x="12" y="908"/>
                  </a:lnTo>
                  <a:lnTo>
                    <a:pt x="22" y="914"/>
                  </a:lnTo>
                  <a:lnTo>
                    <a:pt x="44" y="926"/>
                  </a:lnTo>
                  <a:lnTo>
                    <a:pt x="54" y="934"/>
                  </a:lnTo>
                  <a:lnTo>
                    <a:pt x="56" y="938"/>
                  </a:lnTo>
                  <a:lnTo>
                    <a:pt x="58" y="944"/>
                  </a:lnTo>
                  <a:lnTo>
                    <a:pt x="62" y="960"/>
                  </a:lnTo>
                  <a:lnTo>
                    <a:pt x="68" y="972"/>
                  </a:lnTo>
                  <a:lnTo>
                    <a:pt x="74" y="980"/>
                  </a:lnTo>
                  <a:lnTo>
                    <a:pt x="80" y="988"/>
                  </a:lnTo>
                  <a:lnTo>
                    <a:pt x="92" y="1004"/>
                  </a:lnTo>
                  <a:lnTo>
                    <a:pt x="96" y="1014"/>
                  </a:lnTo>
                  <a:lnTo>
                    <a:pt x="100" y="1026"/>
                  </a:lnTo>
                  <a:lnTo>
                    <a:pt x="104" y="1040"/>
                  </a:lnTo>
                  <a:lnTo>
                    <a:pt x="108" y="1056"/>
                  </a:lnTo>
                  <a:lnTo>
                    <a:pt x="122" y="1086"/>
                  </a:lnTo>
                  <a:lnTo>
                    <a:pt x="136" y="1114"/>
                  </a:lnTo>
                  <a:lnTo>
                    <a:pt x="142" y="1128"/>
                  </a:lnTo>
                  <a:lnTo>
                    <a:pt x="146" y="1142"/>
                  </a:lnTo>
                  <a:lnTo>
                    <a:pt x="148" y="1152"/>
                  </a:lnTo>
                  <a:lnTo>
                    <a:pt x="152" y="1160"/>
                  </a:lnTo>
                  <a:lnTo>
                    <a:pt x="158" y="1172"/>
                  </a:lnTo>
                  <a:lnTo>
                    <a:pt x="162" y="1180"/>
                  </a:lnTo>
                  <a:lnTo>
                    <a:pt x="164" y="1186"/>
                  </a:lnTo>
                  <a:lnTo>
                    <a:pt x="164" y="1194"/>
                  </a:lnTo>
                  <a:lnTo>
                    <a:pt x="166" y="1202"/>
                  </a:lnTo>
                  <a:lnTo>
                    <a:pt x="172" y="1210"/>
                  </a:lnTo>
                  <a:lnTo>
                    <a:pt x="184" y="1228"/>
                  </a:lnTo>
                  <a:lnTo>
                    <a:pt x="192" y="1238"/>
                  </a:lnTo>
                  <a:lnTo>
                    <a:pt x="198" y="1248"/>
                  </a:lnTo>
                  <a:lnTo>
                    <a:pt x="200" y="1260"/>
                  </a:lnTo>
                  <a:lnTo>
                    <a:pt x="200" y="1274"/>
                  </a:lnTo>
                  <a:lnTo>
                    <a:pt x="200" y="1286"/>
                  </a:lnTo>
                  <a:lnTo>
                    <a:pt x="204" y="1298"/>
                  </a:lnTo>
                  <a:lnTo>
                    <a:pt x="208" y="1308"/>
                  </a:lnTo>
                  <a:lnTo>
                    <a:pt x="214" y="1316"/>
                  </a:lnTo>
                  <a:lnTo>
                    <a:pt x="228" y="1330"/>
                  </a:lnTo>
                  <a:lnTo>
                    <a:pt x="234" y="1338"/>
                  </a:lnTo>
                  <a:lnTo>
                    <a:pt x="238" y="1344"/>
                  </a:lnTo>
                  <a:lnTo>
                    <a:pt x="246" y="1356"/>
                  </a:lnTo>
                  <a:lnTo>
                    <a:pt x="256" y="1368"/>
                  </a:lnTo>
                  <a:lnTo>
                    <a:pt x="278" y="1384"/>
                  </a:lnTo>
                  <a:lnTo>
                    <a:pt x="318" y="1406"/>
                  </a:lnTo>
                  <a:lnTo>
                    <a:pt x="358" y="1428"/>
                  </a:lnTo>
                  <a:lnTo>
                    <a:pt x="380" y="1442"/>
                  </a:lnTo>
                  <a:lnTo>
                    <a:pt x="388" y="1448"/>
                  </a:lnTo>
                  <a:lnTo>
                    <a:pt x="392" y="1454"/>
                  </a:lnTo>
                  <a:lnTo>
                    <a:pt x="396" y="1460"/>
                  </a:lnTo>
                  <a:lnTo>
                    <a:pt x="398" y="1468"/>
                  </a:lnTo>
                  <a:lnTo>
                    <a:pt x="400" y="1474"/>
                  </a:lnTo>
                  <a:lnTo>
                    <a:pt x="404" y="1480"/>
                  </a:lnTo>
                  <a:lnTo>
                    <a:pt x="408" y="1486"/>
                  </a:lnTo>
                  <a:lnTo>
                    <a:pt x="414" y="1490"/>
                  </a:lnTo>
                  <a:lnTo>
                    <a:pt x="426" y="1496"/>
                  </a:lnTo>
                  <a:lnTo>
                    <a:pt x="434" y="1500"/>
                  </a:lnTo>
                  <a:lnTo>
                    <a:pt x="440" y="1506"/>
                  </a:lnTo>
                  <a:lnTo>
                    <a:pt x="438" y="1532"/>
                  </a:lnTo>
                  <a:lnTo>
                    <a:pt x="440" y="1542"/>
                  </a:lnTo>
                  <a:lnTo>
                    <a:pt x="442" y="1546"/>
                  </a:lnTo>
                  <a:lnTo>
                    <a:pt x="442" y="1552"/>
                  </a:lnTo>
                  <a:lnTo>
                    <a:pt x="444" y="1564"/>
                  </a:lnTo>
                  <a:lnTo>
                    <a:pt x="446" y="1574"/>
                  </a:lnTo>
                  <a:lnTo>
                    <a:pt x="448" y="1586"/>
                  </a:lnTo>
                  <a:lnTo>
                    <a:pt x="448" y="1594"/>
                  </a:lnTo>
                  <a:lnTo>
                    <a:pt x="448" y="1604"/>
                  </a:lnTo>
                  <a:lnTo>
                    <a:pt x="446" y="1614"/>
                  </a:lnTo>
                  <a:lnTo>
                    <a:pt x="446" y="1624"/>
                  </a:lnTo>
                  <a:lnTo>
                    <a:pt x="450" y="1640"/>
                  </a:lnTo>
                  <a:lnTo>
                    <a:pt x="452" y="1658"/>
                  </a:lnTo>
                  <a:lnTo>
                    <a:pt x="452" y="1670"/>
                  </a:lnTo>
                  <a:lnTo>
                    <a:pt x="448" y="1686"/>
                  </a:lnTo>
                  <a:lnTo>
                    <a:pt x="444" y="1716"/>
                  </a:lnTo>
                  <a:lnTo>
                    <a:pt x="442" y="1732"/>
                  </a:lnTo>
                  <a:lnTo>
                    <a:pt x="440" y="1742"/>
                  </a:lnTo>
                  <a:lnTo>
                    <a:pt x="440" y="1744"/>
                  </a:lnTo>
                  <a:lnTo>
                    <a:pt x="438" y="1744"/>
                  </a:lnTo>
                  <a:lnTo>
                    <a:pt x="436" y="1744"/>
                  </a:lnTo>
                  <a:lnTo>
                    <a:pt x="434" y="1746"/>
                  </a:lnTo>
                  <a:lnTo>
                    <a:pt x="430" y="1752"/>
                  </a:lnTo>
                  <a:lnTo>
                    <a:pt x="430" y="1760"/>
                  </a:lnTo>
                  <a:lnTo>
                    <a:pt x="430" y="1762"/>
                  </a:lnTo>
                  <a:lnTo>
                    <a:pt x="434" y="1764"/>
                  </a:lnTo>
                  <a:lnTo>
                    <a:pt x="436" y="1768"/>
                  </a:lnTo>
                  <a:lnTo>
                    <a:pt x="436" y="1772"/>
                  </a:lnTo>
                  <a:lnTo>
                    <a:pt x="434" y="1788"/>
                  </a:lnTo>
                  <a:lnTo>
                    <a:pt x="430" y="1808"/>
                  </a:lnTo>
                  <a:lnTo>
                    <a:pt x="432" y="1820"/>
                  </a:lnTo>
                  <a:lnTo>
                    <a:pt x="434" y="1834"/>
                  </a:lnTo>
                  <a:lnTo>
                    <a:pt x="436" y="1846"/>
                  </a:lnTo>
                  <a:lnTo>
                    <a:pt x="436" y="1856"/>
                  </a:lnTo>
                  <a:lnTo>
                    <a:pt x="434" y="1864"/>
                  </a:lnTo>
                  <a:lnTo>
                    <a:pt x="432" y="1870"/>
                  </a:lnTo>
                  <a:lnTo>
                    <a:pt x="428" y="1882"/>
                  </a:lnTo>
                  <a:lnTo>
                    <a:pt x="428" y="1888"/>
                  </a:lnTo>
                  <a:lnTo>
                    <a:pt x="430" y="1894"/>
                  </a:lnTo>
                  <a:lnTo>
                    <a:pt x="432" y="1900"/>
                  </a:lnTo>
                  <a:lnTo>
                    <a:pt x="430" y="1908"/>
                  </a:lnTo>
                  <a:lnTo>
                    <a:pt x="424" y="1928"/>
                  </a:lnTo>
                  <a:lnTo>
                    <a:pt x="418" y="1946"/>
                  </a:lnTo>
                  <a:lnTo>
                    <a:pt x="416" y="1956"/>
                  </a:lnTo>
                  <a:lnTo>
                    <a:pt x="416" y="1964"/>
                  </a:lnTo>
                  <a:lnTo>
                    <a:pt x="416" y="1974"/>
                  </a:lnTo>
                  <a:lnTo>
                    <a:pt x="414" y="1978"/>
                  </a:lnTo>
                  <a:lnTo>
                    <a:pt x="410" y="1986"/>
                  </a:lnTo>
                  <a:lnTo>
                    <a:pt x="408" y="2004"/>
                  </a:lnTo>
                  <a:lnTo>
                    <a:pt x="408" y="2016"/>
                  </a:lnTo>
                  <a:lnTo>
                    <a:pt x="404" y="2024"/>
                  </a:lnTo>
                  <a:lnTo>
                    <a:pt x="400" y="2030"/>
                  </a:lnTo>
                  <a:lnTo>
                    <a:pt x="398" y="2036"/>
                  </a:lnTo>
                  <a:lnTo>
                    <a:pt x="394" y="2040"/>
                  </a:lnTo>
                  <a:lnTo>
                    <a:pt x="392" y="2044"/>
                  </a:lnTo>
                  <a:lnTo>
                    <a:pt x="392" y="2048"/>
                  </a:lnTo>
                  <a:lnTo>
                    <a:pt x="394" y="2056"/>
                  </a:lnTo>
                  <a:lnTo>
                    <a:pt x="400" y="2072"/>
                  </a:lnTo>
                  <a:lnTo>
                    <a:pt x="402" y="2086"/>
                  </a:lnTo>
                  <a:lnTo>
                    <a:pt x="402" y="2098"/>
                  </a:lnTo>
                  <a:lnTo>
                    <a:pt x="400" y="2104"/>
                  </a:lnTo>
                  <a:lnTo>
                    <a:pt x="398" y="2108"/>
                  </a:lnTo>
                  <a:lnTo>
                    <a:pt x="390" y="2116"/>
                  </a:lnTo>
                  <a:lnTo>
                    <a:pt x="386" y="2124"/>
                  </a:lnTo>
                  <a:lnTo>
                    <a:pt x="384" y="2130"/>
                  </a:lnTo>
                  <a:lnTo>
                    <a:pt x="384" y="2138"/>
                  </a:lnTo>
                  <a:lnTo>
                    <a:pt x="388" y="2162"/>
                  </a:lnTo>
                  <a:lnTo>
                    <a:pt x="392" y="2186"/>
                  </a:lnTo>
                  <a:lnTo>
                    <a:pt x="392" y="2200"/>
                  </a:lnTo>
                  <a:lnTo>
                    <a:pt x="392" y="2212"/>
                  </a:lnTo>
                  <a:lnTo>
                    <a:pt x="396" y="2224"/>
                  </a:lnTo>
                  <a:lnTo>
                    <a:pt x="398" y="2230"/>
                  </a:lnTo>
                  <a:lnTo>
                    <a:pt x="398" y="2236"/>
                  </a:lnTo>
                  <a:lnTo>
                    <a:pt x="392" y="2248"/>
                  </a:lnTo>
                  <a:lnTo>
                    <a:pt x="386" y="2262"/>
                  </a:lnTo>
                  <a:lnTo>
                    <a:pt x="386" y="2270"/>
                  </a:lnTo>
                  <a:lnTo>
                    <a:pt x="386" y="2280"/>
                  </a:lnTo>
                  <a:lnTo>
                    <a:pt x="388" y="2288"/>
                  </a:lnTo>
                  <a:lnTo>
                    <a:pt x="388" y="2292"/>
                  </a:lnTo>
                  <a:lnTo>
                    <a:pt x="386" y="2294"/>
                  </a:lnTo>
                  <a:lnTo>
                    <a:pt x="384" y="2298"/>
                  </a:lnTo>
                  <a:lnTo>
                    <a:pt x="380" y="2300"/>
                  </a:lnTo>
                  <a:lnTo>
                    <a:pt x="378" y="2306"/>
                  </a:lnTo>
                  <a:lnTo>
                    <a:pt x="376" y="2314"/>
                  </a:lnTo>
                  <a:lnTo>
                    <a:pt x="374" y="2328"/>
                  </a:lnTo>
                  <a:lnTo>
                    <a:pt x="372" y="2342"/>
                  </a:lnTo>
                  <a:lnTo>
                    <a:pt x="370" y="2354"/>
                  </a:lnTo>
                  <a:lnTo>
                    <a:pt x="362" y="2376"/>
                  </a:lnTo>
                  <a:lnTo>
                    <a:pt x="354" y="2390"/>
                  </a:lnTo>
                  <a:lnTo>
                    <a:pt x="350" y="2402"/>
                  </a:lnTo>
                  <a:lnTo>
                    <a:pt x="348" y="2412"/>
                  </a:lnTo>
                  <a:lnTo>
                    <a:pt x="344" y="2414"/>
                  </a:lnTo>
                  <a:lnTo>
                    <a:pt x="342" y="2420"/>
                  </a:lnTo>
                  <a:lnTo>
                    <a:pt x="338" y="2434"/>
                  </a:lnTo>
                  <a:lnTo>
                    <a:pt x="336" y="2446"/>
                  </a:lnTo>
                  <a:lnTo>
                    <a:pt x="334" y="2452"/>
                  </a:lnTo>
                  <a:lnTo>
                    <a:pt x="334" y="2454"/>
                  </a:lnTo>
                  <a:lnTo>
                    <a:pt x="332" y="2454"/>
                  </a:lnTo>
                  <a:lnTo>
                    <a:pt x="330" y="2452"/>
                  </a:lnTo>
                  <a:lnTo>
                    <a:pt x="328" y="2462"/>
                  </a:lnTo>
                  <a:lnTo>
                    <a:pt x="326" y="2474"/>
                  </a:lnTo>
                  <a:lnTo>
                    <a:pt x="324" y="2480"/>
                  </a:lnTo>
                  <a:lnTo>
                    <a:pt x="320" y="2482"/>
                  </a:lnTo>
                  <a:lnTo>
                    <a:pt x="318" y="2482"/>
                  </a:lnTo>
                  <a:lnTo>
                    <a:pt x="310" y="2480"/>
                  </a:lnTo>
                  <a:lnTo>
                    <a:pt x="308" y="2482"/>
                  </a:lnTo>
                  <a:lnTo>
                    <a:pt x="306" y="2486"/>
                  </a:lnTo>
                  <a:lnTo>
                    <a:pt x="306" y="2498"/>
                  </a:lnTo>
                  <a:lnTo>
                    <a:pt x="306" y="2506"/>
                  </a:lnTo>
                  <a:lnTo>
                    <a:pt x="310" y="2514"/>
                  </a:lnTo>
                  <a:lnTo>
                    <a:pt x="314" y="2522"/>
                  </a:lnTo>
                  <a:lnTo>
                    <a:pt x="314" y="2530"/>
                  </a:lnTo>
                  <a:lnTo>
                    <a:pt x="314" y="2540"/>
                  </a:lnTo>
                  <a:lnTo>
                    <a:pt x="312" y="2552"/>
                  </a:lnTo>
                  <a:lnTo>
                    <a:pt x="314" y="2560"/>
                  </a:lnTo>
                  <a:lnTo>
                    <a:pt x="318" y="2572"/>
                  </a:lnTo>
                  <a:lnTo>
                    <a:pt x="320" y="2576"/>
                  </a:lnTo>
                  <a:lnTo>
                    <a:pt x="322" y="2584"/>
                  </a:lnTo>
                  <a:lnTo>
                    <a:pt x="324" y="2594"/>
                  </a:lnTo>
                  <a:lnTo>
                    <a:pt x="322" y="2606"/>
                  </a:lnTo>
                  <a:lnTo>
                    <a:pt x="320" y="2618"/>
                  </a:lnTo>
                  <a:lnTo>
                    <a:pt x="316" y="2624"/>
                  </a:lnTo>
                  <a:lnTo>
                    <a:pt x="314" y="2626"/>
                  </a:lnTo>
                  <a:lnTo>
                    <a:pt x="310" y="2626"/>
                  </a:lnTo>
                  <a:lnTo>
                    <a:pt x="308" y="2626"/>
                  </a:lnTo>
                  <a:lnTo>
                    <a:pt x="306" y="2628"/>
                  </a:lnTo>
                  <a:lnTo>
                    <a:pt x="304" y="2632"/>
                  </a:lnTo>
                  <a:lnTo>
                    <a:pt x="304" y="2642"/>
                  </a:lnTo>
                  <a:lnTo>
                    <a:pt x="302" y="2658"/>
                  </a:lnTo>
                  <a:lnTo>
                    <a:pt x="298" y="2670"/>
                  </a:lnTo>
                  <a:lnTo>
                    <a:pt x="294" y="2686"/>
                  </a:lnTo>
                  <a:lnTo>
                    <a:pt x="292" y="2692"/>
                  </a:lnTo>
                  <a:lnTo>
                    <a:pt x="292" y="2696"/>
                  </a:lnTo>
                  <a:lnTo>
                    <a:pt x="294" y="2704"/>
                  </a:lnTo>
                  <a:lnTo>
                    <a:pt x="298" y="2712"/>
                  </a:lnTo>
                  <a:lnTo>
                    <a:pt x="302" y="2722"/>
                  </a:lnTo>
                  <a:lnTo>
                    <a:pt x="308" y="2728"/>
                  </a:lnTo>
                  <a:lnTo>
                    <a:pt x="312" y="2732"/>
                  </a:lnTo>
                  <a:lnTo>
                    <a:pt x="316" y="2734"/>
                  </a:lnTo>
                  <a:lnTo>
                    <a:pt x="320" y="2734"/>
                  </a:lnTo>
                  <a:lnTo>
                    <a:pt x="324" y="2732"/>
                  </a:lnTo>
                  <a:lnTo>
                    <a:pt x="328" y="2728"/>
                  </a:lnTo>
                  <a:lnTo>
                    <a:pt x="330" y="2724"/>
                  </a:lnTo>
                  <a:lnTo>
                    <a:pt x="334" y="2716"/>
                  </a:lnTo>
                  <a:lnTo>
                    <a:pt x="336" y="2716"/>
                  </a:lnTo>
                  <a:lnTo>
                    <a:pt x="338" y="2718"/>
                  </a:lnTo>
                  <a:lnTo>
                    <a:pt x="342" y="2722"/>
                  </a:lnTo>
                  <a:lnTo>
                    <a:pt x="346" y="2726"/>
                  </a:lnTo>
                  <a:lnTo>
                    <a:pt x="348" y="2728"/>
                  </a:lnTo>
                  <a:lnTo>
                    <a:pt x="350" y="2730"/>
                  </a:lnTo>
                  <a:lnTo>
                    <a:pt x="350" y="2732"/>
                  </a:lnTo>
                  <a:lnTo>
                    <a:pt x="344" y="2738"/>
                  </a:lnTo>
                  <a:lnTo>
                    <a:pt x="340" y="2744"/>
                  </a:lnTo>
                  <a:lnTo>
                    <a:pt x="340" y="2746"/>
                  </a:lnTo>
                  <a:lnTo>
                    <a:pt x="344" y="2746"/>
                  </a:lnTo>
                  <a:lnTo>
                    <a:pt x="350" y="2748"/>
                  </a:lnTo>
                  <a:lnTo>
                    <a:pt x="354" y="2752"/>
                  </a:lnTo>
                  <a:lnTo>
                    <a:pt x="356" y="2754"/>
                  </a:lnTo>
                  <a:lnTo>
                    <a:pt x="356" y="2760"/>
                  </a:lnTo>
                  <a:lnTo>
                    <a:pt x="356" y="2766"/>
                  </a:lnTo>
                  <a:lnTo>
                    <a:pt x="354" y="2766"/>
                  </a:lnTo>
                  <a:lnTo>
                    <a:pt x="352" y="2764"/>
                  </a:lnTo>
                  <a:lnTo>
                    <a:pt x="348" y="2758"/>
                  </a:lnTo>
                  <a:lnTo>
                    <a:pt x="344" y="2758"/>
                  </a:lnTo>
                  <a:lnTo>
                    <a:pt x="342" y="2760"/>
                  </a:lnTo>
                  <a:lnTo>
                    <a:pt x="342" y="2766"/>
                  </a:lnTo>
                  <a:lnTo>
                    <a:pt x="342" y="2774"/>
                  </a:lnTo>
                  <a:lnTo>
                    <a:pt x="342" y="2778"/>
                  </a:lnTo>
                  <a:lnTo>
                    <a:pt x="340" y="2782"/>
                  </a:lnTo>
                  <a:lnTo>
                    <a:pt x="342" y="2792"/>
                  </a:lnTo>
                  <a:lnTo>
                    <a:pt x="342" y="2798"/>
                  </a:lnTo>
                  <a:lnTo>
                    <a:pt x="342" y="2804"/>
                  </a:lnTo>
                  <a:lnTo>
                    <a:pt x="336" y="2812"/>
                  </a:lnTo>
                  <a:lnTo>
                    <a:pt x="330" y="2820"/>
                  </a:lnTo>
                  <a:lnTo>
                    <a:pt x="330" y="2824"/>
                  </a:lnTo>
                  <a:lnTo>
                    <a:pt x="330" y="2830"/>
                  </a:lnTo>
                  <a:lnTo>
                    <a:pt x="334" y="2840"/>
                  </a:lnTo>
                  <a:lnTo>
                    <a:pt x="332" y="2852"/>
                  </a:lnTo>
                  <a:lnTo>
                    <a:pt x="330" y="2860"/>
                  </a:lnTo>
                  <a:lnTo>
                    <a:pt x="326" y="2864"/>
                  </a:lnTo>
                  <a:lnTo>
                    <a:pt x="324" y="2866"/>
                  </a:lnTo>
                  <a:lnTo>
                    <a:pt x="324" y="2870"/>
                  </a:lnTo>
                  <a:lnTo>
                    <a:pt x="330" y="2872"/>
                  </a:lnTo>
                  <a:lnTo>
                    <a:pt x="336" y="2874"/>
                  </a:lnTo>
                  <a:lnTo>
                    <a:pt x="344" y="2878"/>
                  </a:lnTo>
                  <a:lnTo>
                    <a:pt x="346" y="2882"/>
                  </a:lnTo>
                  <a:lnTo>
                    <a:pt x="348" y="2890"/>
                  </a:lnTo>
                  <a:lnTo>
                    <a:pt x="346" y="2896"/>
                  </a:lnTo>
                  <a:lnTo>
                    <a:pt x="342" y="2904"/>
                  </a:lnTo>
                  <a:lnTo>
                    <a:pt x="338" y="2908"/>
                  </a:lnTo>
                  <a:lnTo>
                    <a:pt x="332" y="2912"/>
                  </a:lnTo>
                  <a:lnTo>
                    <a:pt x="326" y="2916"/>
                  </a:lnTo>
                  <a:lnTo>
                    <a:pt x="320" y="2918"/>
                  </a:lnTo>
                  <a:lnTo>
                    <a:pt x="318" y="2922"/>
                  </a:lnTo>
                  <a:lnTo>
                    <a:pt x="320" y="2926"/>
                  </a:lnTo>
                  <a:lnTo>
                    <a:pt x="322" y="2930"/>
                  </a:lnTo>
                  <a:lnTo>
                    <a:pt x="322" y="2932"/>
                  </a:lnTo>
                  <a:lnTo>
                    <a:pt x="320" y="2936"/>
                  </a:lnTo>
                  <a:lnTo>
                    <a:pt x="316" y="2940"/>
                  </a:lnTo>
                  <a:lnTo>
                    <a:pt x="312" y="2946"/>
                  </a:lnTo>
                  <a:lnTo>
                    <a:pt x="312" y="2954"/>
                  </a:lnTo>
                  <a:lnTo>
                    <a:pt x="312" y="2956"/>
                  </a:lnTo>
                  <a:lnTo>
                    <a:pt x="312" y="2962"/>
                  </a:lnTo>
                  <a:lnTo>
                    <a:pt x="310" y="2974"/>
                  </a:lnTo>
                  <a:lnTo>
                    <a:pt x="308" y="2986"/>
                  </a:lnTo>
                  <a:lnTo>
                    <a:pt x="308" y="2994"/>
                  </a:lnTo>
                  <a:lnTo>
                    <a:pt x="306" y="3000"/>
                  </a:lnTo>
                  <a:lnTo>
                    <a:pt x="300" y="3006"/>
                  </a:lnTo>
                  <a:lnTo>
                    <a:pt x="298" y="3006"/>
                  </a:lnTo>
                  <a:lnTo>
                    <a:pt x="296" y="3006"/>
                  </a:lnTo>
                  <a:lnTo>
                    <a:pt x="298" y="2998"/>
                  </a:lnTo>
                  <a:lnTo>
                    <a:pt x="300" y="2988"/>
                  </a:lnTo>
                  <a:lnTo>
                    <a:pt x="300" y="2984"/>
                  </a:lnTo>
                  <a:lnTo>
                    <a:pt x="296" y="2980"/>
                  </a:lnTo>
                  <a:lnTo>
                    <a:pt x="292" y="2978"/>
                  </a:lnTo>
                  <a:lnTo>
                    <a:pt x="290" y="2974"/>
                  </a:lnTo>
                  <a:lnTo>
                    <a:pt x="290" y="2968"/>
                  </a:lnTo>
                  <a:lnTo>
                    <a:pt x="290" y="2964"/>
                  </a:lnTo>
                  <a:lnTo>
                    <a:pt x="288" y="2962"/>
                  </a:lnTo>
                  <a:lnTo>
                    <a:pt x="282" y="2962"/>
                  </a:lnTo>
                  <a:lnTo>
                    <a:pt x="276" y="2962"/>
                  </a:lnTo>
                  <a:lnTo>
                    <a:pt x="274" y="2964"/>
                  </a:lnTo>
                  <a:lnTo>
                    <a:pt x="274" y="2966"/>
                  </a:lnTo>
                  <a:lnTo>
                    <a:pt x="270" y="2964"/>
                  </a:lnTo>
                  <a:lnTo>
                    <a:pt x="268" y="2964"/>
                  </a:lnTo>
                  <a:lnTo>
                    <a:pt x="266" y="2964"/>
                  </a:lnTo>
                  <a:lnTo>
                    <a:pt x="266" y="2968"/>
                  </a:lnTo>
                  <a:lnTo>
                    <a:pt x="266" y="2972"/>
                  </a:lnTo>
                  <a:lnTo>
                    <a:pt x="264" y="2976"/>
                  </a:lnTo>
                  <a:lnTo>
                    <a:pt x="260" y="2980"/>
                  </a:lnTo>
                  <a:lnTo>
                    <a:pt x="254" y="2986"/>
                  </a:lnTo>
                  <a:lnTo>
                    <a:pt x="238" y="2994"/>
                  </a:lnTo>
                  <a:lnTo>
                    <a:pt x="228" y="3004"/>
                  </a:lnTo>
                  <a:lnTo>
                    <a:pt x="226" y="3008"/>
                  </a:lnTo>
                  <a:lnTo>
                    <a:pt x="224" y="3012"/>
                  </a:lnTo>
                  <a:lnTo>
                    <a:pt x="224" y="3016"/>
                  </a:lnTo>
                  <a:lnTo>
                    <a:pt x="226" y="3020"/>
                  </a:lnTo>
                  <a:lnTo>
                    <a:pt x="232" y="3026"/>
                  </a:lnTo>
                  <a:lnTo>
                    <a:pt x="236" y="3026"/>
                  </a:lnTo>
                  <a:lnTo>
                    <a:pt x="236" y="3024"/>
                  </a:lnTo>
                  <a:lnTo>
                    <a:pt x="238" y="3016"/>
                  </a:lnTo>
                  <a:lnTo>
                    <a:pt x="238" y="3010"/>
                  </a:lnTo>
                  <a:lnTo>
                    <a:pt x="242" y="3006"/>
                  </a:lnTo>
                  <a:lnTo>
                    <a:pt x="244" y="3006"/>
                  </a:lnTo>
                  <a:lnTo>
                    <a:pt x="248" y="3006"/>
                  </a:lnTo>
                  <a:lnTo>
                    <a:pt x="252" y="3012"/>
                  </a:lnTo>
                  <a:lnTo>
                    <a:pt x="256" y="3018"/>
                  </a:lnTo>
                  <a:lnTo>
                    <a:pt x="264" y="3022"/>
                  </a:lnTo>
                  <a:lnTo>
                    <a:pt x="272" y="3024"/>
                  </a:lnTo>
                  <a:lnTo>
                    <a:pt x="274" y="3022"/>
                  </a:lnTo>
                  <a:lnTo>
                    <a:pt x="274" y="3020"/>
                  </a:lnTo>
                  <a:lnTo>
                    <a:pt x="276" y="3016"/>
                  </a:lnTo>
                  <a:lnTo>
                    <a:pt x="278" y="3016"/>
                  </a:lnTo>
                  <a:lnTo>
                    <a:pt x="282" y="3018"/>
                  </a:lnTo>
                  <a:lnTo>
                    <a:pt x="286" y="3024"/>
                  </a:lnTo>
                  <a:lnTo>
                    <a:pt x="290" y="3026"/>
                  </a:lnTo>
                  <a:lnTo>
                    <a:pt x="292" y="3028"/>
                  </a:lnTo>
                  <a:lnTo>
                    <a:pt x="296" y="3030"/>
                  </a:lnTo>
                  <a:lnTo>
                    <a:pt x="296" y="3036"/>
                  </a:lnTo>
                  <a:lnTo>
                    <a:pt x="294" y="3040"/>
                  </a:lnTo>
                  <a:lnTo>
                    <a:pt x="292" y="3040"/>
                  </a:lnTo>
                  <a:lnTo>
                    <a:pt x="286" y="3042"/>
                  </a:lnTo>
                  <a:lnTo>
                    <a:pt x="280" y="3042"/>
                  </a:lnTo>
                  <a:lnTo>
                    <a:pt x="278" y="3044"/>
                  </a:lnTo>
                  <a:lnTo>
                    <a:pt x="276" y="3048"/>
                  </a:lnTo>
                  <a:lnTo>
                    <a:pt x="274" y="3054"/>
                  </a:lnTo>
                  <a:lnTo>
                    <a:pt x="274" y="3056"/>
                  </a:lnTo>
                  <a:lnTo>
                    <a:pt x="280" y="3062"/>
                  </a:lnTo>
                  <a:lnTo>
                    <a:pt x="284" y="3064"/>
                  </a:lnTo>
                  <a:lnTo>
                    <a:pt x="282" y="3064"/>
                  </a:lnTo>
                  <a:lnTo>
                    <a:pt x="272" y="3062"/>
                  </a:lnTo>
                  <a:lnTo>
                    <a:pt x="270" y="3062"/>
                  </a:lnTo>
                  <a:lnTo>
                    <a:pt x="268" y="3066"/>
                  </a:lnTo>
                  <a:lnTo>
                    <a:pt x="266" y="3072"/>
                  </a:lnTo>
                  <a:lnTo>
                    <a:pt x="268" y="3074"/>
                  </a:lnTo>
                  <a:lnTo>
                    <a:pt x="272" y="3074"/>
                  </a:lnTo>
                  <a:lnTo>
                    <a:pt x="282" y="3074"/>
                  </a:lnTo>
                  <a:lnTo>
                    <a:pt x="290" y="3074"/>
                  </a:lnTo>
                  <a:lnTo>
                    <a:pt x="296" y="3076"/>
                  </a:lnTo>
                  <a:lnTo>
                    <a:pt x="300" y="3078"/>
                  </a:lnTo>
                  <a:lnTo>
                    <a:pt x="302" y="3078"/>
                  </a:lnTo>
                  <a:lnTo>
                    <a:pt x="302" y="3074"/>
                  </a:lnTo>
                  <a:lnTo>
                    <a:pt x="304" y="3072"/>
                  </a:lnTo>
                  <a:lnTo>
                    <a:pt x="306" y="3072"/>
                  </a:lnTo>
                  <a:lnTo>
                    <a:pt x="310" y="3076"/>
                  </a:lnTo>
                  <a:lnTo>
                    <a:pt x="312" y="3080"/>
                  </a:lnTo>
                  <a:lnTo>
                    <a:pt x="312" y="3082"/>
                  </a:lnTo>
                  <a:lnTo>
                    <a:pt x="310" y="3084"/>
                  </a:lnTo>
                  <a:lnTo>
                    <a:pt x="308" y="3086"/>
                  </a:lnTo>
                  <a:lnTo>
                    <a:pt x="310" y="3088"/>
                  </a:lnTo>
                  <a:lnTo>
                    <a:pt x="314" y="3096"/>
                  </a:lnTo>
                  <a:lnTo>
                    <a:pt x="318" y="3100"/>
                  </a:lnTo>
                  <a:lnTo>
                    <a:pt x="318" y="3102"/>
                  </a:lnTo>
                  <a:lnTo>
                    <a:pt x="314" y="3100"/>
                  </a:lnTo>
                  <a:lnTo>
                    <a:pt x="300" y="3090"/>
                  </a:lnTo>
                  <a:lnTo>
                    <a:pt x="294" y="3088"/>
                  </a:lnTo>
                  <a:lnTo>
                    <a:pt x="286" y="3088"/>
                  </a:lnTo>
                  <a:lnTo>
                    <a:pt x="272" y="3086"/>
                  </a:lnTo>
                  <a:lnTo>
                    <a:pt x="268" y="3088"/>
                  </a:lnTo>
                  <a:lnTo>
                    <a:pt x="266" y="3088"/>
                  </a:lnTo>
                  <a:lnTo>
                    <a:pt x="268" y="3090"/>
                  </a:lnTo>
                  <a:lnTo>
                    <a:pt x="270" y="3092"/>
                  </a:lnTo>
                  <a:lnTo>
                    <a:pt x="272" y="3092"/>
                  </a:lnTo>
                  <a:lnTo>
                    <a:pt x="274" y="3092"/>
                  </a:lnTo>
                  <a:lnTo>
                    <a:pt x="276" y="3096"/>
                  </a:lnTo>
                  <a:lnTo>
                    <a:pt x="278" y="3100"/>
                  </a:lnTo>
                  <a:lnTo>
                    <a:pt x="282" y="3104"/>
                  </a:lnTo>
                  <a:lnTo>
                    <a:pt x="292" y="3110"/>
                  </a:lnTo>
                  <a:lnTo>
                    <a:pt x="294" y="3112"/>
                  </a:lnTo>
                  <a:lnTo>
                    <a:pt x="294" y="3114"/>
                  </a:lnTo>
                  <a:lnTo>
                    <a:pt x="294" y="3116"/>
                  </a:lnTo>
                  <a:lnTo>
                    <a:pt x="294" y="3120"/>
                  </a:lnTo>
                  <a:lnTo>
                    <a:pt x="292" y="3120"/>
                  </a:lnTo>
                  <a:lnTo>
                    <a:pt x="288" y="3118"/>
                  </a:lnTo>
                  <a:lnTo>
                    <a:pt x="284" y="3116"/>
                  </a:lnTo>
                  <a:lnTo>
                    <a:pt x="280" y="3116"/>
                  </a:lnTo>
                  <a:lnTo>
                    <a:pt x="280" y="3120"/>
                  </a:lnTo>
                  <a:lnTo>
                    <a:pt x="276" y="3132"/>
                  </a:lnTo>
                  <a:lnTo>
                    <a:pt x="276" y="3138"/>
                  </a:lnTo>
                  <a:lnTo>
                    <a:pt x="276" y="3148"/>
                  </a:lnTo>
                  <a:lnTo>
                    <a:pt x="278" y="3168"/>
                  </a:lnTo>
                  <a:lnTo>
                    <a:pt x="280" y="3174"/>
                  </a:lnTo>
                  <a:lnTo>
                    <a:pt x="282" y="3178"/>
                  </a:lnTo>
                  <a:lnTo>
                    <a:pt x="284" y="3178"/>
                  </a:lnTo>
                  <a:lnTo>
                    <a:pt x="284" y="3176"/>
                  </a:lnTo>
                  <a:lnTo>
                    <a:pt x="286" y="3168"/>
                  </a:lnTo>
                  <a:lnTo>
                    <a:pt x="288" y="3160"/>
                  </a:lnTo>
                  <a:lnTo>
                    <a:pt x="290" y="3156"/>
                  </a:lnTo>
                  <a:lnTo>
                    <a:pt x="292" y="3154"/>
                  </a:lnTo>
                  <a:lnTo>
                    <a:pt x="292" y="3158"/>
                  </a:lnTo>
                  <a:lnTo>
                    <a:pt x="292" y="3164"/>
                  </a:lnTo>
                  <a:lnTo>
                    <a:pt x="292" y="3170"/>
                  </a:lnTo>
                  <a:lnTo>
                    <a:pt x="294" y="3176"/>
                  </a:lnTo>
                  <a:lnTo>
                    <a:pt x="298" y="3182"/>
                  </a:lnTo>
                  <a:lnTo>
                    <a:pt x="300" y="3184"/>
                  </a:lnTo>
                  <a:lnTo>
                    <a:pt x="296" y="3182"/>
                  </a:lnTo>
                  <a:lnTo>
                    <a:pt x="290" y="3180"/>
                  </a:lnTo>
                  <a:lnTo>
                    <a:pt x="284" y="3182"/>
                  </a:lnTo>
                  <a:lnTo>
                    <a:pt x="280" y="3184"/>
                  </a:lnTo>
                  <a:lnTo>
                    <a:pt x="280" y="3186"/>
                  </a:lnTo>
                  <a:lnTo>
                    <a:pt x="282" y="3188"/>
                  </a:lnTo>
                  <a:lnTo>
                    <a:pt x="282" y="3190"/>
                  </a:lnTo>
                  <a:lnTo>
                    <a:pt x="280" y="3192"/>
                  </a:lnTo>
                  <a:lnTo>
                    <a:pt x="280" y="3194"/>
                  </a:lnTo>
                  <a:lnTo>
                    <a:pt x="284" y="3198"/>
                  </a:lnTo>
                  <a:lnTo>
                    <a:pt x="296" y="3206"/>
                  </a:lnTo>
                  <a:lnTo>
                    <a:pt x="294" y="3206"/>
                  </a:lnTo>
                  <a:lnTo>
                    <a:pt x="288" y="3206"/>
                  </a:lnTo>
                  <a:lnTo>
                    <a:pt x="280" y="3204"/>
                  </a:lnTo>
                  <a:lnTo>
                    <a:pt x="278" y="3204"/>
                  </a:lnTo>
                  <a:lnTo>
                    <a:pt x="280" y="3206"/>
                  </a:lnTo>
                  <a:lnTo>
                    <a:pt x="288" y="3216"/>
                  </a:lnTo>
                  <a:lnTo>
                    <a:pt x="290" y="3220"/>
                  </a:lnTo>
                  <a:lnTo>
                    <a:pt x="280" y="3214"/>
                  </a:lnTo>
                  <a:lnTo>
                    <a:pt x="274" y="3212"/>
                  </a:lnTo>
                  <a:lnTo>
                    <a:pt x="268" y="3212"/>
                  </a:lnTo>
                  <a:lnTo>
                    <a:pt x="264" y="3214"/>
                  </a:lnTo>
                  <a:lnTo>
                    <a:pt x="264" y="3216"/>
                  </a:lnTo>
                  <a:lnTo>
                    <a:pt x="268" y="3218"/>
                  </a:lnTo>
                  <a:lnTo>
                    <a:pt x="272" y="3220"/>
                  </a:lnTo>
                  <a:lnTo>
                    <a:pt x="274" y="3224"/>
                  </a:lnTo>
                  <a:lnTo>
                    <a:pt x="274" y="3226"/>
                  </a:lnTo>
                  <a:lnTo>
                    <a:pt x="278" y="3228"/>
                  </a:lnTo>
                  <a:lnTo>
                    <a:pt x="282" y="3230"/>
                  </a:lnTo>
                  <a:lnTo>
                    <a:pt x="284" y="3230"/>
                  </a:lnTo>
                  <a:lnTo>
                    <a:pt x="288" y="3230"/>
                  </a:lnTo>
                  <a:lnTo>
                    <a:pt x="292" y="3234"/>
                  </a:lnTo>
                  <a:lnTo>
                    <a:pt x="296" y="3236"/>
                  </a:lnTo>
                  <a:lnTo>
                    <a:pt x="296" y="3238"/>
                  </a:lnTo>
                  <a:lnTo>
                    <a:pt x="288" y="3236"/>
                  </a:lnTo>
                  <a:lnTo>
                    <a:pt x="284" y="3236"/>
                  </a:lnTo>
                  <a:lnTo>
                    <a:pt x="284" y="3238"/>
                  </a:lnTo>
                  <a:lnTo>
                    <a:pt x="288" y="3248"/>
                  </a:lnTo>
                  <a:lnTo>
                    <a:pt x="290" y="3252"/>
                  </a:lnTo>
                  <a:lnTo>
                    <a:pt x="294" y="3252"/>
                  </a:lnTo>
                  <a:lnTo>
                    <a:pt x="298" y="3250"/>
                  </a:lnTo>
                  <a:lnTo>
                    <a:pt x="302" y="3240"/>
                  </a:lnTo>
                  <a:lnTo>
                    <a:pt x="306" y="3234"/>
                  </a:lnTo>
                  <a:lnTo>
                    <a:pt x="308" y="3232"/>
                  </a:lnTo>
                  <a:lnTo>
                    <a:pt x="308" y="3234"/>
                  </a:lnTo>
                  <a:lnTo>
                    <a:pt x="306" y="3242"/>
                  </a:lnTo>
                  <a:lnTo>
                    <a:pt x="300" y="3256"/>
                  </a:lnTo>
                  <a:lnTo>
                    <a:pt x="296" y="3258"/>
                  </a:lnTo>
                  <a:lnTo>
                    <a:pt x="292" y="3258"/>
                  </a:lnTo>
                  <a:lnTo>
                    <a:pt x="288" y="3258"/>
                  </a:lnTo>
                  <a:lnTo>
                    <a:pt x="286" y="3258"/>
                  </a:lnTo>
                  <a:lnTo>
                    <a:pt x="284" y="3260"/>
                  </a:lnTo>
                  <a:lnTo>
                    <a:pt x="284" y="3264"/>
                  </a:lnTo>
                  <a:lnTo>
                    <a:pt x="286" y="3266"/>
                  </a:lnTo>
                  <a:lnTo>
                    <a:pt x="288" y="3268"/>
                  </a:lnTo>
                  <a:lnTo>
                    <a:pt x="288" y="3272"/>
                  </a:lnTo>
                  <a:lnTo>
                    <a:pt x="288" y="3276"/>
                  </a:lnTo>
                  <a:lnTo>
                    <a:pt x="290" y="3276"/>
                  </a:lnTo>
                  <a:lnTo>
                    <a:pt x="292" y="3276"/>
                  </a:lnTo>
                  <a:lnTo>
                    <a:pt x="296" y="3276"/>
                  </a:lnTo>
                  <a:lnTo>
                    <a:pt x="302" y="3278"/>
                  </a:lnTo>
                  <a:lnTo>
                    <a:pt x="306" y="3286"/>
                  </a:lnTo>
                  <a:lnTo>
                    <a:pt x="308" y="3294"/>
                  </a:lnTo>
                  <a:lnTo>
                    <a:pt x="308" y="3298"/>
                  </a:lnTo>
                  <a:lnTo>
                    <a:pt x="306" y="3298"/>
                  </a:lnTo>
                  <a:lnTo>
                    <a:pt x="302" y="3294"/>
                  </a:lnTo>
                  <a:lnTo>
                    <a:pt x="298" y="3288"/>
                  </a:lnTo>
                  <a:lnTo>
                    <a:pt x="296" y="3288"/>
                  </a:lnTo>
                  <a:lnTo>
                    <a:pt x="296" y="3290"/>
                  </a:lnTo>
                  <a:lnTo>
                    <a:pt x="296" y="3294"/>
                  </a:lnTo>
                  <a:lnTo>
                    <a:pt x="298" y="3298"/>
                  </a:lnTo>
                  <a:lnTo>
                    <a:pt x="298" y="3302"/>
                  </a:lnTo>
                  <a:lnTo>
                    <a:pt x="298" y="3304"/>
                  </a:lnTo>
                  <a:lnTo>
                    <a:pt x="300" y="3308"/>
                  </a:lnTo>
                  <a:lnTo>
                    <a:pt x="302" y="3310"/>
                  </a:lnTo>
                  <a:lnTo>
                    <a:pt x="306" y="3308"/>
                  </a:lnTo>
                  <a:lnTo>
                    <a:pt x="308" y="3306"/>
                  </a:lnTo>
                  <a:lnTo>
                    <a:pt x="310" y="3308"/>
                  </a:lnTo>
                  <a:lnTo>
                    <a:pt x="312" y="3310"/>
                  </a:lnTo>
                  <a:lnTo>
                    <a:pt x="314" y="3318"/>
                  </a:lnTo>
                  <a:lnTo>
                    <a:pt x="310" y="3316"/>
                  </a:lnTo>
                  <a:lnTo>
                    <a:pt x="308" y="3316"/>
                  </a:lnTo>
                  <a:lnTo>
                    <a:pt x="308" y="3318"/>
                  </a:lnTo>
                  <a:lnTo>
                    <a:pt x="312" y="3326"/>
                  </a:lnTo>
                  <a:lnTo>
                    <a:pt x="318" y="3332"/>
                  </a:lnTo>
                  <a:lnTo>
                    <a:pt x="322" y="3332"/>
                  </a:lnTo>
                  <a:lnTo>
                    <a:pt x="324" y="3332"/>
                  </a:lnTo>
                  <a:lnTo>
                    <a:pt x="326" y="3322"/>
                  </a:lnTo>
                  <a:lnTo>
                    <a:pt x="330" y="3318"/>
                  </a:lnTo>
                  <a:lnTo>
                    <a:pt x="332" y="3316"/>
                  </a:lnTo>
                  <a:lnTo>
                    <a:pt x="334" y="3314"/>
                  </a:lnTo>
                  <a:lnTo>
                    <a:pt x="334" y="3312"/>
                  </a:lnTo>
                  <a:lnTo>
                    <a:pt x="334" y="3310"/>
                  </a:lnTo>
                  <a:lnTo>
                    <a:pt x="342" y="3312"/>
                  </a:lnTo>
                  <a:lnTo>
                    <a:pt x="348" y="3312"/>
                  </a:lnTo>
                  <a:lnTo>
                    <a:pt x="350" y="3312"/>
                  </a:lnTo>
                  <a:lnTo>
                    <a:pt x="350" y="3310"/>
                  </a:lnTo>
                  <a:lnTo>
                    <a:pt x="344" y="3304"/>
                  </a:lnTo>
                  <a:lnTo>
                    <a:pt x="334" y="3300"/>
                  </a:lnTo>
                  <a:lnTo>
                    <a:pt x="326" y="3294"/>
                  </a:lnTo>
                  <a:lnTo>
                    <a:pt x="324" y="3292"/>
                  </a:lnTo>
                  <a:lnTo>
                    <a:pt x="328" y="3290"/>
                  </a:lnTo>
                  <a:lnTo>
                    <a:pt x="336" y="3294"/>
                  </a:lnTo>
                  <a:lnTo>
                    <a:pt x="350" y="3302"/>
                  </a:lnTo>
                  <a:lnTo>
                    <a:pt x="354" y="3308"/>
                  </a:lnTo>
                  <a:lnTo>
                    <a:pt x="354" y="3314"/>
                  </a:lnTo>
                  <a:lnTo>
                    <a:pt x="352" y="3320"/>
                  </a:lnTo>
                  <a:lnTo>
                    <a:pt x="350" y="3322"/>
                  </a:lnTo>
                  <a:lnTo>
                    <a:pt x="348" y="3324"/>
                  </a:lnTo>
                  <a:lnTo>
                    <a:pt x="350" y="3330"/>
                  </a:lnTo>
                  <a:lnTo>
                    <a:pt x="352" y="3332"/>
                  </a:lnTo>
                  <a:lnTo>
                    <a:pt x="348" y="3328"/>
                  </a:lnTo>
                  <a:lnTo>
                    <a:pt x="342" y="3322"/>
                  </a:lnTo>
                  <a:lnTo>
                    <a:pt x="340" y="3322"/>
                  </a:lnTo>
                  <a:lnTo>
                    <a:pt x="338" y="3326"/>
                  </a:lnTo>
                  <a:lnTo>
                    <a:pt x="334" y="3336"/>
                  </a:lnTo>
                  <a:lnTo>
                    <a:pt x="332" y="3334"/>
                  </a:lnTo>
                  <a:lnTo>
                    <a:pt x="332" y="3330"/>
                  </a:lnTo>
                  <a:lnTo>
                    <a:pt x="330" y="3332"/>
                  </a:lnTo>
                  <a:lnTo>
                    <a:pt x="324" y="3338"/>
                  </a:lnTo>
                  <a:lnTo>
                    <a:pt x="322" y="3340"/>
                  </a:lnTo>
                  <a:lnTo>
                    <a:pt x="320" y="3340"/>
                  </a:lnTo>
                  <a:lnTo>
                    <a:pt x="316" y="3336"/>
                  </a:lnTo>
                  <a:lnTo>
                    <a:pt x="310" y="3330"/>
                  </a:lnTo>
                  <a:lnTo>
                    <a:pt x="306" y="3328"/>
                  </a:lnTo>
                  <a:lnTo>
                    <a:pt x="304" y="3328"/>
                  </a:lnTo>
                  <a:lnTo>
                    <a:pt x="306" y="3332"/>
                  </a:lnTo>
                  <a:lnTo>
                    <a:pt x="310" y="3336"/>
                  </a:lnTo>
                  <a:lnTo>
                    <a:pt x="310" y="3340"/>
                  </a:lnTo>
                  <a:lnTo>
                    <a:pt x="308" y="3344"/>
                  </a:lnTo>
                  <a:lnTo>
                    <a:pt x="306" y="3350"/>
                  </a:lnTo>
                  <a:lnTo>
                    <a:pt x="308" y="3350"/>
                  </a:lnTo>
                  <a:lnTo>
                    <a:pt x="312" y="3352"/>
                  </a:lnTo>
                  <a:lnTo>
                    <a:pt x="310" y="3356"/>
                  </a:lnTo>
                  <a:lnTo>
                    <a:pt x="306" y="3364"/>
                  </a:lnTo>
                  <a:lnTo>
                    <a:pt x="306" y="3368"/>
                  </a:lnTo>
                  <a:lnTo>
                    <a:pt x="306" y="3370"/>
                  </a:lnTo>
                  <a:lnTo>
                    <a:pt x="308" y="3370"/>
                  </a:lnTo>
                  <a:lnTo>
                    <a:pt x="314" y="3366"/>
                  </a:lnTo>
                  <a:lnTo>
                    <a:pt x="316" y="3364"/>
                  </a:lnTo>
                  <a:lnTo>
                    <a:pt x="320" y="3364"/>
                  </a:lnTo>
                  <a:lnTo>
                    <a:pt x="322" y="3366"/>
                  </a:lnTo>
                  <a:lnTo>
                    <a:pt x="324" y="3372"/>
                  </a:lnTo>
                  <a:lnTo>
                    <a:pt x="322" y="3374"/>
                  </a:lnTo>
                  <a:lnTo>
                    <a:pt x="320" y="3374"/>
                  </a:lnTo>
                  <a:lnTo>
                    <a:pt x="316" y="3374"/>
                  </a:lnTo>
                  <a:lnTo>
                    <a:pt x="322" y="3380"/>
                  </a:lnTo>
                  <a:lnTo>
                    <a:pt x="322" y="3382"/>
                  </a:lnTo>
                  <a:lnTo>
                    <a:pt x="318" y="3384"/>
                  </a:lnTo>
                  <a:lnTo>
                    <a:pt x="316" y="3386"/>
                  </a:lnTo>
                  <a:lnTo>
                    <a:pt x="320" y="3388"/>
                  </a:lnTo>
                  <a:lnTo>
                    <a:pt x="328" y="3390"/>
                  </a:lnTo>
                  <a:lnTo>
                    <a:pt x="332" y="3388"/>
                  </a:lnTo>
                  <a:lnTo>
                    <a:pt x="334" y="3384"/>
                  </a:lnTo>
                  <a:lnTo>
                    <a:pt x="334" y="3378"/>
                  </a:lnTo>
                  <a:lnTo>
                    <a:pt x="334" y="3376"/>
                  </a:lnTo>
                  <a:lnTo>
                    <a:pt x="336" y="3374"/>
                  </a:lnTo>
                  <a:lnTo>
                    <a:pt x="340" y="3370"/>
                  </a:lnTo>
                  <a:lnTo>
                    <a:pt x="344" y="3368"/>
                  </a:lnTo>
                  <a:lnTo>
                    <a:pt x="346" y="3366"/>
                  </a:lnTo>
                  <a:lnTo>
                    <a:pt x="346" y="3364"/>
                  </a:lnTo>
                  <a:lnTo>
                    <a:pt x="344" y="3362"/>
                  </a:lnTo>
                  <a:lnTo>
                    <a:pt x="340" y="3360"/>
                  </a:lnTo>
                  <a:lnTo>
                    <a:pt x="340" y="3358"/>
                  </a:lnTo>
                  <a:lnTo>
                    <a:pt x="344" y="3358"/>
                  </a:lnTo>
                  <a:lnTo>
                    <a:pt x="352" y="3358"/>
                  </a:lnTo>
                  <a:lnTo>
                    <a:pt x="354" y="3362"/>
                  </a:lnTo>
                  <a:lnTo>
                    <a:pt x="356" y="3362"/>
                  </a:lnTo>
                  <a:lnTo>
                    <a:pt x="360" y="3360"/>
                  </a:lnTo>
                  <a:lnTo>
                    <a:pt x="364" y="3358"/>
                  </a:lnTo>
                  <a:lnTo>
                    <a:pt x="368" y="3356"/>
                  </a:lnTo>
                  <a:lnTo>
                    <a:pt x="382" y="3356"/>
                  </a:lnTo>
                  <a:lnTo>
                    <a:pt x="392" y="3358"/>
                  </a:lnTo>
                  <a:lnTo>
                    <a:pt x="394" y="3360"/>
                  </a:lnTo>
                  <a:lnTo>
                    <a:pt x="396" y="3362"/>
                  </a:lnTo>
                  <a:lnTo>
                    <a:pt x="392" y="3366"/>
                  </a:lnTo>
                  <a:lnTo>
                    <a:pt x="386" y="3368"/>
                  </a:lnTo>
                  <a:lnTo>
                    <a:pt x="380" y="3366"/>
                  </a:lnTo>
                  <a:lnTo>
                    <a:pt x="372" y="3364"/>
                  </a:lnTo>
                  <a:lnTo>
                    <a:pt x="368" y="3364"/>
                  </a:lnTo>
                  <a:lnTo>
                    <a:pt x="366" y="3366"/>
                  </a:lnTo>
                  <a:lnTo>
                    <a:pt x="362" y="3370"/>
                  </a:lnTo>
                  <a:lnTo>
                    <a:pt x="358" y="3376"/>
                  </a:lnTo>
                  <a:lnTo>
                    <a:pt x="356" y="3376"/>
                  </a:lnTo>
                  <a:lnTo>
                    <a:pt x="354" y="3376"/>
                  </a:lnTo>
                  <a:lnTo>
                    <a:pt x="348" y="3372"/>
                  </a:lnTo>
                  <a:lnTo>
                    <a:pt x="342" y="3374"/>
                  </a:lnTo>
                  <a:lnTo>
                    <a:pt x="338" y="3378"/>
                  </a:lnTo>
                  <a:lnTo>
                    <a:pt x="338" y="3384"/>
                  </a:lnTo>
                  <a:lnTo>
                    <a:pt x="340" y="3388"/>
                  </a:lnTo>
                  <a:lnTo>
                    <a:pt x="338" y="3390"/>
                  </a:lnTo>
                  <a:lnTo>
                    <a:pt x="338" y="3392"/>
                  </a:lnTo>
                  <a:lnTo>
                    <a:pt x="340" y="3396"/>
                  </a:lnTo>
                  <a:lnTo>
                    <a:pt x="342" y="3398"/>
                  </a:lnTo>
                  <a:lnTo>
                    <a:pt x="340" y="3398"/>
                  </a:lnTo>
                  <a:lnTo>
                    <a:pt x="334" y="3396"/>
                  </a:lnTo>
                  <a:lnTo>
                    <a:pt x="326" y="3396"/>
                  </a:lnTo>
                  <a:lnTo>
                    <a:pt x="324" y="3396"/>
                  </a:lnTo>
                  <a:lnTo>
                    <a:pt x="324" y="3398"/>
                  </a:lnTo>
                  <a:lnTo>
                    <a:pt x="326" y="3402"/>
                  </a:lnTo>
                  <a:lnTo>
                    <a:pt x="342" y="3412"/>
                  </a:lnTo>
                  <a:lnTo>
                    <a:pt x="354" y="3418"/>
                  </a:lnTo>
                  <a:lnTo>
                    <a:pt x="356" y="3418"/>
                  </a:lnTo>
                  <a:lnTo>
                    <a:pt x="354" y="3412"/>
                  </a:lnTo>
                  <a:lnTo>
                    <a:pt x="352" y="3406"/>
                  </a:lnTo>
                  <a:lnTo>
                    <a:pt x="352" y="3402"/>
                  </a:lnTo>
                  <a:lnTo>
                    <a:pt x="358" y="3400"/>
                  </a:lnTo>
                  <a:lnTo>
                    <a:pt x="362" y="3398"/>
                  </a:lnTo>
                  <a:lnTo>
                    <a:pt x="364" y="3396"/>
                  </a:lnTo>
                  <a:lnTo>
                    <a:pt x="364" y="3394"/>
                  </a:lnTo>
                  <a:lnTo>
                    <a:pt x="360" y="3390"/>
                  </a:lnTo>
                  <a:lnTo>
                    <a:pt x="356" y="3388"/>
                  </a:lnTo>
                  <a:lnTo>
                    <a:pt x="362" y="3390"/>
                  </a:lnTo>
                  <a:lnTo>
                    <a:pt x="370" y="3392"/>
                  </a:lnTo>
                  <a:lnTo>
                    <a:pt x="374" y="3390"/>
                  </a:lnTo>
                  <a:lnTo>
                    <a:pt x="378" y="3386"/>
                  </a:lnTo>
                  <a:lnTo>
                    <a:pt x="384" y="3382"/>
                  </a:lnTo>
                  <a:lnTo>
                    <a:pt x="392" y="3378"/>
                  </a:lnTo>
                  <a:lnTo>
                    <a:pt x="396" y="3374"/>
                  </a:lnTo>
                  <a:lnTo>
                    <a:pt x="402" y="3372"/>
                  </a:lnTo>
                  <a:lnTo>
                    <a:pt x="406" y="3374"/>
                  </a:lnTo>
                  <a:lnTo>
                    <a:pt x="408" y="3376"/>
                  </a:lnTo>
                  <a:lnTo>
                    <a:pt x="408" y="3378"/>
                  </a:lnTo>
                  <a:lnTo>
                    <a:pt x="406" y="3384"/>
                  </a:lnTo>
                  <a:lnTo>
                    <a:pt x="398" y="3392"/>
                  </a:lnTo>
                  <a:lnTo>
                    <a:pt x="390" y="3396"/>
                  </a:lnTo>
                  <a:lnTo>
                    <a:pt x="384" y="3400"/>
                  </a:lnTo>
                  <a:lnTo>
                    <a:pt x="384" y="3402"/>
                  </a:lnTo>
                  <a:lnTo>
                    <a:pt x="382" y="3404"/>
                  </a:lnTo>
                  <a:lnTo>
                    <a:pt x="380" y="3402"/>
                  </a:lnTo>
                  <a:lnTo>
                    <a:pt x="376" y="3400"/>
                  </a:lnTo>
                  <a:lnTo>
                    <a:pt x="374" y="3402"/>
                  </a:lnTo>
                  <a:lnTo>
                    <a:pt x="374" y="3404"/>
                  </a:lnTo>
                  <a:lnTo>
                    <a:pt x="370" y="3402"/>
                  </a:lnTo>
                  <a:lnTo>
                    <a:pt x="362" y="3404"/>
                  </a:lnTo>
                  <a:lnTo>
                    <a:pt x="358" y="3406"/>
                  </a:lnTo>
                  <a:lnTo>
                    <a:pt x="356" y="3408"/>
                  </a:lnTo>
                  <a:lnTo>
                    <a:pt x="360" y="3414"/>
                  </a:lnTo>
                  <a:lnTo>
                    <a:pt x="366" y="3420"/>
                  </a:lnTo>
                  <a:lnTo>
                    <a:pt x="372" y="3426"/>
                  </a:lnTo>
                  <a:lnTo>
                    <a:pt x="378" y="3430"/>
                  </a:lnTo>
                  <a:lnTo>
                    <a:pt x="382" y="3432"/>
                  </a:lnTo>
                  <a:lnTo>
                    <a:pt x="386" y="3434"/>
                  </a:lnTo>
                  <a:lnTo>
                    <a:pt x="392" y="3438"/>
                  </a:lnTo>
                  <a:lnTo>
                    <a:pt x="402" y="3438"/>
                  </a:lnTo>
                  <a:lnTo>
                    <a:pt x="410" y="3436"/>
                  </a:lnTo>
                  <a:lnTo>
                    <a:pt x="414" y="3434"/>
                  </a:lnTo>
                  <a:lnTo>
                    <a:pt x="416" y="3426"/>
                  </a:lnTo>
                  <a:lnTo>
                    <a:pt x="416" y="3412"/>
                  </a:lnTo>
                  <a:lnTo>
                    <a:pt x="418" y="3400"/>
                  </a:lnTo>
                  <a:lnTo>
                    <a:pt x="420" y="3394"/>
                  </a:lnTo>
                  <a:lnTo>
                    <a:pt x="422" y="3388"/>
                  </a:lnTo>
                  <a:lnTo>
                    <a:pt x="424" y="3378"/>
                  </a:lnTo>
                  <a:lnTo>
                    <a:pt x="424" y="3372"/>
                  </a:lnTo>
                  <a:lnTo>
                    <a:pt x="426" y="3368"/>
                  </a:lnTo>
                  <a:lnTo>
                    <a:pt x="428" y="3366"/>
                  </a:lnTo>
                  <a:lnTo>
                    <a:pt x="432" y="3366"/>
                  </a:lnTo>
                  <a:lnTo>
                    <a:pt x="440" y="3364"/>
                  </a:lnTo>
                  <a:lnTo>
                    <a:pt x="444" y="3362"/>
                  </a:lnTo>
                  <a:lnTo>
                    <a:pt x="450" y="3358"/>
                  </a:lnTo>
                  <a:lnTo>
                    <a:pt x="454" y="3354"/>
                  </a:lnTo>
                  <a:lnTo>
                    <a:pt x="458" y="3354"/>
                  </a:lnTo>
                  <a:lnTo>
                    <a:pt x="462" y="3354"/>
                  </a:lnTo>
                  <a:lnTo>
                    <a:pt x="466" y="3356"/>
                  </a:lnTo>
                  <a:lnTo>
                    <a:pt x="470" y="3350"/>
                  </a:lnTo>
                  <a:lnTo>
                    <a:pt x="476" y="3342"/>
                  </a:lnTo>
                  <a:lnTo>
                    <a:pt x="480" y="3340"/>
                  </a:lnTo>
                  <a:lnTo>
                    <a:pt x="486" y="3340"/>
                  </a:lnTo>
                  <a:lnTo>
                    <a:pt x="496" y="3342"/>
                  </a:lnTo>
                  <a:lnTo>
                    <a:pt x="510" y="3344"/>
                  </a:lnTo>
                  <a:lnTo>
                    <a:pt x="518" y="3348"/>
                  </a:lnTo>
                  <a:lnTo>
                    <a:pt x="520" y="3346"/>
                  </a:lnTo>
                  <a:lnTo>
                    <a:pt x="518" y="3342"/>
                  </a:lnTo>
                  <a:lnTo>
                    <a:pt x="510" y="3328"/>
                  </a:lnTo>
                  <a:lnTo>
                    <a:pt x="500" y="3308"/>
                  </a:lnTo>
                  <a:lnTo>
                    <a:pt x="496" y="3296"/>
                  </a:lnTo>
                  <a:lnTo>
                    <a:pt x="492" y="3282"/>
                  </a:lnTo>
                  <a:lnTo>
                    <a:pt x="490" y="3266"/>
                  </a:lnTo>
                  <a:lnTo>
                    <a:pt x="490" y="3256"/>
                  </a:lnTo>
                  <a:lnTo>
                    <a:pt x="490" y="3246"/>
                  </a:lnTo>
                  <a:lnTo>
                    <a:pt x="494" y="3238"/>
                  </a:lnTo>
                  <a:lnTo>
                    <a:pt x="498" y="3228"/>
                  </a:lnTo>
                  <a:lnTo>
                    <a:pt x="506" y="3222"/>
                  </a:lnTo>
                  <a:lnTo>
                    <a:pt x="518" y="3216"/>
                  </a:lnTo>
                  <a:lnTo>
                    <a:pt x="528" y="3212"/>
                  </a:lnTo>
                  <a:lnTo>
                    <a:pt x="536" y="3208"/>
                  </a:lnTo>
                  <a:lnTo>
                    <a:pt x="542" y="3202"/>
                  </a:lnTo>
                  <a:lnTo>
                    <a:pt x="546" y="3196"/>
                  </a:lnTo>
                  <a:lnTo>
                    <a:pt x="550" y="3180"/>
                  </a:lnTo>
                  <a:lnTo>
                    <a:pt x="552" y="3156"/>
                  </a:lnTo>
                  <a:lnTo>
                    <a:pt x="556" y="3144"/>
                  </a:lnTo>
                  <a:lnTo>
                    <a:pt x="564" y="3134"/>
                  </a:lnTo>
                  <a:lnTo>
                    <a:pt x="572" y="3126"/>
                  </a:lnTo>
                  <a:lnTo>
                    <a:pt x="580" y="3122"/>
                  </a:lnTo>
                  <a:lnTo>
                    <a:pt x="596" y="3112"/>
                  </a:lnTo>
                  <a:lnTo>
                    <a:pt x="602" y="3108"/>
                  </a:lnTo>
                  <a:lnTo>
                    <a:pt x="604" y="3104"/>
                  </a:lnTo>
                  <a:lnTo>
                    <a:pt x="606" y="3100"/>
                  </a:lnTo>
                  <a:lnTo>
                    <a:pt x="610" y="3096"/>
                  </a:lnTo>
                  <a:lnTo>
                    <a:pt x="616" y="3092"/>
                  </a:lnTo>
                  <a:lnTo>
                    <a:pt x="622" y="3086"/>
                  </a:lnTo>
                  <a:lnTo>
                    <a:pt x="624" y="3082"/>
                  </a:lnTo>
                  <a:lnTo>
                    <a:pt x="622" y="3078"/>
                  </a:lnTo>
                  <a:lnTo>
                    <a:pt x="620" y="3074"/>
                  </a:lnTo>
                  <a:lnTo>
                    <a:pt x="620" y="3072"/>
                  </a:lnTo>
                  <a:lnTo>
                    <a:pt x="624" y="3066"/>
                  </a:lnTo>
                  <a:lnTo>
                    <a:pt x="626" y="3060"/>
                  </a:lnTo>
                  <a:lnTo>
                    <a:pt x="626" y="3054"/>
                  </a:lnTo>
                  <a:lnTo>
                    <a:pt x="626" y="3044"/>
                  </a:lnTo>
                  <a:lnTo>
                    <a:pt x="624" y="3038"/>
                  </a:lnTo>
                  <a:lnTo>
                    <a:pt x="620" y="3036"/>
                  </a:lnTo>
                  <a:lnTo>
                    <a:pt x="608" y="3036"/>
                  </a:lnTo>
                  <a:lnTo>
                    <a:pt x="600" y="3034"/>
                  </a:lnTo>
                  <a:lnTo>
                    <a:pt x="590" y="3032"/>
                  </a:lnTo>
                  <a:lnTo>
                    <a:pt x="580" y="3026"/>
                  </a:lnTo>
                  <a:lnTo>
                    <a:pt x="570" y="3016"/>
                  </a:lnTo>
                  <a:lnTo>
                    <a:pt x="554" y="2996"/>
                  </a:lnTo>
                  <a:lnTo>
                    <a:pt x="550" y="2988"/>
                  </a:lnTo>
                  <a:lnTo>
                    <a:pt x="550" y="2982"/>
                  </a:lnTo>
                  <a:lnTo>
                    <a:pt x="550" y="2976"/>
                  </a:lnTo>
                  <a:lnTo>
                    <a:pt x="554" y="2968"/>
                  </a:lnTo>
                  <a:lnTo>
                    <a:pt x="564" y="2948"/>
                  </a:lnTo>
                  <a:lnTo>
                    <a:pt x="570" y="2938"/>
                  </a:lnTo>
                  <a:lnTo>
                    <a:pt x="576" y="2930"/>
                  </a:lnTo>
                  <a:lnTo>
                    <a:pt x="580" y="2928"/>
                  </a:lnTo>
                  <a:lnTo>
                    <a:pt x="584" y="2926"/>
                  </a:lnTo>
                  <a:lnTo>
                    <a:pt x="592" y="2926"/>
                  </a:lnTo>
                  <a:lnTo>
                    <a:pt x="594" y="2924"/>
                  </a:lnTo>
                  <a:lnTo>
                    <a:pt x="598" y="2922"/>
                  </a:lnTo>
                  <a:lnTo>
                    <a:pt x="602" y="2918"/>
                  </a:lnTo>
                  <a:lnTo>
                    <a:pt x="608" y="2916"/>
                  </a:lnTo>
                  <a:lnTo>
                    <a:pt x="622" y="2916"/>
                  </a:lnTo>
                  <a:lnTo>
                    <a:pt x="628" y="2916"/>
                  </a:lnTo>
                  <a:lnTo>
                    <a:pt x="632" y="2914"/>
                  </a:lnTo>
                  <a:lnTo>
                    <a:pt x="634" y="2912"/>
                  </a:lnTo>
                  <a:lnTo>
                    <a:pt x="630" y="2908"/>
                  </a:lnTo>
                  <a:lnTo>
                    <a:pt x="628" y="2902"/>
                  </a:lnTo>
                  <a:lnTo>
                    <a:pt x="630" y="2898"/>
                  </a:lnTo>
                  <a:lnTo>
                    <a:pt x="638" y="2890"/>
                  </a:lnTo>
                  <a:lnTo>
                    <a:pt x="642" y="2886"/>
                  </a:lnTo>
                  <a:lnTo>
                    <a:pt x="646" y="2878"/>
                  </a:lnTo>
                  <a:lnTo>
                    <a:pt x="648" y="2868"/>
                  </a:lnTo>
                  <a:lnTo>
                    <a:pt x="644" y="2856"/>
                  </a:lnTo>
                  <a:lnTo>
                    <a:pt x="644" y="2850"/>
                  </a:lnTo>
                  <a:lnTo>
                    <a:pt x="644" y="2844"/>
                  </a:lnTo>
                  <a:lnTo>
                    <a:pt x="646" y="2836"/>
                  </a:lnTo>
                  <a:lnTo>
                    <a:pt x="648" y="2830"/>
                  </a:lnTo>
                  <a:lnTo>
                    <a:pt x="652" y="2822"/>
                  </a:lnTo>
                  <a:lnTo>
                    <a:pt x="660" y="2816"/>
                  </a:lnTo>
                  <a:lnTo>
                    <a:pt x="668" y="2810"/>
                  </a:lnTo>
                  <a:lnTo>
                    <a:pt x="678" y="2806"/>
                  </a:lnTo>
                  <a:lnTo>
                    <a:pt x="684" y="2802"/>
                  </a:lnTo>
                  <a:lnTo>
                    <a:pt x="682" y="2800"/>
                  </a:lnTo>
                  <a:lnTo>
                    <a:pt x="674" y="2798"/>
                  </a:lnTo>
                  <a:lnTo>
                    <a:pt x="662" y="2794"/>
                  </a:lnTo>
                  <a:lnTo>
                    <a:pt x="658" y="2790"/>
                  </a:lnTo>
                  <a:lnTo>
                    <a:pt x="658" y="2786"/>
                  </a:lnTo>
                  <a:lnTo>
                    <a:pt x="660" y="2782"/>
                  </a:lnTo>
                  <a:lnTo>
                    <a:pt x="664" y="2780"/>
                  </a:lnTo>
                  <a:lnTo>
                    <a:pt x="670" y="2780"/>
                  </a:lnTo>
                  <a:lnTo>
                    <a:pt x="676" y="2780"/>
                  </a:lnTo>
                  <a:lnTo>
                    <a:pt x="682" y="2782"/>
                  </a:lnTo>
                  <a:lnTo>
                    <a:pt x="686" y="2788"/>
                  </a:lnTo>
                  <a:lnTo>
                    <a:pt x="690" y="2792"/>
                  </a:lnTo>
                  <a:lnTo>
                    <a:pt x="692" y="2796"/>
                  </a:lnTo>
                  <a:lnTo>
                    <a:pt x="696" y="2798"/>
                  </a:lnTo>
                  <a:lnTo>
                    <a:pt x="700" y="2798"/>
                  </a:lnTo>
                  <a:lnTo>
                    <a:pt x="704" y="2796"/>
                  </a:lnTo>
                  <a:lnTo>
                    <a:pt x="708" y="2792"/>
                  </a:lnTo>
                  <a:lnTo>
                    <a:pt x="712" y="2786"/>
                  </a:lnTo>
                  <a:lnTo>
                    <a:pt x="714" y="2778"/>
                  </a:lnTo>
                  <a:lnTo>
                    <a:pt x="716" y="2770"/>
                  </a:lnTo>
                  <a:lnTo>
                    <a:pt x="714" y="2762"/>
                  </a:lnTo>
                  <a:lnTo>
                    <a:pt x="708" y="2754"/>
                  </a:lnTo>
                  <a:lnTo>
                    <a:pt x="706" y="2752"/>
                  </a:lnTo>
                  <a:lnTo>
                    <a:pt x="702" y="2752"/>
                  </a:lnTo>
                  <a:lnTo>
                    <a:pt x="678" y="2758"/>
                  </a:lnTo>
                  <a:lnTo>
                    <a:pt x="670" y="2760"/>
                  </a:lnTo>
                  <a:lnTo>
                    <a:pt x="662" y="2758"/>
                  </a:lnTo>
                  <a:lnTo>
                    <a:pt x="658" y="2756"/>
                  </a:lnTo>
                  <a:lnTo>
                    <a:pt x="656" y="2750"/>
                  </a:lnTo>
                  <a:lnTo>
                    <a:pt x="654" y="2744"/>
                  </a:lnTo>
                  <a:lnTo>
                    <a:pt x="656" y="2734"/>
                  </a:lnTo>
                  <a:lnTo>
                    <a:pt x="656" y="2726"/>
                  </a:lnTo>
                  <a:lnTo>
                    <a:pt x="654" y="2716"/>
                  </a:lnTo>
                  <a:lnTo>
                    <a:pt x="650" y="2700"/>
                  </a:lnTo>
                  <a:lnTo>
                    <a:pt x="648" y="2694"/>
                  </a:lnTo>
                  <a:lnTo>
                    <a:pt x="646" y="2690"/>
                  </a:lnTo>
                  <a:lnTo>
                    <a:pt x="648" y="2684"/>
                  </a:lnTo>
                  <a:lnTo>
                    <a:pt x="654" y="2682"/>
                  </a:lnTo>
                  <a:lnTo>
                    <a:pt x="662" y="2680"/>
                  </a:lnTo>
                  <a:lnTo>
                    <a:pt x="668" y="2682"/>
                  </a:lnTo>
                  <a:lnTo>
                    <a:pt x="684" y="2688"/>
                  </a:lnTo>
                  <a:lnTo>
                    <a:pt x="700" y="2696"/>
                  </a:lnTo>
                  <a:lnTo>
                    <a:pt x="708" y="2698"/>
                  </a:lnTo>
                  <a:lnTo>
                    <a:pt x="714" y="2700"/>
                  </a:lnTo>
                  <a:lnTo>
                    <a:pt x="724" y="2700"/>
                  </a:lnTo>
                  <a:lnTo>
                    <a:pt x="728" y="2700"/>
                  </a:lnTo>
                  <a:lnTo>
                    <a:pt x="734" y="2700"/>
                  </a:lnTo>
                  <a:lnTo>
                    <a:pt x="748" y="2694"/>
                  </a:lnTo>
                  <a:lnTo>
                    <a:pt x="762" y="2684"/>
                  </a:lnTo>
                  <a:lnTo>
                    <a:pt x="768" y="2680"/>
                  </a:lnTo>
                  <a:lnTo>
                    <a:pt x="770" y="2676"/>
                  </a:lnTo>
                  <a:lnTo>
                    <a:pt x="770" y="2672"/>
                  </a:lnTo>
                  <a:lnTo>
                    <a:pt x="770" y="2670"/>
                  </a:lnTo>
                  <a:lnTo>
                    <a:pt x="764" y="2664"/>
                  </a:lnTo>
                  <a:lnTo>
                    <a:pt x="762" y="2660"/>
                  </a:lnTo>
                  <a:lnTo>
                    <a:pt x="760" y="2658"/>
                  </a:lnTo>
                  <a:lnTo>
                    <a:pt x="758" y="2650"/>
                  </a:lnTo>
                  <a:lnTo>
                    <a:pt x="762" y="2642"/>
                  </a:lnTo>
                  <a:lnTo>
                    <a:pt x="770" y="2632"/>
                  </a:lnTo>
                  <a:lnTo>
                    <a:pt x="776" y="2622"/>
                  </a:lnTo>
                  <a:lnTo>
                    <a:pt x="778" y="2612"/>
                  </a:lnTo>
                  <a:lnTo>
                    <a:pt x="776" y="2602"/>
                  </a:lnTo>
                  <a:lnTo>
                    <a:pt x="772" y="2598"/>
                  </a:lnTo>
                  <a:lnTo>
                    <a:pt x="770" y="2596"/>
                  </a:lnTo>
                  <a:lnTo>
                    <a:pt x="766" y="2592"/>
                  </a:lnTo>
                  <a:lnTo>
                    <a:pt x="762" y="2588"/>
                  </a:lnTo>
                  <a:lnTo>
                    <a:pt x="760" y="2578"/>
                  </a:lnTo>
                  <a:lnTo>
                    <a:pt x="760" y="2574"/>
                  </a:lnTo>
                  <a:lnTo>
                    <a:pt x="762" y="2572"/>
                  </a:lnTo>
                  <a:lnTo>
                    <a:pt x="768" y="2572"/>
                  </a:lnTo>
                  <a:lnTo>
                    <a:pt x="774" y="2576"/>
                  </a:lnTo>
                  <a:lnTo>
                    <a:pt x="784" y="2582"/>
                  </a:lnTo>
                  <a:lnTo>
                    <a:pt x="792" y="2582"/>
                  </a:lnTo>
                  <a:lnTo>
                    <a:pt x="824" y="2578"/>
                  </a:lnTo>
                  <a:lnTo>
                    <a:pt x="856" y="2574"/>
                  </a:lnTo>
                  <a:lnTo>
                    <a:pt x="890" y="2566"/>
                  </a:lnTo>
                  <a:lnTo>
                    <a:pt x="920" y="2556"/>
                  </a:lnTo>
                  <a:lnTo>
                    <a:pt x="934" y="2550"/>
                  </a:lnTo>
                  <a:lnTo>
                    <a:pt x="944" y="2544"/>
                  </a:lnTo>
                  <a:lnTo>
                    <a:pt x="952" y="2538"/>
                  </a:lnTo>
                  <a:lnTo>
                    <a:pt x="956" y="2534"/>
                  </a:lnTo>
                  <a:lnTo>
                    <a:pt x="958" y="2528"/>
                  </a:lnTo>
                  <a:lnTo>
                    <a:pt x="960" y="2524"/>
                  </a:lnTo>
                  <a:lnTo>
                    <a:pt x="962" y="2516"/>
                  </a:lnTo>
                  <a:lnTo>
                    <a:pt x="966" y="2510"/>
                  </a:lnTo>
                  <a:lnTo>
                    <a:pt x="970" y="2504"/>
                  </a:lnTo>
                  <a:lnTo>
                    <a:pt x="980" y="2492"/>
                  </a:lnTo>
                  <a:lnTo>
                    <a:pt x="986" y="2478"/>
                  </a:lnTo>
                  <a:lnTo>
                    <a:pt x="990" y="2464"/>
                  </a:lnTo>
                  <a:lnTo>
                    <a:pt x="990" y="2444"/>
                  </a:lnTo>
                  <a:lnTo>
                    <a:pt x="990" y="2436"/>
                  </a:lnTo>
                  <a:lnTo>
                    <a:pt x="990" y="2432"/>
                  </a:lnTo>
                  <a:lnTo>
                    <a:pt x="986" y="2432"/>
                  </a:lnTo>
                  <a:lnTo>
                    <a:pt x="984" y="2432"/>
                  </a:lnTo>
                  <a:lnTo>
                    <a:pt x="980" y="2432"/>
                  </a:lnTo>
                  <a:lnTo>
                    <a:pt x="976" y="2432"/>
                  </a:lnTo>
                  <a:lnTo>
                    <a:pt x="970" y="2428"/>
                  </a:lnTo>
                  <a:lnTo>
                    <a:pt x="964" y="2420"/>
                  </a:lnTo>
                  <a:lnTo>
                    <a:pt x="962" y="2410"/>
                  </a:lnTo>
                  <a:lnTo>
                    <a:pt x="962" y="2404"/>
                  </a:lnTo>
                  <a:lnTo>
                    <a:pt x="964" y="2400"/>
                  </a:lnTo>
                  <a:lnTo>
                    <a:pt x="968" y="2396"/>
                  </a:lnTo>
                  <a:lnTo>
                    <a:pt x="970" y="2392"/>
                  </a:lnTo>
                  <a:lnTo>
                    <a:pt x="970" y="2388"/>
                  </a:lnTo>
                  <a:lnTo>
                    <a:pt x="968" y="2380"/>
                  </a:lnTo>
                  <a:lnTo>
                    <a:pt x="962" y="2368"/>
                  </a:lnTo>
                  <a:lnTo>
                    <a:pt x="954" y="2360"/>
                  </a:lnTo>
                  <a:lnTo>
                    <a:pt x="946" y="2354"/>
                  </a:lnTo>
                  <a:lnTo>
                    <a:pt x="928" y="2344"/>
                  </a:lnTo>
                  <a:lnTo>
                    <a:pt x="922" y="2338"/>
                  </a:lnTo>
                  <a:lnTo>
                    <a:pt x="918" y="2332"/>
                  </a:lnTo>
                  <a:lnTo>
                    <a:pt x="918" y="2330"/>
                  </a:lnTo>
                  <a:lnTo>
                    <a:pt x="920" y="2326"/>
                  </a:lnTo>
                  <a:lnTo>
                    <a:pt x="926" y="2316"/>
                  </a:lnTo>
                  <a:lnTo>
                    <a:pt x="928" y="2320"/>
                  </a:lnTo>
                  <a:lnTo>
                    <a:pt x="934" y="2326"/>
                  </a:lnTo>
                  <a:lnTo>
                    <a:pt x="946" y="2332"/>
                  </a:lnTo>
                  <a:lnTo>
                    <a:pt x="952" y="2334"/>
                  </a:lnTo>
                  <a:lnTo>
                    <a:pt x="958" y="2334"/>
                  </a:lnTo>
                  <a:lnTo>
                    <a:pt x="966" y="2336"/>
                  </a:lnTo>
                  <a:lnTo>
                    <a:pt x="976" y="2338"/>
                  </a:lnTo>
                  <a:lnTo>
                    <a:pt x="992" y="2348"/>
                  </a:lnTo>
                  <a:lnTo>
                    <a:pt x="1002" y="2352"/>
                  </a:lnTo>
                  <a:lnTo>
                    <a:pt x="1010" y="2356"/>
                  </a:lnTo>
                  <a:lnTo>
                    <a:pt x="1018" y="2358"/>
                  </a:lnTo>
                  <a:lnTo>
                    <a:pt x="1026" y="2356"/>
                  </a:lnTo>
                  <a:lnTo>
                    <a:pt x="1032" y="2354"/>
                  </a:lnTo>
                  <a:lnTo>
                    <a:pt x="1038" y="2352"/>
                  </a:lnTo>
                  <a:lnTo>
                    <a:pt x="1050" y="2356"/>
                  </a:lnTo>
                  <a:lnTo>
                    <a:pt x="1056" y="2358"/>
                  </a:lnTo>
                  <a:lnTo>
                    <a:pt x="1062" y="2358"/>
                  </a:lnTo>
                  <a:lnTo>
                    <a:pt x="1068" y="2358"/>
                  </a:lnTo>
                  <a:lnTo>
                    <a:pt x="1076" y="2354"/>
                  </a:lnTo>
                  <a:lnTo>
                    <a:pt x="1090" y="2344"/>
                  </a:lnTo>
                  <a:lnTo>
                    <a:pt x="1100" y="2334"/>
                  </a:lnTo>
                  <a:lnTo>
                    <a:pt x="1110" y="2320"/>
                  </a:lnTo>
                  <a:lnTo>
                    <a:pt x="1122" y="2300"/>
                  </a:lnTo>
                  <a:lnTo>
                    <a:pt x="1120" y="2294"/>
                  </a:lnTo>
                  <a:lnTo>
                    <a:pt x="1124" y="2288"/>
                  </a:lnTo>
                  <a:lnTo>
                    <a:pt x="1130" y="2282"/>
                  </a:lnTo>
                  <a:lnTo>
                    <a:pt x="1140" y="2276"/>
                  </a:lnTo>
                  <a:lnTo>
                    <a:pt x="1150" y="2270"/>
                  </a:lnTo>
                  <a:lnTo>
                    <a:pt x="1154" y="2264"/>
                  </a:lnTo>
                  <a:lnTo>
                    <a:pt x="1158" y="2256"/>
                  </a:lnTo>
                  <a:lnTo>
                    <a:pt x="1166" y="2232"/>
                  </a:lnTo>
                  <a:lnTo>
                    <a:pt x="1170" y="2224"/>
                  </a:lnTo>
                  <a:lnTo>
                    <a:pt x="1174" y="2218"/>
                  </a:lnTo>
                  <a:lnTo>
                    <a:pt x="1188" y="2204"/>
                  </a:lnTo>
                  <a:lnTo>
                    <a:pt x="1210" y="2184"/>
                  </a:lnTo>
                  <a:lnTo>
                    <a:pt x="1220" y="2174"/>
                  </a:lnTo>
                  <a:lnTo>
                    <a:pt x="1228" y="2164"/>
                  </a:lnTo>
                  <a:lnTo>
                    <a:pt x="1240" y="2140"/>
                  </a:lnTo>
                  <a:lnTo>
                    <a:pt x="1254" y="2110"/>
                  </a:lnTo>
                  <a:lnTo>
                    <a:pt x="1270" y="2074"/>
                  </a:lnTo>
                  <a:lnTo>
                    <a:pt x="1278" y="2058"/>
                  </a:lnTo>
                  <a:lnTo>
                    <a:pt x="1284" y="2048"/>
                  </a:lnTo>
                  <a:lnTo>
                    <a:pt x="1290" y="2042"/>
                  </a:lnTo>
                  <a:lnTo>
                    <a:pt x="1294" y="2038"/>
                  </a:lnTo>
                  <a:lnTo>
                    <a:pt x="1304" y="2030"/>
                  </a:lnTo>
                  <a:lnTo>
                    <a:pt x="1308" y="2022"/>
                  </a:lnTo>
                  <a:lnTo>
                    <a:pt x="1314" y="2012"/>
                  </a:lnTo>
                  <a:lnTo>
                    <a:pt x="1320" y="1998"/>
                  </a:lnTo>
                  <a:lnTo>
                    <a:pt x="1322" y="1984"/>
                  </a:lnTo>
                  <a:lnTo>
                    <a:pt x="1322" y="1970"/>
                  </a:lnTo>
                  <a:lnTo>
                    <a:pt x="1322" y="1956"/>
                  </a:lnTo>
                  <a:lnTo>
                    <a:pt x="1322" y="1926"/>
                  </a:lnTo>
                  <a:lnTo>
                    <a:pt x="1320" y="1910"/>
                  </a:lnTo>
                  <a:lnTo>
                    <a:pt x="1322" y="1894"/>
                  </a:lnTo>
                  <a:lnTo>
                    <a:pt x="1324" y="1878"/>
                  </a:lnTo>
                  <a:lnTo>
                    <a:pt x="1332" y="1862"/>
                  </a:lnTo>
                  <a:lnTo>
                    <a:pt x="1340" y="1848"/>
                  </a:lnTo>
                  <a:lnTo>
                    <a:pt x="1352" y="1836"/>
                  </a:lnTo>
                  <a:lnTo>
                    <a:pt x="1364" y="1824"/>
                  </a:lnTo>
                  <a:lnTo>
                    <a:pt x="1376" y="1816"/>
                  </a:lnTo>
                  <a:lnTo>
                    <a:pt x="1388" y="1808"/>
                  </a:lnTo>
                  <a:lnTo>
                    <a:pt x="1398" y="1802"/>
                  </a:lnTo>
                  <a:lnTo>
                    <a:pt x="1422" y="1792"/>
                  </a:lnTo>
                  <a:lnTo>
                    <a:pt x="1438" y="1782"/>
                  </a:lnTo>
                  <a:lnTo>
                    <a:pt x="1452" y="1772"/>
                  </a:lnTo>
                  <a:lnTo>
                    <a:pt x="1462" y="1764"/>
                  </a:lnTo>
                  <a:lnTo>
                    <a:pt x="1476" y="1750"/>
                  </a:lnTo>
                  <a:lnTo>
                    <a:pt x="1482" y="1744"/>
                  </a:lnTo>
                  <a:lnTo>
                    <a:pt x="1490" y="1740"/>
                  </a:lnTo>
                  <a:lnTo>
                    <a:pt x="1498" y="1738"/>
                  </a:lnTo>
                  <a:lnTo>
                    <a:pt x="1502" y="1738"/>
                  </a:lnTo>
                  <a:lnTo>
                    <a:pt x="1506" y="1740"/>
                  </a:lnTo>
                  <a:lnTo>
                    <a:pt x="1508" y="1742"/>
                  </a:lnTo>
                  <a:lnTo>
                    <a:pt x="1514" y="1742"/>
                  </a:lnTo>
                  <a:lnTo>
                    <a:pt x="1520" y="1742"/>
                  </a:lnTo>
                  <a:lnTo>
                    <a:pt x="1530" y="1740"/>
                  </a:lnTo>
                  <a:lnTo>
                    <a:pt x="1544" y="1738"/>
                  </a:lnTo>
                  <a:lnTo>
                    <a:pt x="1556" y="1738"/>
                  </a:lnTo>
                  <a:lnTo>
                    <a:pt x="1576" y="1738"/>
                  </a:lnTo>
                  <a:lnTo>
                    <a:pt x="1584" y="1738"/>
                  </a:lnTo>
                  <a:lnTo>
                    <a:pt x="1588" y="1736"/>
                  </a:lnTo>
                  <a:lnTo>
                    <a:pt x="1592" y="1734"/>
                  </a:lnTo>
                  <a:lnTo>
                    <a:pt x="1590" y="1728"/>
                  </a:lnTo>
                  <a:lnTo>
                    <a:pt x="1590" y="1724"/>
                  </a:lnTo>
                  <a:lnTo>
                    <a:pt x="1590" y="1722"/>
                  </a:lnTo>
                  <a:lnTo>
                    <a:pt x="1594" y="1716"/>
                  </a:lnTo>
                  <a:lnTo>
                    <a:pt x="1608" y="1702"/>
                  </a:lnTo>
                  <a:lnTo>
                    <a:pt x="1616" y="1696"/>
                  </a:lnTo>
                  <a:lnTo>
                    <a:pt x="1622" y="1690"/>
                  </a:lnTo>
                  <a:lnTo>
                    <a:pt x="1626" y="1682"/>
                  </a:lnTo>
                  <a:lnTo>
                    <a:pt x="1626" y="1676"/>
                  </a:lnTo>
                  <a:lnTo>
                    <a:pt x="1624" y="1672"/>
                  </a:lnTo>
                  <a:lnTo>
                    <a:pt x="1622" y="1662"/>
                  </a:lnTo>
                  <a:lnTo>
                    <a:pt x="1624" y="1654"/>
                  </a:lnTo>
                  <a:lnTo>
                    <a:pt x="1628" y="1644"/>
                  </a:lnTo>
                  <a:lnTo>
                    <a:pt x="1634" y="1634"/>
                  </a:lnTo>
                  <a:lnTo>
                    <a:pt x="1650" y="1610"/>
                  </a:lnTo>
                  <a:lnTo>
                    <a:pt x="1668" y="1580"/>
                  </a:lnTo>
                  <a:lnTo>
                    <a:pt x="1674" y="1564"/>
                  </a:lnTo>
                  <a:lnTo>
                    <a:pt x="1678" y="1550"/>
                  </a:lnTo>
                  <a:lnTo>
                    <a:pt x="1678" y="1536"/>
                  </a:lnTo>
                  <a:lnTo>
                    <a:pt x="1678" y="1524"/>
                  </a:lnTo>
                  <a:lnTo>
                    <a:pt x="1678" y="1514"/>
                  </a:lnTo>
                  <a:lnTo>
                    <a:pt x="1680" y="1506"/>
                  </a:lnTo>
                  <a:lnTo>
                    <a:pt x="1682" y="1498"/>
                  </a:lnTo>
                  <a:lnTo>
                    <a:pt x="1688" y="1494"/>
                  </a:lnTo>
                  <a:lnTo>
                    <a:pt x="1694" y="1488"/>
                  </a:lnTo>
                  <a:lnTo>
                    <a:pt x="1698" y="1480"/>
                  </a:lnTo>
                  <a:lnTo>
                    <a:pt x="1698" y="1470"/>
                  </a:lnTo>
                  <a:lnTo>
                    <a:pt x="1700" y="1460"/>
                  </a:lnTo>
                  <a:lnTo>
                    <a:pt x="1700" y="1434"/>
                  </a:lnTo>
                  <a:lnTo>
                    <a:pt x="1702" y="1418"/>
                  </a:lnTo>
                  <a:lnTo>
                    <a:pt x="1704" y="1404"/>
                  </a:lnTo>
                  <a:lnTo>
                    <a:pt x="1708" y="1390"/>
                  </a:lnTo>
                  <a:lnTo>
                    <a:pt x="1708" y="1378"/>
                  </a:lnTo>
                  <a:lnTo>
                    <a:pt x="1708" y="1368"/>
                  </a:lnTo>
                  <a:lnTo>
                    <a:pt x="1706" y="1360"/>
                  </a:lnTo>
                  <a:lnTo>
                    <a:pt x="1702" y="1342"/>
                  </a:lnTo>
                  <a:lnTo>
                    <a:pt x="1702" y="1334"/>
                  </a:lnTo>
                  <a:lnTo>
                    <a:pt x="1702" y="1324"/>
                  </a:lnTo>
                  <a:lnTo>
                    <a:pt x="1706" y="1252"/>
                  </a:lnTo>
                  <a:lnTo>
                    <a:pt x="1708" y="1234"/>
                  </a:lnTo>
                  <a:lnTo>
                    <a:pt x="1710" y="1224"/>
                  </a:lnTo>
                  <a:lnTo>
                    <a:pt x="1712" y="1220"/>
                  </a:lnTo>
                  <a:lnTo>
                    <a:pt x="1714" y="1220"/>
                  </a:lnTo>
                  <a:lnTo>
                    <a:pt x="1718" y="1222"/>
                  </a:lnTo>
                  <a:lnTo>
                    <a:pt x="1720" y="1226"/>
                  </a:lnTo>
                  <a:lnTo>
                    <a:pt x="1726" y="1234"/>
                  </a:lnTo>
                  <a:lnTo>
                    <a:pt x="1730" y="1238"/>
                  </a:lnTo>
                  <a:lnTo>
                    <a:pt x="1736" y="1238"/>
                  </a:lnTo>
                  <a:lnTo>
                    <a:pt x="1740" y="1234"/>
                  </a:lnTo>
                  <a:lnTo>
                    <a:pt x="1746" y="1224"/>
                  </a:lnTo>
                  <a:lnTo>
                    <a:pt x="1752" y="1212"/>
                  </a:lnTo>
                  <a:lnTo>
                    <a:pt x="1766" y="1176"/>
                  </a:lnTo>
                  <a:lnTo>
                    <a:pt x="1774" y="1158"/>
                  </a:lnTo>
                  <a:lnTo>
                    <a:pt x="1780" y="1146"/>
                  </a:lnTo>
                  <a:lnTo>
                    <a:pt x="1788" y="1136"/>
                  </a:lnTo>
                  <a:lnTo>
                    <a:pt x="1794" y="1128"/>
                  </a:lnTo>
                  <a:lnTo>
                    <a:pt x="1810" y="1112"/>
                  </a:lnTo>
                  <a:lnTo>
                    <a:pt x="1820" y="1100"/>
                  </a:lnTo>
                  <a:lnTo>
                    <a:pt x="1830" y="1082"/>
                  </a:lnTo>
                  <a:lnTo>
                    <a:pt x="1852" y="1044"/>
                  </a:lnTo>
                  <a:lnTo>
                    <a:pt x="1860" y="1030"/>
                  </a:lnTo>
                  <a:lnTo>
                    <a:pt x="1866" y="1016"/>
                  </a:lnTo>
                  <a:lnTo>
                    <a:pt x="1872" y="1002"/>
                  </a:lnTo>
                  <a:lnTo>
                    <a:pt x="1874" y="988"/>
                  </a:lnTo>
                  <a:lnTo>
                    <a:pt x="1874" y="972"/>
                  </a:lnTo>
                  <a:lnTo>
                    <a:pt x="1872" y="956"/>
                  </a:lnTo>
                  <a:close/>
                  <a:moveTo>
                    <a:pt x="1128" y="2234"/>
                  </a:moveTo>
                  <a:lnTo>
                    <a:pt x="1128" y="2234"/>
                  </a:lnTo>
                  <a:lnTo>
                    <a:pt x="1132" y="2242"/>
                  </a:lnTo>
                  <a:lnTo>
                    <a:pt x="1128" y="2234"/>
                  </a:lnTo>
                  <a:close/>
                  <a:moveTo>
                    <a:pt x="698" y="3490"/>
                  </a:moveTo>
                  <a:lnTo>
                    <a:pt x="698" y="3490"/>
                  </a:lnTo>
                  <a:lnTo>
                    <a:pt x="692" y="3492"/>
                  </a:lnTo>
                  <a:lnTo>
                    <a:pt x="688" y="3490"/>
                  </a:lnTo>
                  <a:lnTo>
                    <a:pt x="684" y="3490"/>
                  </a:lnTo>
                  <a:lnTo>
                    <a:pt x="678" y="3492"/>
                  </a:lnTo>
                  <a:lnTo>
                    <a:pt x="670" y="3496"/>
                  </a:lnTo>
                  <a:lnTo>
                    <a:pt x="666" y="3498"/>
                  </a:lnTo>
                  <a:lnTo>
                    <a:pt x="670" y="3500"/>
                  </a:lnTo>
                  <a:lnTo>
                    <a:pt x="672" y="3500"/>
                  </a:lnTo>
                  <a:lnTo>
                    <a:pt x="678" y="3498"/>
                  </a:lnTo>
                  <a:lnTo>
                    <a:pt x="682" y="3494"/>
                  </a:lnTo>
                  <a:lnTo>
                    <a:pt x="684" y="3496"/>
                  </a:lnTo>
                  <a:lnTo>
                    <a:pt x="686" y="3498"/>
                  </a:lnTo>
                  <a:lnTo>
                    <a:pt x="690" y="3496"/>
                  </a:lnTo>
                  <a:lnTo>
                    <a:pt x="694" y="3496"/>
                  </a:lnTo>
                  <a:lnTo>
                    <a:pt x="696" y="3496"/>
                  </a:lnTo>
                  <a:lnTo>
                    <a:pt x="700" y="3496"/>
                  </a:lnTo>
                  <a:lnTo>
                    <a:pt x="702" y="3494"/>
                  </a:lnTo>
                  <a:lnTo>
                    <a:pt x="704" y="3492"/>
                  </a:lnTo>
                  <a:lnTo>
                    <a:pt x="702" y="3490"/>
                  </a:lnTo>
                  <a:lnTo>
                    <a:pt x="698" y="3490"/>
                  </a:lnTo>
                  <a:close/>
                  <a:moveTo>
                    <a:pt x="294" y="3084"/>
                  </a:moveTo>
                  <a:lnTo>
                    <a:pt x="294" y="3084"/>
                  </a:lnTo>
                  <a:lnTo>
                    <a:pt x="298" y="3086"/>
                  </a:lnTo>
                  <a:lnTo>
                    <a:pt x="300" y="3084"/>
                  </a:lnTo>
                  <a:lnTo>
                    <a:pt x="300" y="3082"/>
                  </a:lnTo>
                  <a:lnTo>
                    <a:pt x="298" y="3080"/>
                  </a:lnTo>
                  <a:lnTo>
                    <a:pt x="292" y="3078"/>
                  </a:lnTo>
                  <a:lnTo>
                    <a:pt x="286" y="3078"/>
                  </a:lnTo>
                  <a:lnTo>
                    <a:pt x="282" y="3078"/>
                  </a:lnTo>
                  <a:lnTo>
                    <a:pt x="276" y="3080"/>
                  </a:lnTo>
                  <a:lnTo>
                    <a:pt x="274" y="3082"/>
                  </a:lnTo>
                  <a:lnTo>
                    <a:pt x="274" y="3084"/>
                  </a:lnTo>
                  <a:lnTo>
                    <a:pt x="280" y="3084"/>
                  </a:lnTo>
                  <a:lnTo>
                    <a:pt x="288" y="3084"/>
                  </a:lnTo>
                  <a:lnTo>
                    <a:pt x="294" y="3084"/>
                  </a:lnTo>
                  <a:close/>
                  <a:moveTo>
                    <a:pt x="338" y="3318"/>
                  </a:moveTo>
                  <a:lnTo>
                    <a:pt x="338" y="3318"/>
                  </a:lnTo>
                  <a:lnTo>
                    <a:pt x="330" y="3322"/>
                  </a:lnTo>
                  <a:lnTo>
                    <a:pt x="328" y="3324"/>
                  </a:lnTo>
                  <a:lnTo>
                    <a:pt x="330" y="3326"/>
                  </a:lnTo>
                  <a:lnTo>
                    <a:pt x="334" y="3326"/>
                  </a:lnTo>
                  <a:lnTo>
                    <a:pt x="338" y="3322"/>
                  </a:lnTo>
                  <a:lnTo>
                    <a:pt x="338" y="3318"/>
                  </a:lnTo>
                  <a:close/>
                  <a:moveTo>
                    <a:pt x="292" y="3034"/>
                  </a:moveTo>
                  <a:lnTo>
                    <a:pt x="292" y="3034"/>
                  </a:lnTo>
                  <a:lnTo>
                    <a:pt x="290" y="3032"/>
                  </a:lnTo>
                  <a:lnTo>
                    <a:pt x="288" y="3030"/>
                  </a:lnTo>
                  <a:lnTo>
                    <a:pt x="284" y="3030"/>
                  </a:lnTo>
                  <a:lnTo>
                    <a:pt x="282" y="3034"/>
                  </a:lnTo>
                  <a:lnTo>
                    <a:pt x="284" y="3036"/>
                  </a:lnTo>
                  <a:lnTo>
                    <a:pt x="286" y="3038"/>
                  </a:lnTo>
                  <a:lnTo>
                    <a:pt x="290" y="3036"/>
                  </a:lnTo>
                  <a:lnTo>
                    <a:pt x="292" y="3034"/>
                  </a:lnTo>
                  <a:close/>
                  <a:moveTo>
                    <a:pt x="420" y="3442"/>
                  </a:moveTo>
                  <a:lnTo>
                    <a:pt x="420" y="3442"/>
                  </a:lnTo>
                  <a:lnTo>
                    <a:pt x="420" y="3446"/>
                  </a:lnTo>
                  <a:lnTo>
                    <a:pt x="424" y="3452"/>
                  </a:lnTo>
                  <a:lnTo>
                    <a:pt x="440" y="3462"/>
                  </a:lnTo>
                  <a:lnTo>
                    <a:pt x="444" y="3464"/>
                  </a:lnTo>
                  <a:lnTo>
                    <a:pt x="444" y="3462"/>
                  </a:lnTo>
                  <a:lnTo>
                    <a:pt x="442" y="3458"/>
                  </a:lnTo>
                  <a:lnTo>
                    <a:pt x="438" y="3454"/>
                  </a:lnTo>
                  <a:lnTo>
                    <a:pt x="430" y="3446"/>
                  </a:lnTo>
                  <a:lnTo>
                    <a:pt x="434" y="3448"/>
                  </a:lnTo>
                  <a:lnTo>
                    <a:pt x="438" y="3450"/>
                  </a:lnTo>
                  <a:lnTo>
                    <a:pt x="442" y="3450"/>
                  </a:lnTo>
                  <a:lnTo>
                    <a:pt x="442" y="3448"/>
                  </a:lnTo>
                  <a:lnTo>
                    <a:pt x="440" y="3444"/>
                  </a:lnTo>
                  <a:lnTo>
                    <a:pt x="436" y="3438"/>
                  </a:lnTo>
                  <a:lnTo>
                    <a:pt x="434" y="3432"/>
                  </a:lnTo>
                  <a:lnTo>
                    <a:pt x="434" y="3420"/>
                  </a:lnTo>
                  <a:lnTo>
                    <a:pt x="434" y="3418"/>
                  </a:lnTo>
                  <a:lnTo>
                    <a:pt x="434" y="3420"/>
                  </a:lnTo>
                  <a:lnTo>
                    <a:pt x="430" y="3422"/>
                  </a:lnTo>
                  <a:lnTo>
                    <a:pt x="426" y="3428"/>
                  </a:lnTo>
                  <a:lnTo>
                    <a:pt x="426" y="3432"/>
                  </a:lnTo>
                  <a:lnTo>
                    <a:pt x="426" y="3436"/>
                  </a:lnTo>
                  <a:lnTo>
                    <a:pt x="424" y="3436"/>
                  </a:lnTo>
                  <a:lnTo>
                    <a:pt x="422" y="3436"/>
                  </a:lnTo>
                  <a:lnTo>
                    <a:pt x="420" y="3442"/>
                  </a:lnTo>
                  <a:close/>
                  <a:moveTo>
                    <a:pt x="272" y="3186"/>
                  </a:moveTo>
                  <a:lnTo>
                    <a:pt x="272" y="3186"/>
                  </a:lnTo>
                  <a:lnTo>
                    <a:pt x="270" y="3186"/>
                  </a:lnTo>
                  <a:lnTo>
                    <a:pt x="272" y="3180"/>
                  </a:lnTo>
                  <a:lnTo>
                    <a:pt x="274" y="3174"/>
                  </a:lnTo>
                  <a:lnTo>
                    <a:pt x="274" y="3168"/>
                  </a:lnTo>
                  <a:lnTo>
                    <a:pt x="274" y="3150"/>
                  </a:lnTo>
                  <a:lnTo>
                    <a:pt x="272" y="3136"/>
                  </a:lnTo>
                  <a:lnTo>
                    <a:pt x="272" y="3132"/>
                  </a:lnTo>
                  <a:lnTo>
                    <a:pt x="270" y="3132"/>
                  </a:lnTo>
                  <a:lnTo>
                    <a:pt x="266" y="3132"/>
                  </a:lnTo>
                  <a:lnTo>
                    <a:pt x="264" y="3130"/>
                  </a:lnTo>
                  <a:lnTo>
                    <a:pt x="262" y="3130"/>
                  </a:lnTo>
                  <a:lnTo>
                    <a:pt x="258" y="3132"/>
                  </a:lnTo>
                  <a:lnTo>
                    <a:pt x="252" y="3136"/>
                  </a:lnTo>
                  <a:lnTo>
                    <a:pt x="250" y="3138"/>
                  </a:lnTo>
                  <a:lnTo>
                    <a:pt x="252" y="3140"/>
                  </a:lnTo>
                  <a:lnTo>
                    <a:pt x="254" y="3142"/>
                  </a:lnTo>
                  <a:lnTo>
                    <a:pt x="254" y="3144"/>
                  </a:lnTo>
                  <a:lnTo>
                    <a:pt x="254" y="3146"/>
                  </a:lnTo>
                  <a:lnTo>
                    <a:pt x="256" y="3148"/>
                  </a:lnTo>
                  <a:lnTo>
                    <a:pt x="258" y="3150"/>
                  </a:lnTo>
                  <a:lnTo>
                    <a:pt x="260" y="3154"/>
                  </a:lnTo>
                  <a:lnTo>
                    <a:pt x="258" y="3164"/>
                  </a:lnTo>
                  <a:lnTo>
                    <a:pt x="256" y="3166"/>
                  </a:lnTo>
                  <a:lnTo>
                    <a:pt x="252" y="3164"/>
                  </a:lnTo>
                  <a:lnTo>
                    <a:pt x="250" y="3162"/>
                  </a:lnTo>
                  <a:lnTo>
                    <a:pt x="246" y="3162"/>
                  </a:lnTo>
                  <a:lnTo>
                    <a:pt x="244" y="3164"/>
                  </a:lnTo>
                  <a:lnTo>
                    <a:pt x="242" y="3162"/>
                  </a:lnTo>
                  <a:lnTo>
                    <a:pt x="238" y="3162"/>
                  </a:lnTo>
                  <a:lnTo>
                    <a:pt x="236" y="3164"/>
                  </a:lnTo>
                  <a:lnTo>
                    <a:pt x="234" y="3168"/>
                  </a:lnTo>
                  <a:lnTo>
                    <a:pt x="236" y="3172"/>
                  </a:lnTo>
                  <a:lnTo>
                    <a:pt x="238" y="3178"/>
                  </a:lnTo>
                  <a:lnTo>
                    <a:pt x="242" y="3184"/>
                  </a:lnTo>
                  <a:lnTo>
                    <a:pt x="244" y="3190"/>
                  </a:lnTo>
                  <a:lnTo>
                    <a:pt x="246" y="3194"/>
                  </a:lnTo>
                  <a:lnTo>
                    <a:pt x="248" y="3200"/>
                  </a:lnTo>
                  <a:lnTo>
                    <a:pt x="250" y="3200"/>
                  </a:lnTo>
                  <a:lnTo>
                    <a:pt x="252" y="3200"/>
                  </a:lnTo>
                  <a:lnTo>
                    <a:pt x="254" y="3196"/>
                  </a:lnTo>
                  <a:lnTo>
                    <a:pt x="254" y="3190"/>
                  </a:lnTo>
                  <a:lnTo>
                    <a:pt x="252" y="3184"/>
                  </a:lnTo>
                  <a:lnTo>
                    <a:pt x="250" y="3180"/>
                  </a:lnTo>
                  <a:lnTo>
                    <a:pt x="252" y="3178"/>
                  </a:lnTo>
                  <a:lnTo>
                    <a:pt x="254" y="3178"/>
                  </a:lnTo>
                  <a:lnTo>
                    <a:pt x="258" y="3182"/>
                  </a:lnTo>
                  <a:lnTo>
                    <a:pt x="262" y="3184"/>
                  </a:lnTo>
                  <a:lnTo>
                    <a:pt x="262" y="3186"/>
                  </a:lnTo>
                  <a:lnTo>
                    <a:pt x="260" y="3186"/>
                  </a:lnTo>
                  <a:lnTo>
                    <a:pt x="258" y="3190"/>
                  </a:lnTo>
                  <a:lnTo>
                    <a:pt x="258" y="3192"/>
                  </a:lnTo>
                  <a:lnTo>
                    <a:pt x="258" y="3194"/>
                  </a:lnTo>
                  <a:lnTo>
                    <a:pt x="258" y="3198"/>
                  </a:lnTo>
                  <a:lnTo>
                    <a:pt x="258" y="3202"/>
                  </a:lnTo>
                  <a:lnTo>
                    <a:pt x="258" y="3206"/>
                  </a:lnTo>
                  <a:lnTo>
                    <a:pt x="260" y="3208"/>
                  </a:lnTo>
                  <a:lnTo>
                    <a:pt x="266" y="3208"/>
                  </a:lnTo>
                  <a:lnTo>
                    <a:pt x="270" y="3208"/>
                  </a:lnTo>
                  <a:lnTo>
                    <a:pt x="272" y="3206"/>
                  </a:lnTo>
                  <a:lnTo>
                    <a:pt x="274" y="3200"/>
                  </a:lnTo>
                  <a:lnTo>
                    <a:pt x="274" y="3194"/>
                  </a:lnTo>
                  <a:lnTo>
                    <a:pt x="276" y="3192"/>
                  </a:lnTo>
                  <a:lnTo>
                    <a:pt x="276" y="3190"/>
                  </a:lnTo>
                  <a:lnTo>
                    <a:pt x="276" y="3188"/>
                  </a:lnTo>
                  <a:lnTo>
                    <a:pt x="276" y="3186"/>
                  </a:lnTo>
                  <a:lnTo>
                    <a:pt x="272" y="318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2" name="Freeform 6151">
              <a:extLst>
                <a:ext uri="{FF2B5EF4-FFF2-40B4-BE49-F238E27FC236}">
                  <a16:creationId xmlns:a16="http://schemas.microsoft.com/office/drawing/2014/main" id="{C68411AA-72D5-46AD-B491-903F5E680B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4500" y="3952497"/>
              <a:ext cx="1708234" cy="1525434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3" name="Freeform 6153">
              <a:extLst>
                <a:ext uri="{FF2B5EF4-FFF2-40B4-BE49-F238E27FC236}">
                  <a16:creationId xmlns:a16="http://schemas.microsoft.com/office/drawing/2014/main" id="{25E7CF2E-8766-4345-94BE-E6EA2DBA8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1075" y="2755632"/>
              <a:ext cx="1762208" cy="2303241"/>
            </a:xfrm>
            <a:custGeom>
              <a:avLst/>
              <a:gdLst>
                <a:gd name="T0" fmla="*/ 1666909 w 2776"/>
                <a:gd name="T1" fmla="*/ 1643154 h 3628"/>
                <a:gd name="T2" fmla="*/ 1572963 w 2776"/>
                <a:gd name="T3" fmla="*/ 1734581 h 3628"/>
                <a:gd name="T4" fmla="*/ 1567885 w 2776"/>
                <a:gd name="T5" fmla="*/ 1859024 h 3628"/>
                <a:gd name="T6" fmla="*/ 1595815 w 2776"/>
                <a:gd name="T7" fmla="*/ 1991086 h 3628"/>
                <a:gd name="T8" fmla="*/ 1712613 w 2776"/>
                <a:gd name="T9" fmla="*/ 1728232 h 3628"/>
                <a:gd name="T10" fmla="*/ 1736734 w 2776"/>
                <a:gd name="T11" fmla="*/ 1666011 h 3628"/>
                <a:gd name="T12" fmla="*/ 1698648 w 2776"/>
                <a:gd name="T13" fmla="*/ 844434 h 3628"/>
                <a:gd name="T14" fmla="*/ 1576772 w 2776"/>
                <a:gd name="T15" fmla="*/ 868560 h 3628"/>
                <a:gd name="T16" fmla="*/ 1533607 w 2776"/>
                <a:gd name="T17" fmla="*/ 784752 h 3628"/>
                <a:gd name="T18" fmla="*/ 1484095 w 2776"/>
                <a:gd name="T19" fmla="*/ 730150 h 3628"/>
                <a:gd name="T20" fmla="*/ 1434583 w 2776"/>
                <a:gd name="T21" fmla="*/ 633643 h 3628"/>
                <a:gd name="T22" fmla="*/ 1401575 w 2776"/>
                <a:gd name="T23" fmla="*/ 539676 h 3628"/>
                <a:gd name="T24" fmla="*/ 1353332 w 2776"/>
                <a:gd name="T25" fmla="*/ 454597 h 3628"/>
                <a:gd name="T26" fmla="*/ 1301281 w 2776"/>
                <a:gd name="T27" fmla="*/ 313647 h 3628"/>
                <a:gd name="T28" fmla="*/ 1263195 w 2776"/>
                <a:gd name="T29" fmla="*/ 199363 h 3628"/>
                <a:gd name="T30" fmla="*/ 1197179 w 2776"/>
                <a:gd name="T31" fmla="*/ 219680 h 3628"/>
                <a:gd name="T32" fmla="*/ 1090537 w 2776"/>
                <a:gd name="T33" fmla="*/ 195553 h 3628"/>
                <a:gd name="T34" fmla="*/ 983895 w 2776"/>
                <a:gd name="T35" fmla="*/ 156189 h 3628"/>
                <a:gd name="T36" fmla="*/ 873445 w 2776"/>
                <a:gd name="T37" fmla="*/ 208251 h 3628"/>
                <a:gd name="T38" fmla="*/ 743952 w 2776"/>
                <a:gd name="T39" fmla="*/ 142220 h 3628"/>
                <a:gd name="T40" fmla="*/ 731256 w 2776"/>
                <a:gd name="T41" fmla="*/ 69840 h 3628"/>
                <a:gd name="T42" fmla="*/ 712213 w 2776"/>
                <a:gd name="T43" fmla="*/ 20317 h 3628"/>
                <a:gd name="T44" fmla="*/ 633502 w 2776"/>
                <a:gd name="T45" fmla="*/ 8889 h 3628"/>
                <a:gd name="T46" fmla="*/ 534477 w 2776"/>
                <a:gd name="T47" fmla="*/ 17778 h 3628"/>
                <a:gd name="T48" fmla="*/ 424027 w 2776"/>
                <a:gd name="T49" fmla="*/ 54602 h 3628"/>
                <a:gd name="T50" fmla="*/ 344046 w 2776"/>
                <a:gd name="T51" fmla="*/ 72380 h 3628"/>
                <a:gd name="T52" fmla="*/ 210744 w 2776"/>
                <a:gd name="T53" fmla="*/ 162538 h 3628"/>
                <a:gd name="T54" fmla="*/ 124415 w 2776"/>
                <a:gd name="T55" fmla="*/ 312377 h 3628"/>
                <a:gd name="T56" fmla="*/ 38086 w 2776"/>
                <a:gd name="T57" fmla="*/ 453328 h 3628"/>
                <a:gd name="T58" fmla="*/ 15235 w 2776"/>
                <a:gd name="T59" fmla="*/ 537136 h 3628"/>
                <a:gd name="T60" fmla="*/ 38086 w 2776"/>
                <a:gd name="T61" fmla="*/ 626024 h 3628"/>
                <a:gd name="T62" fmla="*/ 25391 w 2776"/>
                <a:gd name="T63" fmla="*/ 775863 h 3628"/>
                <a:gd name="T64" fmla="*/ 34278 w 2776"/>
                <a:gd name="T65" fmla="*/ 802530 h 3628"/>
                <a:gd name="T66" fmla="*/ 34278 w 2776"/>
                <a:gd name="T67" fmla="*/ 825386 h 3628"/>
                <a:gd name="T68" fmla="*/ 54590 w 2776"/>
                <a:gd name="T69" fmla="*/ 848243 h 3628"/>
                <a:gd name="T70" fmla="*/ 71094 w 2776"/>
                <a:gd name="T71" fmla="*/ 863481 h 3628"/>
                <a:gd name="T72" fmla="*/ 106642 w 2776"/>
                <a:gd name="T73" fmla="*/ 909195 h 3628"/>
                <a:gd name="T74" fmla="*/ 115528 w 2776"/>
                <a:gd name="T75" fmla="*/ 940941 h 3628"/>
                <a:gd name="T76" fmla="*/ 171388 w 2776"/>
                <a:gd name="T77" fmla="*/ 996813 h 3628"/>
                <a:gd name="T78" fmla="*/ 319925 w 2776"/>
                <a:gd name="T79" fmla="*/ 1036177 h 3628"/>
                <a:gd name="T80" fmla="*/ 411332 w 2776"/>
                <a:gd name="T81" fmla="*/ 1038717 h 3628"/>
                <a:gd name="T82" fmla="*/ 535747 w 2776"/>
                <a:gd name="T83" fmla="*/ 993003 h 3628"/>
                <a:gd name="T84" fmla="*/ 632232 w 2776"/>
                <a:gd name="T85" fmla="*/ 1052685 h 3628"/>
                <a:gd name="T86" fmla="*/ 690631 w 2776"/>
                <a:gd name="T87" fmla="*/ 1069193 h 3628"/>
                <a:gd name="T88" fmla="*/ 686822 w 2776"/>
                <a:gd name="T89" fmla="*/ 1158081 h 3628"/>
                <a:gd name="T90" fmla="*/ 700787 w 2776"/>
                <a:gd name="T91" fmla="*/ 1193636 h 3628"/>
                <a:gd name="T92" fmla="*/ 690631 w 2776"/>
                <a:gd name="T93" fmla="*/ 1262206 h 3628"/>
                <a:gd name="T94" fmla="*/ 766804 w 2776"/>
                <a:gd name="T95" fmla="*/ 1376491 h 3628"/>
                <a:gd name="T96" fmla="*/ 797273 w 2776"/>
                <a:gd name="T97" fmla="*/ 1521251 h 3628"/>
                <a:gd name="T98" fmla="*/ 746491 w 2776"/>
                <a:gd name="T99" fmla="*/ 1737121 h 3628"/>
                <a:gd name="T100" fmla="*/ 846785 w 2776"/>
                <a:gd name="T101" fmla="*/ 2073625 h 3628"/>
                <a:gd name="T102" fmla="*/ 903914 w 2776"/>
                <a:gd name="T103" fmla="*/ 2242511 h 3628"/>
                <a:gd name="T104" fmla="*/ 934383 w 2776"/>
                <a:gd name="T105" fmla="*/ 2289495 h 3628"/>
                <a:gd name="T106" fmla="*/ 1009286 w 2776"/>
                <a:gd name="T107" fmla="*/ 2284416 h 3628"/>
                <a:gd name="T108" fmla="*/ 1104502 w 2776"/>
                <a:gd name="T109" fmla="*/ 2269178 h 3628"/>
                <a:gd name="T110" fmla="*/ 1280968 w 2776"/>
                <a:gd name="T111" fmla="*/ 2079974 h 3628"/>
                <a:gd name="T112" fmla="*/ 1354602 w 2776"/>
                <a:gd name="T113" fmla="*/ 1940293 h 3628"/>
                <a:gd name="T114" fmla="*/ 1338098 w 2776"/>
                <a:gd name="T115" fmla="*/ 1812041 h 3628"/>
                <a:gd name="T116" fmla="*/ 1482826 w 2776"/>
                <a:gd name="T117" fmla="*/ 1673630 h 3628"/>
                <a:gd name="T118" fmla="*/ 1475208 w 2776"/>
                <a:gd name="T119" fmla="*/ 1513632 h 3628"/>
                <a:gd name="T120" fmla="*/ 1448548 w 2776"/>
                <a:gd name="T121" fmla="*/ 1400617 h 3628"/>
                <a:gd name="T122" fmla="*/ 1491712 w 2776"/>
                <a:gd name="T123" fmla="*/ 1268555 h 3628"/>
                <a:gd name="T124" fmla="*/ 1679605 w 2776"/>
                <a:gd name="T125" fmla="*/ 1045066 h 36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76"/>
                <a:gd name="T190" fmla="*/ 0 h 3628"/>
                <a:gd name="T191" fmla="*/ 2776 w 2776"/>
                <a:gd name="T192" fmla="*/ 3628 h 36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76" h="3628">
                  <a:moveTo>
                    <a:pt x="2710" y="2504"/>
                  </a:moveTo>
                  <a:lnTo>
                    <a:pt x="2710" y="2504"/>
                  </a:lnTo>
                  <a:lnTo>
                    <a:pt x="2706" y="2498"/>
                  </a:lnTo>
                  <a:lnTo>
                    <a:pt x="2702" y="2492"/>
                  </a:lnTo>
                  <a:lnTo>
                    <a:pt x="2698" y="2476"/>
                  </a:lnTo>
                  <a:lnTo>
                    <a:pt x="2696" y="2470"/>
                  </a:lnTo>
                  <a:lnTo>
                    <a:pt x="2692" y="2466"/>
                  </a:lnTo>
                  <a:lnTo>
                    <a:pt x="2690" y="2468"/>
                  </a:lnTo>
                  <a:lnTo>
                    <a:pt x="2684" y="2472"/>
                  </a:lnTo>
                  <a:lnTo>
                    <a:pt x="2680" y="2480"/>
                  </a:lnTo>
                  <a:lnTo>
                    <a:pt x="2678" y="2486"/>
                  </a:lnTo>
                  <a:lnTo>
                    <a:pt x="2676" y="2508"/>
                  </a:lnTo>
                  <a:lnTo>
                    <a:pt x="2674" y="2518"/>
                  </a:lnTo>
                  <a:lnTo>
                    <a:pt x="2672" y="2526"/>
                  </a:lnTo>
                  <a:lnTo>
                    <a:pt x="2668" y="2532"/>
                  </a:lnTo>
                  <a:lnTo>
                    <a:pt x="2664" y="2536"/>
                  </a:lnTo>
                  <a:lnTo>
                    <a:pt x="2656" y="2542"/>
                  </a:lnTo>
                  <a:lnTo>
                    <a:pt x="2648" y="2544"/>
                  </a:lnTo>
                  <a:lnTo>
                    <a:pt x="2634" y="2546"/>
                  </a:lnTo>
                  <a:lnTo>
                    <a:pt x="2632" y="2548"/>
                  </a:lnTo>
                  <a:lnTo>
                    <a:pt x="2632" y="2554"/>
                  </a:lnTo>
                  <a:lnTo>
                    <a:pt x="2638" y="2566"/>
                  </a:lnTo>
                  <a:lnTo>
                    <a:pt x="2636" y="2572"/>
                  </a:lnTo>
                  <a:lnTo>
                    <a:pt x="2636" y="2576"/>
                  </a:lnTo>
                  <a:lnTo>
                    <a:pt x="2626" y="2588"/>
                  </a:lnTo>
                  <a:lnTo>
                    <a:pt x="2606" y="2608"/>
                  </a:lnTo>
                  <a:lnTo>
                    <a:pt x="2596" y="2618"/>
                  </a:lnTo>
                  <a:lnTo>
                    <a:pt x="2588" y="2628"/>
                  </a:lnTo>
                  <a:lnTo>
                    <a:pt x="2578" y="2640"/>
                  </a:lnTo>
                  <a:lnTo>
                    <a:pt x="2572" y="2646"/>
                  </a:lnTo>
                  <a:lnTo>
                    <a:pt x="2564" y="2650"/>
                  </a:lnTo>
                  <a:lnTo>
                    <a:pt x="2554" y="2652"/>
                  </a:lnTo>
                  <a:lnTo>
                    <a:pt x="2538" y="2656"/>
                  </a:lnTo>
                  <a:lnTo>
                    <a:pt x="2530" y="2658"/>
                  </a:lnTo>
                  <a:lnTo>
                    <a:pt x="2526" y="2660"/>
                  </a:lnTo>
                  <a:lnTo>
                    <a:pt x="2522" y="2664"/>
                  </a:lnTo>
                  <a:lnTo>
                    <a:pt x="2520" y="2668"/>
                  </a:lnTo>
                  <a:lnTo>
                    <a:pt x="2516" y="2670"/>
                  </a:lnTo>
                  <a:lnTo>
                    <a:pt x="2512" y="2670"/>
                  </a:lnTo>
                  <a:lnTo>
                    <a:pt x="2506" y="2670"/>
                  </a:lnTo>
                  <a:lnTo>
                    <a:pt x="2500" y="2670"/>
                  </a:lnTo>
                  <a:lnTo>
                    <a:pt x="2496" y="2670"/>
                  </a:lnTo>
                  <a:lnTo>
                    <a:pt x="2496" y="2672"/>
                  </a:lnTo>
                  <a:lnTo>
                    <a:pt x="2496" y="2676"/>
                  </a:lnTo>
                  <a:lnTo>
                    <a:pt x="2494" y="2690"/>
                  </a:lnTo>
                  <a:lnTo>
                    <a:pt x="2492" y="2700"/>
                  </a:lnTo>
                  <a:lnTo>
                    <a:pt x="2486" y="2712"/>
                  </a:lnTo>
                  <a:lnTo>
                    <a:pt x="2480" y="2724"/>
                  </a:lnTo>
                  <a:lnTo>
                    <a:pt x="2478" y="2732"/>
                  </a:lnTo>
                  <a:lnTo>
                    <a:pt x="2478" y="2738"/>
                  </a:lnTo>
                  <a:lnTo>
                    <a:pt x="2478" y="2742"/>
                  </a:lnTo>
                  <a:lnTo>
                    <a:pt x="2482" y="2750"/>
                  </a:lnTo>
                  <a:lnTo>
                    <a:pt x="2482" y="2754"/>
                  </a:lnTo>
                  <a:lnTo>
                    <a:pt x="2482" y="2762"/>
                  </a:lnTo>
                  <a:lnTo>
                    <a:pt x="2480" y="2772"/>
                  </a:lnTo>
                  <a:lnTo>
                    <a:pt x="2480" y="2778"/>
                  </a:lnTo>
                  <a:lnTo>
                    <a:pt x="2484" y="2790"/>
                  </a:lnTo>
                  <a:lnTo>
                    <a:pt x="2488" y="2798"/>
                  </a:lnTo>
                  <a:lnTo>
                    <a:pt x="2488" y="2802"/>
                  </a:lnTo>
                  <a:lnTo>
                    <a:pt x="2488" y="2806"/>
                  </a:lnTo>
                  <a:lnTo>
                    <a:pt x="2488" y="2814"/>
                  </a:lnTo>
                  <a:lnTo>
                    <a:pt x="2490" y="2820"/>
                  </a:lnTo>
                  <a:lnTo>
                    <a:pt x="2494" y="2832"/>
                  </a:lnTo>
                  <a:lnTo>
                    <a:pt x="2498" y="2848"/>
                  </a:lnTo>
                  <a:lnTo>
                    <a:pt x="2498" y="2860"/>
                  </a:lnTo>
                  <a:lnTo>
                    <a:pt x="2496" y="2868"/>
                  </a:lnTo>
                  <a:lnTo>
                    <a:pt x="2492" y="2876"/>
                  </a:lnTo>
                  <a:lnTo>
                    <a:pt x="2488" y="2884"/>
                  </a:lnTo>
                  <a:lnTo>
                    <a:pt x="2480" y="2900"/>
                  </a:lnTo>
                  <a:lnTo>
                    <a:pt x="2476" y="2908"/>
                  </a:lnTo>
                  <a:lnTo>
                    <a:pt x="2474" y="2916"/>
                  </a:lnTo>
                  <a:lnTo>
                    <a:pt x="2472" y="2924"/>
                  </a:lnTo>
                  <a:lnTo>
                    <a:pt x="2470" y="2928"/>
                  </a:lnTo>
                  <a:lnTo>
                    <a:pt x="2466" y="2928"/>
                  </a:lnTo>
                  <a:lnTo>
                    <a:pt x="2464" y="2928"/>
                  </a:lnTo>
                  <a:lnTo>
                    <a:pt x="2462" y="2930"/>
                  </a:lnTo>
                  <a:lnTo>
                    <a:pt x="2458" y="2934"/>
                  </a:lnTo>
                  <a:lnTo>
                    <a:pt x="2454" y="2942"/>
                  </a:lnTo>
                  <a:lnTo>
                    <a:pt x="2450" y="2954"/>
                  </a:lnTo>
                  <a:lnTo>
                    <a:pt x="2448" y="2968"/>
                  </a:lnTo>
                  <a:lnTo>
                    <a:pt x="2446" y="2980"/>
                  </a:lnTo>
                  <a:lnTo>
                    <a:pt x="2448" y="2990"/>
                  </a:lnTo>
                  <a:lnTo>
                    <a:pt x="2448" y="2998"/>
                  </a:lnTo>
                  <a:lnTo>
                    <a:pt x="2456" y="3012"/>
                  </a:lnTo>
                  <a:lnTo>
                    <a:pt x="2464" y="3026"/>
                  </a:lnTo>
                  <a:lnTo>
                    <a:pt x="2466" y="3034"/>
                  </a:lnTo>
                  <a:lnTo>
                    <a:pt x="2466" y="3040"/>
                  </a:lnTo>
                  <a:lnTo>
                    <a:pt x="2466" y="3054"/>
                  </a:lnTo>
                  <a:lnTo>
                    <a:pt x="2464" y="3062"/>
                  </a:lnTo>
                  <a:lnTo>
                    <a:pt x="2466" y="3072"/>
                  </a:lnTo>
                  <a:lnTo>
                    <a:pt x="2468" y="3084"/>
                  </a:lnTo>
                  <a:lnTo>
                    <a:pt x="2474" y="3100"/>
                  </a:lnTo>
                  <a:lnTo>
                    <a:pt x="2480" y="3114"/>
                  </a:lnTo>
                  <a:lnTo>
                    <a:pt x="2486" y="3122"/>
                  </a:lnTo>
                  <a:lnTo>
                    <a:pt x="2492" y="3126"/>
                  </a:lnTo>
                  <a:lnTo>
                    <a:pt x="2498" y="3130"/>
                  </a:lnTo>
                  <a:lnTo>
                    <a:pt x="2510" y="3134"/>
                  </a:lnTo>
                  <a:lnTo>
                    <a:pt x="2514" y="3136"/>
                  </a:lnTo>
                  <a:lnTo>
                    <a:pt x="2520" y="3142"/>
                  </a:lnTo>
                  <a:lnTo>
                    <a:pt x="2522" y="3144"/>
                  </a:lnTo>
                  <a:lnTo>
                    <a:pt x="2526" y="3146"/>
                  </a:lnTo>
                  <a:lnTo>
                    <a:pt x="2534" y="3146"/>
                  </a:lnTo>
                  <a:lnTo>
                    <a:pt x="2544" y="3144"/>
                  </a:lnTo>
                  <a:lnTo>
                    <a:pt x="2554" y="3140"/>
                  </a:lnTo>
                  <a:lnTo>
                    <a:pt x="2574" y="3128"/>
                  </a:lnTo>
                  <a:lnTo>
                    <a:pt x="2584" y="3124"/>
                  </a:lnTo>
                  <a:lnTo>
                    <a:pt x="2594" y="3122"/>
                  </a:lnTo>
                  <a:lnTo>
                    <a:pt x="2598" y="3120"/>
                  </a:lnTo>
                  <a:lnTo>
                    <a:pt x="2602" y="3116"/>
                  </a:lnTo>
                  <a:lnTo>
                    <a:pt x="2610" y="3096"/>
                  </a:lnTo>
                  <a:lnTo>
                    <a:pt x="2620" y="3068"/>
                  </a:lnTo>
                  <a:lnTo>
                    <a:pt x="2628" y="3034"/>
                  </a:lnTo>
                  <a:lnTo>
                    <a:pt x="2648" y="2952"/>
                  </a:lnTo>
                  <a:lnTo>
                    <a:pt x="2668" y="2870"/>
                  </a:lnTo>
                  <a:lnTo>
                    <a:pt x="2682" y="2822"/>
                  </a:lnTo>
                  <a:lnTo>
                    <a:pt x="2694" y="2792"/>
                  </a:lnTo>
                  <a:lnTo>
                    <a:pt x="2696" y="2780"/>
                  </a:lnTo>
                  <a:lnTo>
                    <a:pt x="2700" y="2768"/>
                  </a:lnTo>
                  <a:lnTo>
                    <a:pt x="2700" y="2756"/>
                  </a:lnTo>
                  <a:lnTo>
                    <a:pt x="2698" y="2742"/>
                  </a:lnTo>
                  <a:lnTo>
                    <a:pt x="2698" y="2730"/>
                  </a:lnTo>
                  <a:lnTo>
                    <a:pt x="2698" y="2722"/>
                  </a:lnTo>
                  <a:lnTo>
                    <a:pt x="2700" y="2718"/>
                  </a:lnTo>
                  <a:lnTo>
                    <a:pt x="2704" y="2714"/>
                  </a:lnTo>
                  <a:lnTo>
                    <a:pt x="2710" y="2710"/>
                  </a:lnTo>
                  <a:lnTo>
                    <a:pt x="2712" y="2706"/>
                  </a:lnTo>
                  <a:lnTo>
                    <a:pt x="2710" y="2700"/>
                  </a:lnTo>
                  <a:lnTo>
                    <a:pt x="2710" y="2690"/>
                  </a:lnTo>
                  <a:lnTo>
                    <a:pt x="2712" y="2684"/>
                  </a:lnTo>
                  <a:lnTo>
                    <a:pt x="2712" y="2674"/>
                  </a:lnTo>
                  <a:lnTo>
                    <a:pt x="2712" y="2670"/>
                  </a:lnTo>
                  <a:lnTo>
                    <a:pt x="2710" y="2662"/>
                  </a:lnTo>
                  <a:lnTo>
                    <a:pt x="2706" y="2654"/>
                  </a:lnTo>
                  <a:lnTo>
                    <a:pt x="2706" y="2648"/>
                  </a:lnTo>
                  <a:lnTo>
                    <a:pt x="2706" y="2642"/>
                  </a:lnTo>
                  <a:lnTo>
                    <a:pt x="2708" y="2638"/>
                  </a:lnTo>
                  <a:lnTo>
                    <a:pt x="2710" y="2636"/>
                  </a:lnTo>
                  <a:lnTo>
                    <a:pt x="2714" y="2640"/>
                  </a:lnTo>
                  <a:lnTo>
                    <a:pt x="2718" y="2646"/>
                  </a:lnTo>
                  <a:lnTo>
                    <a:pt x="2722" y="2658"/>
                  </a:lnTo>
                  <a:lnTo>
                    <a:pt x="2724" y="2662"/>
                  </a:lnTo>
                  <a:lnTo>
                    <a:pt x="2728" y="2662"/>
                  </a:lnTo>
                  <a:lnTo>
                    <a:pt x="2732" y="2658"/>
                  </a:lnTo>
                  <a:lnTo>
                    <a:pt x="2734" y="2652"/>
                  </a:lnTo>
                  <a:lnTo>
                    <a:pt x="2736" y="2644"/>
                  </a:lnTo>
                  <a:lnTo>
                    <a:pt x="2738" y="2634"/>
                  </a:lnTo>
                  <a:lnTo>
                    <a:pt x="2736" y="2624"/>
                  </a:lnTo>
                  <a:lnTo>
                    <a:pt x="2734" y="2614"/>
                  </a:lnTo>
                  <a:lnTo>
                    <a:pt x="2732" y="2604"/>
                  </a:lnTo>
                  <a:lnTo>
                    <a:pt x="2730" y="2590"/>
                  </a:lnTo>
                  <a:lnTo>
                    <a:pt x="2724" y="2556"/>
                  </a:lnTo>
                  <a:lnTo>
                    <a:pt x="2720" y="2522"/>
                  </a:lnTo>
                  <a:lnTo>
                    <a:pt x="2716" y="2510"/>
                  </a:lnTo>
                  <a:lnTo>
                    <a:pt x="2710" y="2504"/>
                  </a:lnTo>
                  <a:close/>
                  <a:moveTo>
                    <a:pt x="2770" y="1364"/>
                  </a:moveTo>
                  <a:lnTo>
                    <a:pt x="2770" y="1364"/>
                  </a:lnTo>
                  <a:lnTo>
                    <a:pt x="2764" y="1352"/>
                  </a:lnTo>
                  <a:lnTo>
                    <a:pt x="2762" y="1342"/>
                  </a:lnTo>
                  <a:lnTo>
                    <a:pt x="2764" y="1332"/>
                  </a:lnTo>
                  <a:lnTo>
                    <a:pt x="2766" y="1322"/>
                  </a:lnTo>
                  <a:lnTo>
                    <a:pt x="2770" y="1316"/>
                  </a:lnTo>
                  <a:lnTo>
                    <a:pt x="2770" y="1308"/>
                  </a:lnTo>
                  <a:lnTo>
                    <a:pt x="2768" y="1304"/>
                  </a:lnTo>
                  <a:lnTo>
                    <a:pt x="2762" y="1300"/>
                  </a:lnTo>
                  <a:lnTo>
                    <a:pt x="2752" y="1300"/>
                  </a:lnTo>
                  <a:lnTo>
                    <a:pt x="2746" y="1302"/>
                  </a:lnTo>
                  <a:lnTo>
                    <a:pt x="2730" y="1314"/>
                  </a:lnTo>
                  <a:lnTo>
                    <a:pt x="2720" y="1320"/>
                  </a:lnTo>
                  <a:lnTo>
                    <a:pt x="2708" y="1326"/>
                  </a:lnTo>
                  <a:lnTo>
                    <a:pt x="2694" y="1330"/>
                  </a:lnTo>
                  <a:lnTo>
                    <a:pt x="2676" y="1330"/>
                  </a:lnTo>
                  <a:lnTo>
                    <a:pt x="2660" y="1332"/>
                  </a:lnTo>
                  <a:lnTo>
                    <a:pt x="2650" y="1332"/>
                  </a:lnTo>
                  <a:lnTo>
                    <a:pt x="2646" y="1334"/>
                  </a:lnTo>
                  <a:lnTo>
                    <a:pt x="2646" y="1336"/>
                  </a:lnTo>
                  <a:lnTo>
                    <a:pt x="2646" y="1338"/>
                  </a:lnTo>
                  <a:lnTo>
                    <a:pt x="2644" y="1340"/>
                  </a:lnTo>
                  <a:lnTo>
                    <a:pt x="2640" y="1340"/>
                  </a:lnTo>
                  <a:lnTo>
                    <a:pt x="2630" y="1340"/>
                  </a:lnTo>
                  <a:lnTo>
                    <a:pt x="2618" y="1340"/>
                  </a:lnTo>
                  <a:lnTo>
                    <a:pt x="2608" y="1342"/>
                  </a:lnTo>
                  <a:lnTo>
                    <a:pt x="2602" y="1346"/>
                  </a:lnTo>
                  <a:lnTo>
                    <a:pt x="2596" y="1352"/>
                  </a:lnTo>
                  <a:lnTo>
                    <a:pt x="2590" y="1356"/>
                  </a:lnTo>
                  <a:lnTo>
                    <a:pt x="2584" y="1360"/>
                  </a:lnTo>
                  <a:lnTo>
                    <a:pt x="2574" y="1360"/>
                  </a:lnTo>
                  <a:lnTo>
                    <a:pt x="2564" y="1358"/>
                  </a:lnTo>
                  <a:lnTo>
                    <a:pt x="2552" y="1356"/>
                  </a:lnTo>
                  <a:lnTo>
                    <a:pt x="2542" y="1356"/>
                  </a:lnTo>
                  <a:lnTo>
                    <a:pt x="2534" y="1360"/>
                  </a:lnTo>
                  <a:lnTo>
                    <a:pt x="2528" y="1366"/>
                  </a:lnTo>
                  <a:lnTo>
                    <a:pt x="2520" y="1370"/>
                  </a:lnTo>
                  <a:lnTo>
                    <a:pt x="2512" y="1374"/>
                  </a:lnTo>
                  <a:lnTo>
                    <a:pt x="2504" y="1376"/>
                  </a:lnTo>
                  <a:lnTo>
                    <a:pt x="2494" y="1374"/>
                  </a:lnTo>
                  <a:lnTo>
                    <a:pt x="2484" y="1368"/>
                  </a:lnTo>
                  <a:lnTo>
                    <a:pt x="2476" y="1362"/>
                  </a:lnTo>
                  <a:lnTo>
                    <a:pt x="2470" y="1356"/>
                  </a:lnTo>
                  <a:lnTo>
                    <a:pt x="2466" y="1350"/>
                  </a:lnTo>
                  <a:lnTo>
                    <a:pt x="2458" y="1334"/>
                  </a:lnTo>
                  <a:lnTo>
                    <a:pt x="2454" y="1328"/>
                  </a:lnTo>
                  <a:lnTo>
                    <a:pt x="2448" y="1320"/>
                  </a:lnTo>
                  <a:lnTo>
                    <a:pt x="2444" y="1318"/>
                  </a:lnTo>
                  <a:lnTo>
                    <a:pt x="2438" y="1316"/>
                  </a:lnTo>
                  <a:lnTo>
                    <a:pt x="2428" y="1316"/>
                  </a:lnTo>
                  <a:lnTo>
                    <a:pt x="2426" y="1316"/>
                  </a:lnTo>
                  <a:lnTo>
                    <a:pt x="2428" y="1314"/>
                  </a:lnTo>
                  <a:lnTo>
                    <a:pt x="2444" y="1302"/>
                  </a:lnTo>
                  <a:lnTo>
                    <a:pt x="2450" y="1298"/>
                  </a:lnTo>
                  <a:lnTo>
                    <a:pt x="2452" y="1294"/>
                  </a:lnTo>
                  <a:lnTo>
                    <a:pt x="2452" y="1288"/>
                  </a:lnTo>
                  <a:lnTo>
                    <a:pt x="2452" y="1284"/>
                  </a:lnTo>
                  <a:lnTo>
                    <a:pt x="2448" y="1272"/>
                  </a:lnTo>
                  <a:lnTo>
                    <a:pt x="2440" y="1260"/>
                  </a:lnTo>
                  <a:lnTo>
                    <a:pt x="2436" y="1256"/>
                  </a:lnTo>
                  <a:lnTo>
                    <a:pt x="2432" y="1254"/>
                  </a:lnTo>
                  <a:lnTo>
                    <a:pt x="2426" y="1252"/>
                  </a:lnTo>
                  <a:lnTo>
                    <a:pt x="2422" y="1244"/>
                  </a:lnTo>
                  <a:lnTo>
                    <a:pt x="2418" y="1238"/>
                  </a:lnTo>
                  <a:lnTo>
                    <a:pt x="2416" y="1236"/>
                  </a:lnTo>
                  <a:lnTo>
                    <a:pt x="2414" y="1232"/>
                  </a:lnTo>
                  <a:lnTo>
                    <a:pt x="2410" y="1224"/>
                  </a:lnTo>
                  <a:lnTo>
                    <a:pt x="2404" y="1214"/>
                  </a:lnTo>
                  <a:lnTo>
                    <a:pt x="2402" y="1214"/>
                  </a:lnTo>
                  <a:lnTo>
                    <a:pt x="2402" y="1216"/>
                  </a:lnTo>
                  <a:lnTo>
                    <a:pt x="2396" y="1208"/>
                  </a:lnTo>
                  <a:lnTo>
                    <a:pt x="2394" y="1204"/>
                  </a:lnTo>
                  <a:lnTo>
                    <a:pt x="2392" y="1202"/>
                  </a:lnTo>
                  <a:lnTo>
                    <a:pt x="2388" y="1202"/>
                  </a:lnTo>
                  <a:lnTo>
                    <a:pt x="2384" y="1202"/>
                  </a:lnTo>
                  <a:lnTo>
                    <a:pt x="2382" y="1198"/>
                  </a:lnTo>
                  <a:lnTo>
                    <a:pt x="2378" y="1192"/>
                  </a:lnTo>
                  <a:lnTo>
                    <a:pt x="2372" y="1182"/>
                  </a:lnTo>
                  <a:lnTo>
                    <a:pt x="2366" y="1172"/>
                  </a:lnTo>
                  <a:lnTo>
                    <a:pt x="2362" y="1166"/>
                  </a:lnTo>
                  <a:lnTo>
                    <a:pt x="2358" y="1164"/>
                  </a:lnTo>
                  <a:lnTo>
                    <a:pt x="2356" y="1164"/>
                  </a:lnTo>
                  <a:lnTo>
                    <a:pt x="2354" y="1166"/>
                  </a:lnTo>
                  <a:lnTo>
                    <a:pt x="2352" y="1166"/>
                  </a:lnTo>
                  <a:lnTo>
                    <a:pt x="2348" y="1162"/>
                  </a:lnTo>
                  <a:lnTo>
                    <a:pt x="2344" y="1156"/>
                  </a:lnTo>
                  <a:lnTo>
                    <a:pt x="2340" y="1150"/>
                  </a:lnTo>
                  <a:lnTo>
                    <a:pt x="2338" y="1150"/>
                  </a:lnTo>
                  <a:lnTo>
                    <a:pt x="2334" y="1150"/>
                  </a:lnTo>
                  <a:lnTo>
                    <a:pt x="2332" y="1152"/>
                  </a:lnTo>
                  <a:lnTo>
                    <a:pt x="2330" y="1152"/>
                  </a:lnTo>
                  <a:lnTo>
                    <a:pt x="2326" y="1150"/>
                  </a:lnTo>
                  <a:lnTo>
                    <a:pt x="2322" y="1144"/>
                  </a:lnTo>
                  <a:lnTo>
                    <a:pt x="2316" y="1132"/>
                  </a:lnTo>
                  <a:lnTo>
                    <a:pt x="2312" y="1124"/>
                  </a:lnTo>
                  <a:lnTo>
                    <a:pt x="2310" y="1122"/>
                  </a:lnTo>
                  <a:lnTo>
                    <a:pt x="2308" y="1124"/>
                  </a:lnTo>
                  <a:lnTo>
                    <a:pt x="2308" y="1128"/>
                  </a:lnTo>
                  <a:lnTo>
                    <a:pt x="2308" y="1140"/>
                  </a:lnTo>
                  <a:lnTo>
                    <a:pt x="2308" y="1144"/>
                  </a:lnTo>
                  <a:lnTo>
                    <a:pt x="2306" y="1146"/>
                  </a:lnTo>
                  <a:lnTo>
                    <a:pt x="2304" y="1142"/>
                  </a:lnTo>
                  <a:lnTo>
                    <a:pt x="2300" y="1136"/>
                  </a:lnTo>
                  <a:lnTo>
                    <a:pt x="2298" y="1126"/>
                  </a:lnTo>
                  <a:lnTo>
                    <a:pt x="2290" y="1110"/>
                  </a:lnTo>
                  <a:lnTo>
                    <a:pt x="2286" y="1100"/>
                  </a:lnTo>
                  <a:lnTo>
                    <a:pt x="2284" y="1086"/>
                  </a:lnTo>
                  <a:lnTo>
                    <a:pt x="2280" y="1058"/>
                  </a:lnTo>
                  <a:lnTo>
                    <a:pt x="2276" y="1042"/>
                  </a:lnTo>
                  <a:lnTo>
                    <a:pt x="2272" y="1026"/>
                  </a:lnTo>
                  <a:lnTo>
                    <a:pt x="2268" y="1012"/>
                  </a:lnTo>
                  <a:lnTo>
                    <a:pt x="2260" y="998"/>
                  </a:lnTo>
                  <a:lnTo>
                    <a:pt x="2252" y="988"/>
                  </a:lnTo>
                  <a:lnTo>
                    <a:pt x="2248" y="984"/>
                  </a:lnTo>
                  <a:lnTo>
                    <a:pt x="2244" y="986"/>
                  </a:lnTo>
                  <a:lnTo>
                    <a:pt x="2242" y="986"/>
                  </a:lnTo>
                  <a:lnTo>
                    <a:pt x="2240" y="984"/>
                  </a:lnTo>
                  <a:lnTo>
                    <a:pt x="2236" y="976"/>
                  </a:lnTo>
                  <a:lnTo>
                    <a:pt x="2230" y="968"/>
                  </a:lnTo>
                  <a:lnTo>
                    <a:pt x="2226" y="966"/>
                  </a:lnTo>
                  <a:lnTo>
                    <a:pt x="2222" y="966"/>
                  </a:lnTo>
                  <a:lnTo>
                    <a:pt x="2220" y="966"/>
                  </a:lnTo>
                  <a:lnTo>
                    <a:pt x="2218" y="964"/>
                  </a:lnTo>
                  <a:lnTo>
                    <a:pt x="2212" y="956"/>
                  </a:lnTo>
                  <a:lnTo>
                    <a:pt x="2208" y="944"/>
                  </a:lnTo>
                  <a:lnTo>
                    <a:pt x="2206" y="928"/>
                  </a:lnTo>
                  <a:lnTo>
                    <a:pt x="2202" y="900"/>
                  </a:lnTo>
                  <a:lnTo>
                    <a:pt x="2200" y="890"/>
                  </a:lnTo>
                  <a:lnTo>
                    <a:pt x="2202" y="884"/>
                  </a:lnTo>
                  <a:lnTo>
                    <a:pt x="2204" y="876"/>
                  </a:lnTo>
                  <a:lnTo>
                    <a:pt x="2204" y="870"/>
                  </a:lnTo>
                  <a:lnTo>
                    <a:pt x="2200" y="858"/>
                  </a:lnTo>
                  <a:lnTo>
                    <a:pt x="2198" y="850"/>
                  </a:lnTo>
                  <a:lnTo>
                    <a:pt x="2200" y="848"/>
                  </a:lnTo>
                  <a:lnTo>
                    <a:pt x="2204" y="850"/>
                  </a:lnTo>
                  <a:lnTo>
                    <a:pt x="2208" y="850"/>
                  </a:lnTo>
                  <a:lnTo>
                    <a:pt x="2210" y="848"/>
                  </a:lnTo>
                  <a:lnTo>
                    <a:pt x="2204" y="842"/>
                  </a:lnTo>
                  <a:lnTo>
                    <a:pt x="2198" y="826"/>
                  </a:lnTo>
                  <a:lnTo>
                    <a:pt x="2194" y="816"/>
                  </a:lnTo>
                  <a:lnTo>
                    <a:pt x="2192" y="802"/>
                  </a:lnTo>
                  <a:lnTo>
                    <a:pt x="2190" y="794"/>
                  </a:lnTo>
                  <a:lnTo>
                    <a:pt x="2188" y="790"/>
                  </a:lnTo>
                  <a:lnTo>
                    <a:pt x="2184" y="786"/>
                  </a:lnTo>
                  <a:lnTo>
                    <a:pt x="2176" y="784"/>
                  </a:lnTo>
                  <a:lnTo>
                    <a:pt x="2174" y="782"/>
                  </a:lnTo>
                  <a:lnTo>
                    <a:pt x="2170" y="780"/>
                  </a:lnTo>
                  <a:lnTo>
                    <a:pt x="2166" y="772"/>
                  </a:lnTo>
                  <a:lnTo>
                    <a:pt x="2162" y="766"/>
                  </a:lnTo>
                  <a:lnTo>
                    <a:pt x="2160" y="764"/>
                  </a:lnTo>
                  <a:lnTo>
                    <a:pt x="2154" y="764"/>
                  </a:lnTo>
                  <a:lnTo>
                    <a:pt x="2150" y="762"/>
                  </a:lnTo>
                  <a:lnTo>
                    <a:pt x="2146" y="758"/>
                  </a:lnTo>
                  <a:lnTo>
                    <a:pt x="2138" y="746"/>
                  </a:lnTo>
                  <a:lnTo>
                    <a:pt x="2134" y="752"/>
                  </a:lnTo>
                  <a:lnTo>
                    <a:pt x="2138" y="746"/>
                  </a:lnTo>
                  <a:lnTo>
                    <a:pt x="2134" y="732"/>
                  </a:lnTo>
                  <a:lnTo>
                    <a:pt x="2132" y="716"/>
                  </a:lnTo>
                  <a:lnTo>
                    <a:pt x="2132" y="710"/>
                  </a:lnTo>
                  <a:lnTo>
                    <a:pt x="2134" y="706"/>
                  </a:lnTo>
                  <a:lnTo>
                    <a:pt x="2136" y="702"/>
                  </a:lnTo>
                  <a:lnTo>
                    <a:pt x="2142" y="702"/>
                  </a:lnTo>
                  <a:lnTo>
                    <a:pt x="2144" y="702"/>
                  </a:lnTo>
                  <a:lnTo>
                    <a:pt x="2138" y="698"/>
                  </a:lnTo>
                  <a:lnTo>
                    <a:pt x="2134" y="692"/>
                  </a:lnTo>
                  <a:lnTo>
                    <a:pt x="2128" y="684"/>
                  </a:lnTo>
                  <a:lnTo>
                    <a:pt x="2120" y="674"/>
                  </a:lnTo>
                  <a:lnTo>
                    <a:pt x="2116" y="662"/>
                  </a:lnTo>
                  <a:lnTo>
                    <a:pt x="2108" y="642"/>
                  </a:lnTo>
                  <a:lnTo>
                    <a:pt x="2098" y="624"/>
                  </a:lnTo>
                  <a:lnTo>
                    <a:pt x="2082" y="594"/>
                  </a:lnTo>
                  <a:lnTo>
                    <a:pt x="2072" y="572"/>
                  </a:lnTo>
                  <a:lnTo>
                    <a:pt x="2070" y="564"/>
                  </a:lnTo>
                  <a:lnTo>
                    <a:pt x="2070" y="556"/>
                  </a:lnTo>
                  <a:lnTo>
                    <a:pt x="2070" y="550"/>
                  </a:lnTo>
                  <a:lnTo>
                    <a:pt x="2070" y="544"/>
                  </a:lnTo>
                  <a:lnTo>
                    <a:pt x="2064" y="534"/>
                  </a:lnTo>
                  <a:lnTo>
                    <a:pt x="2058" y="526"/>
                  </a:lnTo>
                  <a:lnTo>
                    <a:pt x="2056" y="520"/>
                  </a:lnTo>
                  <a:lnTo>
                    <a:pt x="2056" y="512"/>
                  </a:lnTo>
                  <a:lnTo>
                    <a:pt x="2054" y="504"/>
                  </a:lnTo>
                  <a:lnTo>
                    <a:pt x="2050" y="494"/>
                  </a:lnTo>
                  <a:lnTo>
                    <a:pt x="2036" y="474"/>
                  </a:lnTo>
                  <a:lnTo>
                    <a:pt x="2022" y="452"/>
                  </a:lnTo>
                  <a:lnTo>
                    <a:pt x="2018" y="442"/>
                  </a:lnTo>
                  <a:lnTo>
                    <a:pt x="2016" y="434"/>
                  </a:lnTo>
                  <a:lnTo>
                    <a:pt x="2016" y="426"/>
                  </a:lnTo>
                  <a:lnTo>
                    <a:pt x="2014" y="422"/>
                  </a:lnTo>
                  <a:lnTo>
                    <a:pt x="2010" y="416"/>
                  </a:lnTo>
                  <a:lnTo>
                    <a:pt x="2008" y="412"/>
                  </a:lnTo>
                  <a:lnTo>
                    <a:pt x="2008" y="408"/>
                  </a:lnTo>
                  <a:lnTo>
                    <a:pt x="2010" y="402"/>
                  </a:lnTo>
                  <a:lnTo>
                    <a:pt x="2014" y="394"/>
                  </a:lnTo>
                  <a:lnTo>
                    <a:pt x="2000" y="332"/>
                  </a:lnTo>
                  <a:lnTo>
                    <a:pt x="1998" y="332"/>
                  </a:lnTo>
                  <a:lnTo>
                    <a:pt x="1996" y="328"/>
                  </a:lnTo>
                  <a:lnTo>
                    <a:pt x="1992" y="326"/>
                  </a:lnTo>
                  <a:lnTo>
                    <a:pt x="1990" y="326"/>
                  </a:lnTo>
                  <a:lnTo>
                    <a:pt x="1986" y="326"/>
                  </a:lnTo>
                  <a:lnTo>
                    <a:pt x="1984" y="324"/>
                  </a:lnTo>
                  <a:lnTo>
                    <a:pt x="1984" y="322"/>
                  </a:lnTo>
                  <a:lnTo>
                    <a:pt x="1984" y="320"/>
                  </a:lnTo>
                  <a:lnTo>
                    <a:pt x="1986" y="318"/>
                  </a:lnTo>
                  <a:lnTo>
                    <a:pt x="1988" y="316"/>
                  </a:lnTo>
                  <a:lnTo>
                    <a:pt x="1990" y="314"/>
                  </a:lnTo>
                  <a:lnTo>
                    <a:pt x="1992" y="316"/>
                  </a:lnTo>
                  <a:lnTo>
                    <a:pt x="1998" y="320"/>
                  </a:lnTo>
                  <a:lnTo>
                    <a:pt x="1996" y="316"/>
                  </a:lnTo>
                  <a:lnTo>
                    <a:pt x="1990" y="310"/>
                  </a:lnTo>
                  <a:lnTo>
                    <a:pt x="1988" y="308"/>
                  </a:lnTo>
                  <a:lnTo>
                    <a:pt x="1986" y="308"/>
                  </a:lnTo>
                  <a:lnTo>
                    <a:pt x="1980" y="312"/>
                  </a:lnTo>
                  <a:lnTo>
                    <a:pt x="1976" y="314"/>
                  </a:lnTo>
                  <a:lnTo>
                    <a:pt x="1974" y="314"/>
                  </a:lnTo>
                  <a:lnTo>
                    <a:pt x="1966" y="310"/>
                  </a:lnTo>
                  <a:lnTo>
                    <a:pt x="1958" y="306"/>
                  </a:lnTo>
                  <a:lnTo>
                    <a:pt x="1954" y="306"/>
                  </a:lnTo>
                  <a:lnTo>
                    <a:pt x="1948" y="308"/>
                  </a:lnTo>
                  <a:lnTo>
                    <a:pt x="1938" y="312"/>
                  </a:lnTo>
                  <a:lnTo>
                    <a:pt x="1932" y="312"/>
                  </a:lnTo>
                  <a:lnTo>
                    <a:pt x="1928" y="312"/>
                  </a:lnTo>
                  <a:lnTo>
                    <a:pt x="1922" y="318"/>
                  </a:lnTo>
                  <a:lnTo>
                    <a:pt x="1920" y="320"/>
                  </a:lnTo>
                  <a:lnTo>
                    <a:pt x="1916" y="322"/>
                  </a:lnTo>
                  <a:lnTo>
                    <a:pt x="1908" y="326"/>
                  </a:lnTo>
                  <a:lnTo>
                    <a:pt x="1892" y="340"/>
                  </a:lnTo>
                  <a:lnTo>
                    <a:pt x="1886" y="346"/>
                  </a:lnTo>
                  <a:lnTo>
                    <a:pt x="1880" y="346"/>
                  </a:lnTo>
                  <a:lnTo>
                    <a:pt x="1874" y="346"/>
                  </a:lnTo>
                  <a:lnTo>
                    <a:pt x="1866" y="344"/>
                  </a:lnTo>
                  <a:lnTo>
                    <a:pt x="1854" y="336"/>
                  </a:lnTo>
                  <a:lnTo>
                    <a:pt x="1848" y="334"/>
                  </a:lnTo>
                  <a:lnTo>
                    <a:pt x="1844" y="334"/>
                  </a:lnTo>
                  <a:lnTo>
                    <a:pt x="1836" y="332"/>
                  </a:lnTo>
                  <a:lnTo>
                    <a:pt x="1830" y="330"/>
                  </a:lnTo>
                  <a:lnTo>
                    <a:pt x="1826" y="326"/>
                  </a:lnTo>
                  <a:lnTo>
                    <a:pt x="1822" y="326"/>
                  </a:lnTo>
                  <a:lnTo>
                    <a:pt x="1818" y="326"/>
                  </a:lnTo>
                  <a:lnTo>
                    <a:pt x="1812" y="326"/>
                  </a:lnTo>
                  <a:lnTo>
                    <a:pt x="1812" y="324"/>
                  </a:lnTo>
                  <a:lnTo>
                    <a:pt x="1808" y="322"/>
                  </a:lnTo>
                  <a:lnTo>
                    <a:pt x="1804" y="318"/>
                  </a:lnTo>
                  <a:lnTo>
                    <a:pt x="1794" y="314"/>
                  </a:lnTo>
                  <a:lnTo>
                    <a:pt x="1778" y="310"/>
                  </a:lnTo>
                  <a:lnTo>
                    <a:pt x="1762" y="308"/>
                  </a:lnTo>
                  <a:lnTo>
                    <a:pt x="1750" y="306"/>
                  </a:lnTo>
                  <a:lnTo>
                    <a:pt x="1734" y="308"/>
                  </a:lnTo>
                  <a:lnTo>
                    <a:pt x="1724" y="310"/>
                  </a:lnTo>
                  <a:lnTo>
                    <a:pt x="1718" y="310"/>
                  </a:lnTo>
                  <a:lnTo>
                    <a:pt x="1718" y="308"/>
                  </a:lnTo>
                  <a:lnTo>
                    <a:pt x="1716" y="302"/>
                  </a:lnTo>
                  <a:lnTo>
                    <a:pt x="1714" y="292"/>
                  </a:lnTo>
                  <a:lnTo>
                    <a:pt x="1710" y="288"/>
                  </a:lnTo>
                  <a:lnTo>
                    <a:pt x="1706" y="286"/>
                  </a:lnTo>
                  <a:lnTo>
                    <a:pt x="1700" y="284"/>
                  </a:lnTo>
                  <a:lnTo>
                    <a:pt x="1692" y="284"/>
                  </a:lnTo>
                  <a:lnTo>
                    <a:pt x="1678" y="284"/>
                  </a:lnTo>
                  <a:lnTo>
                    <a:pt x="1672" y="282"/>
                  </a:lnTo>
                  <a:lnTo>
                    <a:pt x="1666" y="280"/>
                  </a:lnTo>
                  <a:lnTo>
                    <a:pt x="1654" y="278"/>
                  </a:lnTo>
                  <a:lnTo>
                    <a:pt x="1648" y="276"/>
                  </a:lnTo>
                  <a:lnTo>
                    <a:pt x="1644" y="274"/>
                  </a:lnTo>
                  <a:lnTo>
                    <a:pt x="1640" y="266"/>
                  </a:lnTo>
                  <a:lnTo>
                    <a:pt x="1638" y="262"/>
                  </a:lnTo>
                  <a:lnTo>
                    <a:pt x="1632" y="256"/>
                  </a:lnTo>
                  <a:lnTo>
                    <a:pt x="1624" y="250"/>
                  </a:lnTo>
                  <a:lnTo>
                    <a:pt x="1612" y="242"/>
                  </a:lnTo>
                  <a:lnTo>
                    <a:pt x="1596" y="236"/>
                  </a:lnTo>
                  <a:lnTo>
                    <a:pt x="1584" y="236"/>
                  </a:lnTo>
                  <a:lnTo>
                    <a:pt x="1574" y="238"/>
                  </a:lnTo>
                  <a:lnTo>
                    <a:pt x="1568" y="242"/>
                  </a:lnTo>
                  <a:lnTo>
                    <a:pt x="1564" y="244"/>
                  </a:lnTo>
                  <a:lnTo>
                    <a:pt x="1560" y="246"/>
                  </a:lnTo>
                  <a:lnTo>
                    <a:pt x="1550" y="246"/>
                  </a:lnTo>
                  <a:lnTo>
                    <a:pt x="1544" y="248"/>
                  </a:lnTo>
                  <a:lnTo>
                    <a:pt x="1536" y="252"/>
                  </a:lnTo>
                  <a:lnTo>
                    <a:pt x="1528" y="260"/>
                  </a:lnTo>
                  <a:lnTo>
                    <a:pt x="1516" y="274"/>
                  </a:lnTo>
                  <a:lnTo>
                    <a:pt x="1510" y="284"/>
                  </a:lnTo>
                  <a:lnTo>
                    <a:pt x="1508" y="292"/>
                  </a:lnTo>
                  <a:lnTo>
                    <a:pt x="1508" y="302"/>
                  </a:lnTo>
                  <a:lnTo>
                    <a:pt x="1510" y="314"/>
                  </a:lnTo>
                  <a:lnTo>
                    <a:pt x="1512" y="324"/>
                  </a:lnTo>
                  <a:lnTo>
                    <a:pt x="1514" y="334"/>
                  </a:lnTo>
                  <a:lnTo>
                    <a:pt x="1512" y="344"/>
                  </a:lnTo>
                  <a:lnTo>
                    <a:pt x="1506" y="354"/>
                  </a:lnTo>
                  <a:lnTo>
                    <a:pt x="1498" y="362"/>
                  </a:lnTo>
                  <a:lnTo>
                    <a:pt x="1492" y="368"/>
                  </a:lnTo>
                  <a:lnTo>
                    <a:pt x="1484" y="374"/>
                  </a:lnTo>
                  <a:lnTo>
                    <a:pt x="1478" y="376"/>
                  </a:lnTo>
                  <a:lnTo>
                    <a:pt x="1470" y="376"/>
                  </a:lnTo>
                  <a:lnTo>
                    <a:pt x="1464" y="374"/>
                  </a:lnTo>
                  <a:lnTo>
                    <a:pt x="1458" y="368"/>
                  </a:lnTo>
                  <a:lnTo>
                    <a:pt x="1452" y="362"/>
                  </a:lnTo>
                  <a:lnTo>
                    <a:pt x="1446" y="356"/>
                  </a:lnTo>
                  <a:lnTo>
                    <a:pt x="1438" y="350"/>
                  </a:lnTo>
                  <a:lnTo>
                    <a:pt x="1418" y="338"/>
                  </a:lnTo>
                  <a:lnTo>
                    <a:pt x="1398" y="330"/>
                  </a:lnTo>
                  <a:lnTo>
                    <a:pt x="1376" y="328"/>
                  </a:lnTo>
                  <a:lnTo>
                    <a:pt x="1358" y="326"/>
                  </a:lnTo>
                  <a:lnTo>
                    <a:pt x="1350" y="324"/>
                  </a:lnTo>
                  <a:lnTo>
                    <a:pt x="1344" y="320"/>
                  </a:lnTo>
                  <a:lnTo>
                    <a:pt x="1338" y="316"/>
                  </a:lnTo>
                  <a:lnTo>
                    <a:pt x="1334" y="310"/>
                  </a:lnTo>
                  <a:lnTo>
                    <a:pt x="1330" y="300"/>
                  </a:lnTo>
                  <a:lnTo>
                    <a:pt x="1326" y="288"/>
                  </a:lnTo>
                  <a:lnTo>
                    <a:pt x="1324" y="276"/>
                  </a:lnTo>
                  <a:lnTo>
                    <a:pt x="1320" y="268"/>
                  </a:lnTo>
                  <a:lnTo>
                    <a:pt x="1314" y="262"/>
                  </a:lnTo>
                  <a:lnTo>
                    <a:pt x="1306" y="260"/>
                  </a:lnTo>
                  <a:lnTo>
                    <a:pt x="1294" y="258"/>
                  </a:lnTo>
                  <a:lnTo>
                    <a:pt x="1288" y="256"/>
                  </a:lnTo>
                  <a:lnTo>
                    <a:pt x="1284" y="254"/>
                  </a:lnTo>
                  <a:lnTo>
                    <a:pt x="1272" y="248"/>
                  </a:lnTo>
                  <a:lnTo>
                    <a:pt x="1256" y="242"/>
                  </a:lnTo>
                  <a:lnTo>
                    <a:pt x="1238" y="240"/>
                  </a:lnTo>
                  <a:lnTo>
                    <a:pt x="1230" y="240"/>
                  </a:lnTo>
                  <a:lnTo>
                    <a:pt x="1224" y="240"/>
                  </a:lnTo>
                  <a:lnTo>
                    <a:pt x="1216" y="242"/>
                  </a:lnTo>
                  <a:lnTo>
                    <a:pt x="1210" y="242"/>
                  </a:lnTo>
                  <a:lnTo>
                    <a:pt x="1196" y="236"/>
                  </a:lnTo>
                  <a:lnTo>
                    <a:pt x="1182" y="230"/>
                  </a:lnTo>
                  <a:lnTo>
                    <a:pt x="1172" y="224"/>
                  </a:lnTo>
                  <a:lnTo>
                    <a:pt x="1160" y="218"/>
                  </a:lnTo>
                  <a:lnTo>
                    <a:pt x="1156" y="214"/>
                  </a:lnTo>
                  <a:lnTo>
                    <a:pt x="1154" y="206"/>
                  </a:lnTo>
                  <a:lnTo>
                    <a:pt x="1152" y="198"/>
                  </a:lnTo>
                  <a:lnTo>
                    <a:pt x="1150" y="198"/>
                  </a:lnTo>
                  <a:lnTo>
                    <a:pt x="1148" y="198"/>
                  </a:lnTo>
                  <a:lnTo>
                    <a:pt x="1144" y="200"/>
                  </a:lnTo>
                  <a:lnTo>
                    <a:pt x="1142" y="200"/>
                  </a:lnTo>
                  <a:lnTo>
                    <a:pt x="1140" y="198"/>
                  </a:lnTo>
                  <a:lnTo>
                    <a:pt x="1132" y="196"/>
                  </a:lnTo>
                  <a:lnTo>
                    <a:pt x="1124" y="194"/>
                  </a:lnTo>
                  <a:lnTo>
                    <a:pt x="1118" y="194"/>
                  </a:lnTo>
                  <a:lnTo>
                    <a:pt x="1114" y="190"/>
                  </a:lnTo>
                  <a:lnTo>
                    <a:pt x="1110" y="184"/>
                  </a:lnTo>
                  <a:lnTo>
                    <a:pt x="1108" y="176"/>
                  </a:lnTo>
                  <a:lnTo>
                    <a:pt x="1110" y="170"/>
                  </a:lnTo>
                  <a:lnTo>
                    <a:pt x="1116" y="162"/>
                  </a:lnTo>
                  <a:lnTo>
                    <a:pt x="1134" y="144"/>
                  </a:lnTo>
                  <a:lnTo>
                    <a:pt x="1142" y="134"/>
                  </a:lnTo>
                  <a:lnTo>
                    <a:pt x="1150" y="124"/>
                  </a:lnTo>
                  <a:lnTo>
                    <a:pt x="1154" y="116"/>
                  </a:lnTo>
                  <a:lnTo>
                    <a:pt x="1154" y="114"/>
                  </a:lnTo>
                  <a:lnTo>
                    <a:pt x="1152" y="110"/>
                  </a:lnTo>
                  <a:lnTo>
                    <a:pt x="1150" y="106"/>
                  </a:lnTo>
                  <a:lnTo>
                    <a:pt x="1148" y="102"/>
                  </a:lnTo>
                  <a:lnTo>
                    <a:pt x="1148" y="96"/>
                  </a:lnTo>
                  <a:lnTo>
                    <a:pt x="1148" y="92"/>
                  </a:lnTo>
                  <a:lnTo>
                    <a:pt x="1146" y="90"/>
                  </a:lnTo>
                  <a:lnTo>
                    <a:pt x="1142" y="86"/>
                  </a:lnTo>
                  <a:lnTo>
                    <a:pt x="1136" y="82"/>
                  </a:lnTo>
                  <a:lnTo>
                    <a:pt x="1132" y="78"/>
                  </a:lnTo>
                  <a:lnTo>
                    <a:pt x="1128" y="74"/>
                  </a:lnTo>
                  <a:lnTo>
                    <a:pt x="1124" y="64"/>
                  </a:lnTo>
                  <a:lnTo>
                    <a:pt x="1124" y="60"/>
                  </a:lnTo>
                  <a:lnTo>
                    <a:pt x="1124" y="56"/>
                  </a:lnTo>
                  <a:lnTo>
                    <a:pt x="1126" y="52"/>
                  </a:lnTo>
                  <a:lnTo>
                    <a:pt x="1130" y="50"/>
                  </a:lnTo>
                  <a:lnTo>
                    <a:pt x="1140" y="42"/>
                  </a:lnTo>
                  <a:lnTo>
                    <a:pt x="1148" y="34"/>
                  </a:lnTo>
                  <a:lnTo>
                    <a:pt x="1152" y="26"/>
                  </a:lnTo>
                  <a:lnTo>
                    <a:pt x="1152" y="20"/>
                  </a:lnTo>
                  <a:lnTo>
                    <a:pt x="1152" y="16"/>
                  </a:lnTo>
                  <a:lnTo>
                    <a:pt x="1148" y="14"/>
                  </a:lnTo>
                  <a:lnTo>
                    <a:pt x="1146" y="16"/>
                  </a:lnTo>
                  <a:lnTo>
                    <a:pt x="1136" y="22"/>
                  </a:lnTo>
                  <a:lnTo>
                    <a:pt x="1128" y="30"/>
                  </a:lnTo>
                  <a:lnTo>
                    <a:pt x="1124" y="32"/>
                  </a:lnTo>
                  <a:lnTo>
                    <a:pt x="1122" y="32"/>
                  </a:lnTo>
                  <a:lnTo>
                    <a:pt x="1120" y="30"/>
                  </a:lnTo>
                  <a:lnTo>
                    <a:pt x="1118" y="26"/>
                  </a:lnTo>
                  <a:lnTo>
                    <a:pt x="1118" y="18"/>
                  </a:lnTo>
                  <a:lnTo>
                    <a:pt x="1116" y="10"/>
                  </a:lnTo>
                  <a:lnTo>
                    <a:pt x="1112" y="6"/>
                  </a:lnTo>
                  <a:lnTo>
                    <a:pt x="1108" y="4"/>
                  </a:lnTo>
                  <a:lnTo>
                    <a:pt x="1096" y="0"/>
                  </a:lnTo>
                  <a:lnTo>
                    <a:pt x="1088" y="2"/>
                  </a:lnTo>
                  <a:lnTo>
                    <a:pt x="1080" y="4"/>
                  </a:lnTo>
                  <a:lnTo>
                    <a:pt x="1074" y="6"/>
                  </a:lnTo>
                  <a:lnTo>
                    <a:pt x="1064" y="16"/>
                  </a:lnTo>
                  <a:lnTo>
                    <a:pt x="1058" y="22"/>
                  </a:lnTo>
                  <a:lnTo>
                    <a:pt x="1052" y="22"/>
                  </a:lnTo>
                  <a:lnTo>
                    <a:pt x="1040" y="22"/>
                  </a:lnTo>
                  <a:lnTo>
                    <a:pt x="1034" y="22"/>
                  </a:lnTo>
                  <a:lnTo>
                    <a:pt x="1026" y="24"/>
                  </a:lnTo>
                  <a:lnTo>
                    <a:pt x="1022" y="28"/>
                  </a:lnTo>
                  <a:lnTo>
                    <a:pt x="1018" y="24"/>
                  </a:lnTo>
                  <a:lnTo>
                    <a:pt x="1014" y="20"/>
                  </a:lnTo>
                  <a:lnTo>
                    <a:pt x="1006" y="14"/>
                  </a:lnTo>
                  <a:lnTo>
                    <a:pt x="1002" y="12"/>
                  </a:lnTo>
                  <a:lnTo>
                    <a:pt x="998" y="14"/>
                  </a:lnTo>
                  <a:lnTo>
                    <a:pt x="994" y="18"/>
                  </a:lnTo>
                  <a:lnTo>
                    <a:pt x="992" y="20"/>
                  </a:lnTo>
                  <a:lnTo>
                    <a:pt x="988" y="22"/>
                  </a:lnTo>
                  <a:lnTo>
                    <a:pt x="984" y="22"/>
                  </a:lnTo>
                  <a:lnTo>
                    <a:pt x="978" y="20"/>
                  </a:lnTo>
                  <a:lnTo>
                    <a:pt x="966" y="16"/>
                  </a:lnTo>
                  <a:lnTo>
                    <a:pt x="962" y="16"/>
                  </a:lnTo>
                  <a:lnTo>
                    <a:pt x="960" y="18"/>
                  </a:lnTo>
                  <a:lnTo>
                    <a:pt x="954" y="22"/>
                  </a:lnTo>
                  <a:lnTo>
                    <a:pt x="942" y="26"/>
                  </a:lnTo>
                  <a:lnTo>
                    <a:pt x="936" y="28"/>
                  </a:lnTo>
                  <a:lnTo>
                    <a:pt x="930" y="30"/>
                  </a:lnTo>
                  <a:lnTo>
                    <a:pt x="924" y="36"/>
                  </a:lnTo>
                  <a:lnTo>
                    <a:pt x="920" y="38"/>
                  </a:lnTo>
                  <a:lnTo>
                    <a:pt x="918" y="38"/>
                  </a:lnTo>
                  <a:lnTo>
                    <a:pt x="914" y="36"/>
                  </a:lnTo>
                  <a:lnTo>
                    <a:pt x="910" y="32"/>
                  </a:lnTo>
                  <a:lnTo>
                    <a:pt x="906" y="28"/>
                  </a:lnTo>
                  <a:lnTo>
                    <a:pt x="900" y="26"/>
                  </a:lnTo>
                  <a:lnTo>
                    <a:pt x="886" y="22"/>
                  </a:lnTo>
                  <a:lnTo>
                    <a:pt x="870" y="24"/>
                  </a:lnTo>
                  <a:lnTo>
                    <a:pt x="854" y="26"/>
                  </a:lnTo>
                  <a:lnTo>
                    <a:pt x="848" y="28"/>
                  </a:lnTo>
                  <a:lnTo>
                    <a:pt x="842" y="28"/>
                  </a:lnTo>
                  <a:lnTo>
                    <a:pt x="832" y="28"/>
                  </a:lnTo>
                  <a:lnTo>
                    <a:pt x="822" y="28"/>
                  </a:lnTo>
                  <a:lnTo>
                    <a:pt x="820" y="30"/>
                  </a:lnTo>
                  <a:lnTo>
                    <a:pt x="816" y="32"/>
                  </a:lnTo>
                  <a:lnTo>
                    <a:pt x="812" y="38"/>
                  </a:lnTo>
                  <a:lnTo>
                    <a:pt x="804" y="40"/>
                  </a:lnTo>
                  <a:lnTo>
                    <a:pt x="776" y="42"/>
                  </a:lnTo>
                  <a:lnTo>
                    <a:pt x="754" y="46"/>
                  </a:lnTo>
                  <a:lnTo>
                    <a:pt x="732" y="52"/>
                  </a:lnTo>
                  <a:lnTo>
                    <a:pt x="724" y="58"/>
                  </a:lnTo>
                  <a:lnTo>
                    <a:pt x="716" y="64"/>
                  </a:lnTo>
                  <a:lnTo>
                    <a:pt x="710" y="70"/>
                  </a:lnTo>
                  <a:lnTo>
                    <a:pt x="706" y="76"/>
                  </a:lnTo>
                  <a:lnTo>
                    <a:pt x="704" y="82"/>
                  </a:lnTo>
                  <a:lnTo>
                    <a:pt x="700" y="86"/>
                  </a:lnTo>
                  <a:lnTo>
                    <a:pt x="698" y="86"/>
                  </a:lnTo>
                  <a:lnTo>
                    <a:pt x="696" y="84"/>
                  </a:lnTo>
                  <a:lnTo>
                    <a:pt x="690" y="80"/>
                  </a:lnTo>
                  <a:lnTo>
                    <a:pt x="686" y="82"/>
                  </a:lnTo>
                  <a:lnTo>
                    <a:pt x="682" y="84"/>
                  </a:lnTo>
                  <a:lnTo>
                    <a:pt x="680" y="86"/>
                  </a:lnTo>
                  <a:lnTo>
                    <a:pt x="676" y="88"/>
                  </a:lnTo>
                  <a:lnTo>
                    <a:pt x="670" y="86"/>
                  </a:lnTo>
                  <a:lnTo>
                    <a:pt x="668" y="86"/>
                  </a:lnTo>
                  <a:lnTo>
                    <a:pt x="664" y="88"/>
                  </a:lnTo>
                  <a:lnTo>
                    <a:pt x="662" y="90"/>
                  </a:lnTo>
                  <a:lnTo>
                    <a:pt x="656" y="96"/>
                  </a:lnTo>
                  <a:lnTo>
                    <a:pt x="650" y="104"/>
                  </a:lnTo>
                  <a:lnTo>
                    <a:pt x="640" y="114"/>
                  </a:lnTo>
                  <a:lnTo>
                    <a:pt x="634" y="118"/>
                  </a:lnTo>
                  <a:lnTo>
                    <a:pt x="628" y="120"/>
                  </a:lnTo>
                  <a:lnTo>
                    <a:pt x="622" y="120"/>
                  </a:lnTo>
                  <a:lnTo>
                    <a:pt x="616" y="120"/>
                  </a:lnTo>
                  <a:lnTo>
                    <a:pt x="600" y="120"/>
                  </a:lnTo>
                  <a:lnTo>
                    <a:pt x="596" y="118"/>
                  </a:lnTo>
                  <a:lnTo>
                    <a:pt x="592" y="116"/>
                  </a:lnTo>
                  <a:lnTo>
                    <a:pt x="588" y="112"/>
                  </a:lnTo>
                  <a:lnTo>
                    <a:pt x="586" y="108"/>
                  </a:lnTo>
                  <a:lnTo>
                    <a:pt x="586" y="104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14"/>
                  </a:lnTo>
                  <a:lnTo>
                    <a:pt x="562" y="112"/>
                  </a:lnTo>
                  <a:lnTo>
                    <a:pt x="558" y="110"/>
                  </a:lnTo>
                  <a:lnTo>
                    <a:pt x="552" y="110"/>
                  </a:lnTo>
                  <a:lnTo>
                    <a:pt x="542" y="114"/>
                  </a:lnTo>
                  <a:lnTo>
                    <a:pt x="536" y="116"/>
                  </a:lnTo>
                  <a:lnTo>
                    <a:pt x="530" y="118"/>
                  </a:lnTo>
                  <a:lnTo>
                    <a:pt x="520" y="116"/>
                  </a:lnTo>
                  <a:lnTo>
                    <a:pt x="510" y="112"/>
                  </a:lnTo>
                  <a:lnTo>
                    <a:pt x="502" y="108"/>
                  </a:lnTo>
                  <a:lnTo>
                    <a:pt x="498" y="102"/>
                  </a:lnTo>
                  <a:lnTo>
                    <a:pt x="494" y="98"/>
                  </a:lnTo>
                  <a:lnTo>
                    <a:pt x="492" y="94"/>
                  </a:lnTo>
                  <a:lnTo>
                    <a:pt x="464" y="96"/>
                  </a:lnTo>
                  <a:lnTo>
                    <a:pt x="454" y="122"/>
                  </a:lnTo>
                  <a:lnTo>
                    <a:pt x="444" y="152"/>
                  </a:lnTo>
                  <a:lnTo>
                    <a:pt x="436" y="166"/>
                  </a:lnTo>
                  <a:lnTo>
                    <a:pt x="426" y="180"/>
                  </a:lnTo>
                  <a:lnTo>
                    <a:pt x="414" y="190"/>
                  </a:lnTo>
                  <a:lnTo>
                    <a:pt x="400" y="200"/>
                  </a:lnTo>
                  <a:lnTo>
                    <a:pt x="380" y="206"/>
                  </a:lnTo>
                  <a:lnTo>
                    <a:pt x="368" y="212"/>
                  </a:lnTo>
                  <a:lnTo>
                    <a:pt x="360" y="218"/>
                  </a:lnTo>
                  <a:lnTo>
                    <a:pt x="356" y="222"/>
                  </a:lnTo>
                  <a:lnTo>
                    <a:pt x="352" y="232"/>
                  </a:lnTo>
                  <a:lnTo>
                    <a:pt x="348" y="238"/>
                  </a:lnTo>
                  <a:lnTo>
                    <a:pt x="342" y="244"/>
                  </a:lnTo>
                  <a:lnTo>
                    <a:pt x="334" y="252"/>
                  </a:lnTo>
                  <a:lnTo>
                    <a:pt x="332" y="256"/>
                  </a:lnTo>
                  <a:lnTo>
                    <a:pt x="330" y="260"/>
                  </a:lnTo>
                  <a:lnTo>
                    <a:pt x="330" y="264"/>
                  </a:lnTo>
                  <a:lnTo>
                    <a:pt x="330" y="270"/>
                  </a:lnTo>
                  <a:lnTo>
                    <a:pt x="330" y="274"/>
                  </a:lnTo>
                  <a:lnTo>
                    <a:pt x="326" y="282"/>
                  </a:lnTo>
                  <a:lnTo>
                    <a:pt x="320" y="292"/>
                  </a:lnTo>
                  <a:lnTo>
                    <a:pt x="312" y="306"/>
                  </a:lnTo>
                  <a:lnTo>
                    <a:pt x="308" y="320"/>
                  </a:lnTo>
                  <a:lnTo>
                    <a:pt x="308" y="336"/>
                  </a:lnTo>
                  <a:lnTo>
                    <a:pt x="310" y="350"/>
                  </a:lnTo>
                  <a:lnTo>
                    <a:pt x="314" y="376"/>
                  </a:lnTo>
                  <a:lnTo>
                    <a:pt x="314" y="388"/>
                  </a:lnTo>
                  <a:lnTo>
                    <a:pt x="310" y="398"/>
                  </a:lnTo>
                  <a:lnTo>
                    <a:pt x="298" y="420"/>
                  </a:lnTo>
                  <a:lnTo>
                    <a:pt x="288" y="434"/>
                  </a:lnTo>
                  <a:lnTo>
                    <a:pt x="282" y="442"/>
                  </a:lnTo>
                  <a:lnTo>
                    <a:pt x="276" y="446"/>
                  </a:lnTo>
                  <a:lnTo>
                    <a:pt x="264" y="452"/>
                  </a:lnTo>
                  <a:lnTo>
                    <a:pt x="258" y="456"/>
                  </a:lnTo>
                  <a:lnTo>
                    <a:pt x="250" y="466"/>
                  </a:lnTo>
                  <a:lnTo>
                    <a:pt x="240" y="478"/>
                  </a:lnTo>
                  <a:lnTo>
                    <a:pt x="228" y="484"/>
                  </a:lnTo>
                  <a:lnTo>
                    <a:pt x="218" y="488"/>
                  </a:lnTo>
                  <a:lnTo>
                    <a:pt x="206" y="490"/>
                  </a:lnTo>
                  <a:lnTo>
                    <a:pt x="196" y="492"/>
                  </a:lnTo>
                  <a:lnTo>
                    <a:pt x="188" y="496"/>
                  </a:lnTo>
                  <a:lnTo>
                    <a:pt x="180" y="500"/>
                  </a:lnTo>
                  <a:lnTo>
                    <a:pt x="174" y="510"/>
                  </a:lnTo>
                  <a:lnTo>
                    <a:pt x="164" y="538"/>
                  </a:lnTo>
                  <a:lnTo>
                    <a:pt x="156" y="556"/>
                  </a:lnTo>
                  <a:lnTo>
                    <a:pt x="148" y="566"/>
                  </a:lnTo>
                  <a:lnTo>
                    <a:pt x="140" y="572"/>
                  </a:lnTo>
                  <a:lnTo>
                    <a:pt x="134" y="574"/>
                  </a:lnTo>
                  <a:lnTo>
                    <a:pt x="128" y="578"/>
                  </a:lnTo>
                  <a:lnTo>
                    <a:pt x="124" y="584"/>
                  </a:lnTo>
                  <a:lnTo>
                    <a:pt x="120" y="596"/>
                  </a:lnTo>
                  <a:lnTo>
                    <a:pt x="116" y="610"/>
                  </a:lnTo>
                  <a:lnTo>
                    <a:pt x="114" y="614"/>
                  </a:lnTo>
                  <a:lnTo>
                    <a:pt x="110" y="620"/>
                  </a:lnTo>
                  <a:lnTo>
                    <a:pt x="108" y="640"/>
                  </a:lnTo>
                  <a:lnTo>
                    <a:pt x="104" y="660"/>
                  </a:lnTo>
                  <a:lnTo>
                    <a:pt x="102" y="666"/>
                  </a:lnTo>
                  <a:lnTo>
                    <a:pt x="98" y="670"/>
                  </a:lnTo>
                  <a:lnTo>
                    <a:pt x="90" y="678"/>
                  </a:lnTo>
                  <a:lnTo>
                    <a:pt x="78" y="692"/>
                  </a:lnTo>
                  <a:lnTo>
                    <a:pt x="64" y="706"/>
                  </a:lnTo>
                  <a:lnTo>
                    <a:pt x="58" y="712"/>
                  </a:lnTo>
                  <a:lnTo>
                    <a:pt x="58" y="714"/>
                  </a:lnTo>
                  <a:lnTo>
                    <a:pt x="60" y="714"/>
                  </a:lnTo>
                  <a:lnTo>
                    <a:pt x="64" y="714"/>
                  </a:lnTo>
                  <a:lnTo>
                    <a:pt x="66" y="714"/>
                  </a:lnTo>
                  <a:lnTo>
                    <a:pt x="66" y="716"/>
                  </a:lnTo>
                  <a:lnTo>
                    <a:pt x="60" y="726"/>
                  </a:lnTo>
                  <a:lnTo>
                    <a:pt x="54" y="740"/>
                  </a:lnTo>
                  <a:lnTo>
                    <a:pt x="52" y="750"/>
                  </a:lnTo>
                  <a:lnTo>
                    <a:pt x="50" y="762"/>
                  </a:lnTo>
                  <a:lnTo>
                    <a:pt x="48" y="772"/>
                  </a:lnTo>
                  <a:lnTo>
                    <a:pt x="46" y="778"/>
                  </a:lnTo>
                  <a:lnTo>
                    <a:pt x="42" y="782"/>
                  </a:lnTo>
                  <a:lnTo>
                    <a:pt x="36" y="786"/>
                  </a:lnTo>
                  <a:lnTo>
                    <a:pt x="32" y="788"/>
                  </a:lnTo>
                  <a:lnTo>
                    <a:pt x="28" y="794"/>
                  </a:lnTo>
                  <a:lnTo>
                    <a:pt x="24" y="800"/>
                  </a:lnTo>
                  <a:lnTo>
                    <a:pt x="20" y="812"/>
                  </a:lnTo>
                  <a:lnTo>
                    <a:pt x="16" y="834"/>
                  </a:lnTo>
                  <a:lnTo>
                    <a:pt x="14" y="850"/>
                  </a:lnTo>
                  <a:lnTo>
                    <a:pt x="16" y="858"/>
                  </a:lnTo>
                  <a:lnTo>
                    <a:pt x="16" y="860"/>
                  </a:lnTo>
                  <a:lnTo>
                    <a:pt x="18" y="860"/>
                  </a:lnTo>
                  <a:lnTo>
                    <a:pt x="20" y="860"/>
                  </a:lnTo>
                  <a:lnTo>
                    <a:pt x="22" y="858"/>
                  </a:lnTo>
                  <a:lnTo>
                    <a:pt x="22" y="852"/>
                  </a:lnTo>
                  <a:lnTo>
                    <a:pt x="24" y="846"/>
                  </a:lnTo>
                  <a:lnTo>
                    <a:pt x="24" y="844"/>
                  </a:lnTo>
                  <a:lnTo>
                    <a:pt x="26" y="844"/>
                  </a:lnTo>
                  <a:lnTo>
                    <a:pt x="30" y="846"/>
                  </a:lnTo>
                  <a:lnTo>
                    <a:pt x="30" y="850"/>
                  </a:lnTo>
                  <a:lnTo>
                    <a:pt x="32" y="860"/>
                  </a:lnTo>
                  <a:lnTo>
                    <a:pt x="34" y="868"/>
                  </a:lnTo>
                  <a:lnTo>
                    <a:pt x="36" y="868"/>
                  </a:lnTo>
                  <a:lnTo>
                    <a:pt x="38" y="868"/>
                  </a:lnTo>
                  <a:lnTo>
                    <a:pt x="42" y="868"/>
                  </a:lnTo>
                  <a:lnTo>
                    <a:pt x="44" y="868"/>
                  </a:lnTo>
                  <a:lnTo>
                    <a:pt x="48" y="878"/>
                  </a:lnTo>
                  <a:lnTo>
                    <a:pt x="50" y="890"/>
                  </a:lnTo>
                  <a:lnTo>
                    <a:pt x="50" y="902"/>
                  </a:lnTo>
                  <a:lnTo>
                    <a:pt x="50" y="910"/>
                  </a:lnTo>
                  <a:lnTo>
                    <a:pt x="46" y="918"/>
                  </a:lnTo>
                  <a:lnTo>
                    <a:pt x="42" y="926"/>
                  </a:lnTo>
                  <a:lnTo>
                    <a:pt x="38" y="930"/>
                  </a:lnTo>
                  <a:lnTo>
                    <a:pt x="40" y="932"/>
                  </a:lnTo>
                  <a:lnTo>
                    <a:pt x="42" y="936"/>
                  </a:lnTo>
                  <a:lnTo>
                    <a:pt x="46" y="940"/>
                  </a:lnTo>
                  <a:lnTo>
                    <a:pt x="50" y="948"/>
                  </a:lnTo>
                  <a:lnTo>
                    <a:pt x="54" y="958"/>
                  </a:lnTo>
                  <a:lnTo>
                    <a:pt x="58" y="972"/>
                  </a:lnTo>
                  <a:lnTo>
                    <a:pt x="60" y="986"/>
                  </a:lnTo>
                  <a:lnTo>
                    <a:pt x="60" y="1002"/>
                  </a:lnTo>
                  <a:lnTo>
                    <a:pt x="58" y="1016"/>
                  </a:lnTo>
                  <a:lnTo>
                    <a:pt x="54" y="1030"/>
                  </a:lnTo>
                  <a:lnTo>
                    <a:pt x="42" y="1066"/>
                  </a:lnTo>
                  <a:lnTo>
                    <a:pt x="40" y="1076"/>
                  </a:lnTo>
                  <a:lnTo>
                    <a:pt x="40" y="1086"/>
                  </a:lnTo>
                  <a:lnTo>
                    <a:pt x="40" y="1102"/>
                  </a:lnTo>
                  <a:lnTo>
                    <a:pt x="34" y="1122"/>
                  </a:lnTo>
                  <a:lnTo>
                    <a:pt x="28" y="1132"/>
                  </a:lnTo>
                  <a:lnTo>
                    <a:pt x="22" y="1142"/>
                  </a:lnTo>
                  <a:lnTo>
                    <a:pt x="16" y="1150"/>
                  </a:lnTo>
                  <a:lnTo>
                    <a:pt x="6" y="1156"/>
                  </a:lnTo>
                  <a:lnTo>
                    <a:pt x="2" y="1160"/>
                  </a:lnTo>
                  <a:lnTo>
                    <a:pt x="0" y="1162"/>
                  </a:lnTo>
                  <a:lnTo>
                    <a:pt x="2" y="1164"/>
                  </a:lnTo>
                  <a:lnTo>
                    <a:pt x="10" y="1164"/>
                  </a:lnTo>
                  <a:lnTo>
                    <a:pt x="14" y="1164"/>
                  </a:lnTo>
                  <a:lnTo>
                    <a:pt x="16" y="1168"/>
                  </a:lnTo>
                  <a:lnTo>
                    <a:pt x="22" y="1184"/>
                  </a:lnTo>
                  <a:lnTo>
                    <a:pt x="30" y="1202"/>
                  </a:lnTo>
                  <a:lnTo>
                    <a:pt x="34" y="1210"/>
                  </a:lnTo>
                  <a:lnTo>
                    <a:pt x="38" y="1218"/>
                  </a:lnTo>
                  <a:lnTo>
                    <a:pt x="40" y="1222"/>
                  </a:lnTo>
                  <a:lnTo>
                    <a:pt x="44" y="1224"/>
                  </a:lnTo>
                  <a:lnTo>
                    <a:pt x="46" y="1226"/>
                  </a:lnTo>
                  <a:lnTo>
                    <a:pt x="52" y="1226"/>
                  </a:lnTo>
                  <a:lnTo>
                    <a:pt x="64" y="1224"/>
                  </a:lnTo>
                  <a:lnTo>
                    <a:pt x="80" y="1224"/>
                  </a:lnTo>
                  <a:lnTo>
                    <a:pt x="62" y="1228"/>
                  </a:lnTo>
                  <a:lnTo>
                    <a:pt x="50" y="1232"/>
                  </a:lnTo>
                  <a:lnTo>
                    <a:pt x="40" y="1232"/>
                  </a:lnTo>
                  <a:lnTo>
                    <a:pt x="38" y="1232"/>
                  </a:lnTo>
                  <a:lnTo>
                    <a:pt x="36" y="1228"/>
                  </a:lnTo>
                  <a:lnTo>
                    <a:pt x="34" y="1226"/>
                  </a:lnTo>
                  <a:lnTo>
                    <a:pt x="32" y="1224"/>
                  </a:lnTo>
                  <a:lnTo>
                    <a:pt x="28" y="1228"/>
                  </a:lnTo>
                  <a:lnTo>
                    <a:pt x="26" y="1234"/>
                  </a:lnTo>
                  <a:lnTo>
                    <a:pt x="28" y="1242"/>
                  </a:lnTo>
                  <a:lnTo>
                    <a:pt x="30" y="1252"/>
                  </a:lnTo>
                  <a:lnTo>
                    <a:pt x="30" y="1260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4" y="1264"/>
                  </a:lnTo>
                  <a:lnTo>
                    <a:pt x="40" y="1262"/>
                  </a:lnTo>
                  <a:lnTo>
                    <a:pt x="44" y="1264"/>
                  </a:lnTo>
                  <a:lnTo>
                    <a:pt x="48" y="1266"/>
                  </a:lnTo>
                  <a:lnTo>
                    <a:pt x="54" y="1264"/>
                  </a:lnTo>
                  <a:lnTo>
                    <a:pt x="60" y="1264"/>
                  </a:lnTo>
                  <a:lnTo>
                    <a:pt x="64" y="1264"/>
                  </a:lnTo>
                  <a:lnTo>
                    <a:pt x="70" y="1268"/>
                  </a:lnTo>
                  <a:lnTo>
                    <a:pt x="76" y="1268"/>
                  </a:lnTo>
                  <a:lnTo>
                    <a:pt x="64" y="1270"/>
                  </a:lnTo>
                  <a:lnTo>
                    <a:pt x="54" y="1270"/>
                  </a:lnTo>
                  <a:lnTo>
                    <a:pt x="44" y="1268"/>
                  </a:lnTo>
                  <a:lnTo>
                    <a:pt x="38" y="1266"/>
                  </a:lnTo>
                  <a:lnTo>
                    <a:pt x="36" y="1268"/>
                  </a:lnTo>
                  <a:lnTo>
                    <a:pt x="32" y="1270"/>
                  </a:lnTo>
                  <a:lnTo>
                    <a:pt x="30" y="1274"/>
                  </a:lnTo>
                  <a:lnTo>
                    <a:pt x="30" y="1276"/>
                  </a:lnTo>
                  <a:lnTo>
                    <a:pt x="34" y="1278"/>
                  </a:lnTo>
                  <a:lnTo>
                    <a:pt x="38" y="1282"/>
                  </a:lnTo>
                  <a:lnTo>
                    <a:pt x="40" y="1286"/>
                  </a:lnTo>
                  <a:lnTo>
                    <a:pt x="42" y="1286"/>
                  </a:lnTo>
                  <a:lnTo>
                    <a:pt x="48" y="1284"/>
                  </a:lnTo>
                  <a:lnTo>
                    <a:pt x="52" y="1284"/>
                  </a:lnTo>
                  <a:lnTo>
                    <a:pt x="50" y="1290"/>
                  </a:lnTo>
                  <a:lnTo>
                    <a:pt x="46" y="1296"/>
                  </a:lnTo>
                  <a:lnTo>
                    <a:pt x="48" y="1298"/>
                  </a:lnTo>
                  <a:lnTo>
                    <a:pt x="48" y="1300"/>
                  </a:lnTo>
                  <a:lnTo>
                    <a:pt x="54" y="1300"/>
                  </a:lnTo>
                  <a:lnTo>
                    <a:pt x="60" y="1300"/>
                  </a:lnTo>
                  <a:lnTo>
                    <a:pt x="64" y="1298"/>
                  </a:lnTo>
                  <a:lnTo>
                    <a:pt x="64" y="1300"/>
                  </a:lnTo>
                  <a:lnTo>
                    <a:pt x="64" y="1306"/>
                  </a:lnTo>
                  <a:lnTo>
                    <a:pt x="64" y="1312"/>
                  </a:lnTo>
                  <a:lnTo>
                    <a:pt x="66" y="1312"/>
                  </a:lnTo>
                  <a:lnTo>
                    <a:pt x="70" y="1310"/>
                  </a:lnTo>
                  <a:lnTo>
                    <a:pt x="78" y="1304"/>
                  </a:lnTo>
                  <a:lnTo>
                    <a:pt x="86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2" y="1304"/>
                  </a:lnTo>
                  <a:lnTo>
                    <a:pt x="80" y="1306"/>
                  </a:lnTo>
                  <a:lnTo>
                    <a:pt x="78" y="1308"/>
                  </a:lnTo>
                  <a:lnTo>
                    <a:pt x="80" y="1312"/>
                  </a:lnTo>
                  <a:lnTo>
                    <a:pt x="82" y="1318"/>
                  </a:lnTo>
                  <a:lnTo>
                    <a:pt x="84" y="1320"/>
                  </a:lnTo>
                  <a:lnTo>
                    <a:pt x="82" y="1324"/>
                  </a:lnTo>
                  <a:lnTo>
                    <a:pt x="80" y="1328"/>
                  </a:lnTo>
                  <a:lnTo>
                    <a:pt x="82" y="1328"/>
                  </a:lnTo>
                  <a:lnTo>
                    <a:pt x="84" y="1328"/>
                  </a:lnTo>
                  <a:lnTo>
                    <a:pt x="86" y="1332"/>
                  </a:lnTo>
                  <a:lnTo>
                    <a:pt x="86" y="1336"/>
                  </a:lnTo>
                  <a:lnTo>
                    <a:pt x="88" y="1336"/>
                  </a:lnTo>
                  <a:lnTo>
                    <a:pt x="90" y="1338"/>
                  </a:lnTo>
                  <a:lnTo>
                    <a:pt x="90" y="1342"/>
                  </a:lnTo>
                  <a:lnTo>
                    <a:pt x="92" y="1346"/>
                  </a:lnTo>
                  <a:lnTo>
                    <a:pt x="94" y="1344"/>
                  </a:lnTo>
                  <a:lnTo>
                    <a:pt x="100" y="1336"/>
                  </a:lnTo>
                  <a:lnTo>
                    <a:pt x="98" y="1344"/>
                  </a:lnTo>
                  <a:lnTo>
                    <a:pt x="100" y="1348"/>
                  </a:lnTo>
                  <a:lnTo>
                    <a:pt x="98" y="1352"/>
                  </a:lnTo>
                  <a:lnTo>
                    <a:pt x="100" y="1356"/>
                  </a:lnTo>
                  <a:lnTo>
                    <a:pt x="102" y="1356"/>
                  </a:lnTo>
                  <a:lnTo>
                    <a:pt x="104" y="1352"/>
                  </a:lnTo>
                  <a:lnTo>
                    <a:pt x="108" y="1346"/>
                  </a:lnTo>
                  <a:lnTo>
                    <a:pt x="110" y="1344"/>
                  </a:lnTo>
                  <a:lnTo>
                    <a:pt x="114" y="1344"/>
                  </a:lnTo>
                  <a:lnTo>
                    <a:pt x="116" y="1344"/>
                  </a:lnTo>
                  <a:lnTo>
                    <a:pt x="112" y="1346"/>
                  </a:lnTo>
                  <a:lnTo>
                    <a:pt x="110" y="1350"/>
                  </a:lnTo>
                  <a:lnTo>
                    <a:pt x="110" y="1354"/>
                  </a:lnTo>
                  <a:lnTo>
                    <a:pt x="110" y="1358"/>
                  </a:lnTo>
                  <a:lnTo>
                    <a:pt x="112" y="1360"/>
                  </a:lnTo>
                  <a:lnTo>
                    <a:pt x="114" y="1360"/>
                  </a:lnTo>
                  <a:lnTo>
                    <a:pt x="118" y="1356"/>
                  </a:lnTo>
                  <a:lnTo>
                    <a:pt x="118" y="1354"/>
                  </a:lnTo>
                  <a:lnTo>
                    <a:pt x="118" y="1362"/>
                  </a:lnTo>
                  <a:lnTo>
                    <a:pt x="118" y="1372"/>
                  </a:lnTo>
                  <a:lnTo>
                    <a:pt x="120" y="1378"/>
                  </a:lnTo>
                  <a:lnTo>
                    <a:pt x="124" y="1384"/>
                  </a:lnTo>
                  <a:lnTo>
                    <a:pt x="128" y="1386"/>
                  </a:lnTo>
                  <a:lnTo>
                    <a:pt x="134" y="1388"/>
                  </a:lnTo>
                  <a:lnTo>
                    <a:pt x="140" y="1392"/>
                  </a:lnTo>
                  <a:lnTo>
                    <a:pt x="146" y="1398"/>
                  </a:lnTo>
                  <a:lnTo>
                    <a:pt x="154" y="1402"/>
                  </a:lnTo>
                  <a:lnTo>
                    <a:pt x="158" y="1404"/>
                  </a:lnTo>
                  <a:lnTo>
                    <a:pt x="158" y="1406"/>
                  </a:lnTo>
                  <a:lnTo>
                    <a:pt x="158" y="1408"/>
                  </a:lnTo>
                  <a:lnTo>
                    <a:pt x="156" y="1414"/>
                  </a:lnTo>
                  <a:lnTo>
                    <a:pt x="154" y="1418"/>
                  </a:lnTo>
                  <a:lnTo>
                    <a:pt x="156" y="1420"/>
                  </a:lnTo>
                  <a:lnTo>
                    <a:pt x="162" y="1424"/>
                  </a:lnTo>
                  <a:lnTo>
                    <a:pt x="166" y="1426"/>
                  </a:lnTo>
                  <a:lnTo>
                    <a:pt x="166" y="1430"/>
                  </a:lnTo>
                  <a:lnTo>
                    <a:pt x="168" y="1432"/>
                  </a:lnTo>
                  <a:lnTo>
                    <a:pt x="170" y="1434"/>
                  </a:lnTo>
                  <a:lnTo>
                    <a:pt x="172" y="1436"/>
                  </a:lnTo>
                  <a:lnTo>
                    <a:pt x="170" y="1438"/>
                  </a:lnTo>
                  <a:lnTo>
                    <a:pt x="170" y="1440"/>
                  </a:lnTo>
                  <a:lnTo>
                    <a:pt x="170" y="1442"/>
                  </a:lnTo>
                  <a:lnTo>
                    <a:pt x="176" y="1448"/>
                  </a:lnTo>
                  <a:lnTo>
                    <a:pt x="176" y="1450"/>
                  </a:lnTo>
                  <a:lnTo>
                    <a:pt x="174" y="1450"/>
                  </a:lnTo>
                  <a:lnTo>
                    <a:pt x="172" y="1452"/>
                  </a:lnTo>
                  <a:lnTo>
                    <a:pt x="170" y="1454"/>
                  </a:lnTo>
                  <a:lnTo>
                    <a:pt x="172" y="1458"/>
                  </a:lnTo>
                  <a:lnTo>
                    <a:pt x="174" y="1462"/>
                  </a:lnTo>
                  <a:lnTo>
                    <a:pt x="176" y="1462"/>
                  </a:lnTo>
                  <a:lnTo>
                    <a:pt x="180" y="1462"/>
                  </a:lnTo>
                  <a:lnTo>
                    <a:pt x="186" y="1464"/>
                  </a:lnTo>
                  <a:lnTo>
                    <a:pt x="182" y="1468"/>
                  </a:lnTo>
                  <a:lnTo>
                    <a:pt x="178" y="1470"/>
                  </a:lnTo>
                  <a:lnTo>
                    <a:pt x="172" y="1470"/>
                  </a:lnTo>
                  <a:lnTo>
                    <a:pt x="170" y="1468"/>
                  </a:lnTo>
                  <a:lnTo>
                    <a:pt x="170" y="1472"/>
                  </a:lnTo>
                  <a:lnTo>
                    <a:pt x="174" y="1480"/>
                  </a:lnTo>
                  <a:lnTo>
                    <a:pt x="178" y="1482"/>
                  </a:lnTo>
                  <a:lnTo>
                    <a:pt x="182" y="1482"/>
                  </a:lnTo>
                  <a:lnTo>
                    <a:pt x="184" y="1486"/>
                  </a:lnTo>
                  <a:lnTo>
                    <a:pt x="186" y="1492"/>
                  </a:lnTo>
                  <a:lnTo>
                    <a:pt x="184" y="1494"/>
                  </a:lnTo>
                  <a:lnTo>
                    <a:pt x="182" y="1496"/>
                  </a:lnTo>
                  <a:lnTo>
                    <a:pt x="182" y="1498"/>
                  </a:lnTo>
                  <a:lnTo>
                    <a:pt x="186" y="1502"/>
                  </a:lnTo>
                  <a:lnTo>
                    <a:pt x="192" y="1504"/>
                  </a:lnTo>
                  <a:lnTo>
                    <a:pt x="196" y="1506"/>
                  </a:lnTo>
                  <a:lnTo>
                    <a:pt x="202" y="1510"/>
                  </a:lnTo>
                  <a:lnTo>
                    <a:pt x="204" y="1512"/>
                  </a:lnTo>
                  <a:lnTo>
                    <a:pt x="204" y="1514"/>
                  </a:lnTo>
                  <a:lnTo>
                    <a:pt x="202" y="1518"/>
                  </a:lnTo>
                  <a:lnTo>
                    <a:pt x="200" y="1520"/>
                  </a:lnTo>
                  <a:lnTo>
                    <a:pt x="202" y="1520"/>
                  </a:lnTo>
                  <a:lnTo>
                    <a:pt x="208" y="1524"/>
                  </a:lnTo>
                  <a:lnTo>
                    <a:pt x="228" y="1534"/>
                  </a:lnTo>
                  <a:lnTo>
                    <a:pt x="236" y="1538"/>
                  </a:lnTo>
                  <a:lnTo>
                    <a:pt x="242" y="1546"/>
                  </a:lnTo>
                  <a:lnTo>
                    <a:pt x="246" y="1552"/>
                  </a:lnTo>
                  <a:lnTo>
                    <a:pt x="250" y="1556"/>
                  </a:lnTo>
                  <a:lnTo>
                    <a:pt x="260" y="1562"/>
                  </a:lnTo>
                  <a:lnTo>
                    <a:pt x="268" y="1566"/>
                  </a:lnTo>
                  <a:lnTo>
                    <a:pt x="270" y="1570"/>
                  </a:lnTo>
                  <a:lnTo>
                    <a:pt x="272" y="1574"/>
                  </a:lnTo>
                  <a:lnTo>
                    <a:pt x="272" y="1576"/>
                  </a:lnTo>
                  <a:lnTo>
                    <a:pt x="274" y="1578"/>
                  </a:lnTo>
                  <a:lnTo>
                    <a:pt x="282" y="1582"/>
                  </a:lnTo>
                  <a:lnTo>
                    <a:pt x="294" y="1590"/>
                  </a:lnTo>
                  <a:lnTo>
                    <a:pt x="302" y="1596"/>
                  </a:lnTo>
                  <a:lnTo>
                    <a:pt x="310" y="1606"/>
                  </a:lnTo>
                  <a:lnTo>
                    <a:pt x="328" y="1626"/>
                  </a:lnTo>
                  <a:lnTo>
                    <a:pt x="346" y="1644"/>
                  </a:lnTo>
                  <a:lnTo>
                    <a:pt x="364" y="1654"/>
                  </a:lnTo>
                  <a:lnTo>
                    <a:pt x="380" y="1660"/>
                  </a:lnTo>
                  <a:lnTo>
                    <a:pt x="388" y="1664"/>
                  </a:lnTo>
                  <a:lnTo>
                    <a:pt x="392" y="1668"/>
                  </a:lnTo>
                  <a:lnTo>
                    <a:pt x="396" y="1670"/>
                  </a:lnTo>
                  <a:lnTo>
                    <a:pt x="402" y="1672"/>
                  </a:lnTo>
                  <a:lnTo>
                    <a:pt x="408" y="1670"/>
                  </a:lnTo>
                  <a:lnTo>
                    <a:pt x="412" y="1666"/>
                  </a:lnTo>
                  <a:lnTo>
                    <a:pt x="422" y="1658"/>
                  </a:lnTo>
                  <a:lnTo>
                    <a:pt x="436" y="1648"/>
                  </a:lnTo>
                  <a:lnTo>
                    <a:pt x="448" y="1642"/>
                  </a:lnTo>
                  <a:lnTo>
                    <a:pt x="462" y="1638"/>
                  </a:lnTo>
                  <a:lnTo>
                    <a:pt x="488" y="1634"/>
                  </a:lnTo>
                  <a:lnTo>
                    <a:pt x="504" y="1632"/>
                  </a:lnTo>
                  <a:lnTo>
                    <a:pt x="516" y="1632"/>
                  </a:lnTo>
                  <a:lnTo>
                    <a:pt x="530" y="1630"/>
                  </a:lnTo>
                  <a:lnTo>
                    <a:pt x="540" y="1628"/>
                  </a:lnTo>
                  <a:lnTo>
                    <a:pt x="554" y="1630"/>
                  </a:lnTo>
                  <a:lnTo>
                    <a:pt x="566" y="1630"/>
                  </a:lnTo>
                  <a:lnTo>
                    <a:pt x="572" y="1630"/>
                  </a:lnTo>
                  <a:lnTo>
                    <a:pt x="576" y="1630"/>
                  </a:lnTo>
                  <a:lnTo>
                    <a:pt x="580" y="1630"/>
                  </a:lnTo>
                  <a:lnTo>
                    <a:pt x="590" y="1632"/>
                  </a:lnTo>
                  <a:lnTo>
                    <a:pt x="592" y="1632"/>
                  </a:lnTo>
                  <a:lnTo>
                    <a:pt x="590" y="1632"/>
                  </a:lnTo>
                  <a:lnTo>
                    <a:pt x="582" y="1634"/>
                  </a:lnTo>
                  <a:lnTo>
                    <a:pt x="578" y="1634"/>
                  </a:lnTo>
                  <a:lnTo>
                    <a:pt x="576" y="1636"/>
                  </a:lnTo>
                  <a:lnTo>
                    <a:pt x="578" y="1636"/>
                  </a:lnTo>
                  <a:lnTo>
                    <a:pt x="594" y="1640"/>
                  </a:lnTo>
                  <a:lnTo>
                    <a:pt x="606" y="1644"/>
                  </a:lnTo>
                  <a:lnTo>
                    <a:pt x="618" y="1650"/>
                  </a:lnTo>
                  <a:lnTo>
                    <a:pt x="622" y="1652"/>
                  </a:lnTo>
                  <a:lnTo>
                    <a:pt x="626" y="1652"/>
                  </a:lnTo>
                  <a:lnTo>
                    <a:pt x="636" y="1644"/>
                  </a:lnTo>
                  <a:lnTo>
                    <a:pt x="648" y="1636"/>
                  </a:lnTo>
                  <a:lnTo>
                    <a:pt x="656" y="1632"/>
                  </a:lnTo>
                  <a:lnTo>
                    <a:pt x="664" y="1630"/>
                  </a:lnTo>
                  <a:lnTo>
                    <a:pt x="674" y="1628"/>
                  </a:lnTo>
                  <a:lnTo>
                    <a:pt x="680" y="1624"/>
                  </a:lnTo>
                  <a:lnTo>
                    <a:pt x="690" y="1614"/>
                  </a:lnTo>
                  <a:lnTo>
                    <a:pt x="698" y="1610"/>
                  </a:lnTo>
                  <a:lnTo>
                    <a:pt x="706" y="1606"/>
                  </a:lnTo>
                  <a:lnTo>
                    <a:pt x="716" y="1602"/>
                  </a:lnTo>
                  <a:lnTo>
                    <a:pt x="730" y="1600"/>
                  </a:lnTo>
                  <a:lnTo>
                    <a:pt x="742" y="1598"/>
                  </a:lnTo>
                  <a:lnTo>
                    <a:pt x="746" y="1596"/>
                  </a:lnTo>
                  <a:lnTo>
                    <a:pt x="746" y="1594"/>
                  </a:lnTo>
                  <a:lnTo>
                    <a:pt x="748" y="1590"/>
                  </a:lnTo>
                  <a:lnTo>
                    <a:pt x="754" y="1586"/>
                  </a:lnTo>
                  <a:lnTo>
                    <a:pt x="760" y="1582"/>
                  </a:lnTo>
                  <a:lnTo>
                    <a:pt x="774" y="1578"/>
                  </a:lnTo>
                  <a:lnTo>
                    <a:pt x="796" y="1574"/>
                  </a:lnTo>
                  <a:lnTo>
                    <a:pt x="814" y="1572"/>
                  </a:lnTo>
                  <a:lnTo>
                    <a:pt x="832" y="1572"/>
                  </a:lnTo>
                  <a:lnTo>
                    <a:pt x="838" y="1570"/>
                  </a:lnTo>
                  <a:lnTo>
                    <a:pt x="840" y="1568"/>
                  </a:lnTo>
                  <a:lnTo>
                    <a:pt x="844" y="1564"/>
                  </a:lnTo>
                  <a:lnTo>
                    <a:pt x="846" y="1566"/>
                  </a:lnTo>
                  <a:lnTo>
                    <a:pt x="850" y="1570"/>
                  </a:lnTo>
                  <a:lnTo>
                    <a:pt x="860" y="1570"/>
                  </a:lnTo>
                  <a:lnTo>
                    <a:pt x="874" y="1570"/>
                  </a:lnTo>
                  <a:lnTo>
                    <a:pt x="884" y="1574"/>
                  </a:lnTo>
                  <a:lnTo>
                    <a:pt x="890" y="1578"/>
                  </a:lnTo>
                  <a:lnTo>
                    <a:pt x="896" y="1584"/>
                  </a:lnTo>
                  <a:lnTo>
                    <a:pt x="908" y="1600"/>
                  </a:lnTo>
                  <a:lnTo>
                    <a:pt x="916" y="1616"/>
                  </a:lnTo>
                  <a:lnTo>
                    <a:pt x="924" y="1642"/>
                  </a:lnTo>
                  <a:lnTo>
                    <a:pt x="930" y="1654"/>
                  </a:lnTo>
                  <a:lnTo>
                    <a:pt x="936" y="1664"/>
                  </a:lnTo>
                  <a:lnTo>
                    <a:pt x="944" y="1670"/>
                  </a:lnTo>
                  <a:lnTo>
                    <a:pt x="948" y="1672"/>
                  </a:lnTo>
                  <a:lnTo>
                    <a:pt x="954" y="1672"/>
                  </a:lnTo>
                  <a:lnTo>
                    <a:pt x="970" y="1672"/>
                  </a:lnTo>
                  <a:lnTo>
                    <a:pt x="976" y="1672"/>
                  </a:lnTo>
                  <a:lnTo>
                    <a:pt x="984" y="1670"/>
                  </a:lnTo>
                  <a:lnTo>
                    <a:pt x="990" y="1668"/>
                  </a:lnTo>
                  <a:lnTo>
                    <a:pt x="992" y="1664"/>
                  </a:lnTo>
                  <a:lnTo>
                    <a:pt x="992" y="1662"/>
                  </a:lnTo>
                  <a:lnTo>
                    <a:pt x="992" y="1658"/>
                  </a:lnTo>
                  <a:lnTo>
                    <a:pt x="992" y="1656"/>
                  </a:lnTo>
                  <a:lnTo>
                    <a:pt x="996" y="1658"/>
                  </a:lnTo>
                  <a:lnTo>
                    <a:pt x="1002" y="1660"/>
                  </a:lnTo>
                  <a:lnTo>
                    <a:pt x="1008" y="1662"/>
                  </a:lnTo>
                  <a:lnTo>
                    <a:pt x="1018" y="1662"/>
                  </a:lnTo>
                  <a:lnTo>
                    <a:pt x="1028" y="1662"/>
                  </a:lnTo>
                  <a:lnTo>
                    <a:pt x="1036" y="1660"/>
                  </a:lnTo>
                  <a:lnTo>
                    <a:pt x="1040" y="1656"/>
                  </a:lnTo>
                  <a:lnTo>
                    <a:pt x="1042" y="1654"/>
                  </a:lnTo>
                  <a:lnTo>
                    <a:pt x="1042" y="1650"/>
                  </a:lnTo>
                  <a:lnTo>
                    <a:pt x="1036" y="1640"/>
                  </a:lnTo>
                  <a:lnTo>
                    <a:pt x="1048" y="1650"/>
                  </a:lnTo>
                  <a:lnTo>
                    <a:pt x="1048" y="1658"/>
                  </a:lnTo>
                  <a:lnTo>
                    <a:pt x="1050" y="1662"/>
                  </a:lnTo>
                  <a:lnTo>
                    <a:pt x="1052" y="1662"/>
                  </a:lnTo>
                  <a:lnTo>
                    <a:pt x="1056" y="1662"/>
                  </a:lnTo>
                  <a:lnTo>
                    <a:pt x="1060" y="1660"/>
                  </a:lnTo>
                  <a:lnTo>
                    <a:pt x="1062" y="1662"/>
                  </a:lnTo>
                  <a:lnTo>
                    <a:pt x="1064" y="1666"/>
                  </a:lnTo>
                  <a:lnTo>
                    <a:pt x="1066" y="1682"/>
                  </a:lnTo>
                  <a:lnTo>
                    <a:pt x="1070" y="1684"/>
                  </a:lnTo>
                  <a:lnTo>
                    <a:pt x="1076" y="1688"/>
                  </a:lnTo>
                  <a:lnTo>
                    <a:pt x="1082" y="1690"/>
                  </a:lnTo>
                  <a:lnTo>
                    <a:pt x="1084" y="1690"/>
                  </a:lnTo>
                  <a:lnTo>
                    <a:pt x="1086" y="1686"/>
                  </a:lnTo>
                  <a:lnTo>
                    <a:pt x="1088" y="1684"/>
                  </a:lnTo>
                  <a:lnTo>
                    <a:pt x="1090" y="1684"/>
                  </a:lnTo>
                  <a:lnTo>
                    <a:pt x="1094" y="1684"/>
                  </a:lnTo>
                  <a:lnTo>
                    <a:pt x="1096" y="1688"/>
                  </a:lnTo>
                  <a:lnTo>
                    <a:pt x="1096" y="1690"/>
                  </a:lnTo>
                  <a:lnTo>
                    <a:pt x="1094" y="1694"/>
                  </a:lnTo>
                  <a:lnTo>
                    <a:pt x="1090" y="1698"/>
                  </a:lnTo>
                  <a:lnTo>
                    <a:pt x="1090" y="1700"/>
                  </a:lnTo>
                  <a:lnTo>
                    <a:pt x="1092" y="1704"/>
                  </a:lnTo>
                  <a:lnTo>
                    <a:pt x="1096" y="1708"/>
                  </a:lnTo>
                  <a:lnTo>
                    <a:pt x="1094" y="1708"/>
                  </a:lnTo>
                  <a:lnTo>
                    <a:pt x="1094" y="1712"/>
                  </a:lnTo>
                  <a:lnTo>
                    <a:pt x="1100" y="1718"/>
                  </a:lnTo>
                  <a:lnTo>
                    <a:pt x="1102" y="1724"/>
                  </a:lnTo>
                  <a:lnTo>
                    <a:pt x="1104" y="1730"/>
                  </a:lnTo>
                  <a:lnTo>
                    <a:pt x="1104" y="1742"/>
                  </a:lnTo>
                  <a:lnTo>
                    <a:pt x="1100" y="1756"/>
                  </a:lnTo>
                  <a:lnTo>
                    <a:pt x="1100" y="1770"/>
                  </a:lnTo>
                  <a:lnTo>
                    <a:pt x="1100" y="1782"/>
                  </a:lnTo>
                  <a:lnTo>
                    <a:pt x="1098" y="1790"/>
                  </a:lnTo>
                  <a:lnTo>
                    <a:pt x="1094" y="1798"/>
                  </a:lnTo>
                  <a:lnTo>
                    <a:pt x="1090" y="1804"/>
                  </a:lnTo>
                  <a:lnTo>
                    <a:pt x="1084" y="1814"/>
                  </a:lnTo>
                  <a:lnTo>
                    <a:pt x="1082" y="1820"/>
                  </a:lnTo>
                  <a:lnTo>
                    <a:pt x="1082" y="1824"/>
                  </a:lnTo>
                  <a:lnTo>
                    <a:pt x="1082" y="1828"/>
                  </a:lnTo>
                  <a:lnTo>
                    <a:pt x="1084" y="1828"/>
                  </a:lnTo>
                  <a:lnTo>
                    <a:pt x="1088" y="1828"/>
                  </a:lnTo>
                  <a:lnTo>
                    <a:pt x="1092" y="1828"/>
                  </a:lnTo>
                  <a:lnTo>
                    <a:pt x="1090" y="1834"/>
                  </a:lnTo>
                  <a:lnTo>
                    <a:pt x="1090" y="1838"/>
                  </a:lnTo>
                  <a:lnTo>
                    <a:pt x="1092" y="1844"/>
                  </a:lnTo>
                  <a:lnTo>
                    <a:pt x="1094" y="1848"/>
                  </a:lnTo>
                  <a:lnTo>
                    <a:pt x="1092" y="1852"/>
                  </a:lnTo>
                  <a:lnTo>
                    <a:pt x="1090" y="1852"/>
                  </a:lnTo>
                  <a:lnTo>
                    <a:pt x="1088" y="1850"/>
                  </a:lnTo>
                  <a:lnTo>
                    <a:pt x="1086" y="1848"/>
                  </a:lnTo>
                  <a:lnTo>
                    <a:pt x="1082" y="1852"/>
                  </a:lnTo>
                  <a:lnTo>
                    <a:pt x="1082" y="1854"/>
                  </a:lnTo>
                  <a:lnTo>
                    <a:pt x="1082" y="1858"/>
                  </a:lnTo>
                  <a:lnTo>
                    <a:pt x="1086" y="1864"/>
                  </a:lnTo>
                  <a:lnTo>
                    <a:pt x="1094" y="1868"/>
                  </a:lnTo>
                  <a:lnTo>
                    <a:pt x="1106" y="1872"/>
                  </a:lnTo>
                  <a:lnTo>
                    <a:pt x="1110" y="1872"/>
                  </a:lnTo>
                  <a:lnTo>
                    <a:pt x="1110" y="1874"/>
                  </a:lnTo>
                  <a:lnTo>
                    <a:pt x="1110" y="1876"/>
                  </a:lnTo>
                  <a:lnTo>
                    <a:pt x="1106" y="1878"/>
                  </a:lnTo>
                  <a:lnTo>
                    <a:pt x="1104" y="1880"/>
                  </a:lnTo>
                  <a:lnTo>
                    <a:pt x="1098" y="1880"/>
                  </a:lnTo>
                  <a:lnTo>
                    <a:pt x="1094" y="1878"/>
                  </a:lnTo>
                  <a:lnTo>
                    <a:pt x="1090" y="1874"/>
                  </a:lnTo>
                  <a:lnTo>
                    <a:pt x="1084" y="1868"/>
                  </a:lnTo>
                  <a:lnTo>
                    <a:pt x="1082" y="1866"/>
                  </a:lnTo>
                  <a:lnTo>
                    <a:pt x="1080" y="1866"/>
                  </a:lnTo>
                  <a:lnTo>
                    <a:pt x="1080" y="1872"/>
                  </a:lnTo>
                  <a:lnTo>
                    <a:pt x="1080" y="1882"/>
                  </a:lnTo>
                  <a:lnTo>
                    <a:pt x="1078" y="1898"/>
                  </a:lnTo>
                  <a:lnTo>
                    <a:pt x="1074" y="1910"/>
                  </a:lnTo>
                  <a:lnTo>
                    <a:pt x="1072" y="1914"/>
                  </a:lnTo>
                  <a:lnTo>
                    <a:pt x="1068" y="1918"/>
                  </a:lnTo>
                  <a:lnTo>
                    <a:pt x="1066" y="1918"/>
                  </a:lnTo>
                  <a:lnTo>
                    <a:pt x="1062" y="1914"/>
                  </a:lnTo>
                  <a:lnTo>
                    <a:pt x="1056" y="1910"/>
                  </a:lnTo>
                  <a:lnTo>
                    <a:pt x="1056" y="1912"/>
                  </a:lnTo>
                  <a:lnTo>
                    <a:pt x="1058" y="1922"/>
                  </a:lnTo>
                  <a:lnTo>
                    <a:pt x="1064" y="1936"/>
                  </a:lnTo>
                  <a:lnTo>
                    <a:pt x="1076" y="1964"/>
                  </a:lnTo>
                  <a:lnTo>
                    <a:pt x="1080" y="1974"/>
                  </a:lnTo>
                  <a:lnTo>
                    <a:pt x="1084" y="1982"/>
                  </a:lnTo>
                  <a:lnTo>
                    <a:pt x="1088" y="1988"/>
                  </a:lnTo>
                  <a:lnTo>
                    <a:pt x="1094" y="1996"/>
                  </a:lnTo>
                  <a:lnTo>
                    <a:pt x="1100" y="2006"/>
                  </a:lnTo>
                  <a:lnTo>
                    <a:pt x="1110" y="2018"/>
                  </a:lnTo>
                  <a:lnTo>
                    <a:pt x="1132" y="2042"/>
                  </a:lnTo>
                  <a:lnTo>
                    <a:pt x="1140" y="2052"/>
                  </a:lnTo>
                  <a:lnTo>
                    <a:pt x="1142" y="2058"/>
                  </a:lnTo>
                  <a:lnTo>
                    <a:pt x="1150" y="2070"/>
                  </a:lnTo>
                  <a:lnTo>
                    <a:pt x="1172" y="2092"/>
                  </a:lnTo>
                  <a:lnTo>
                    <a:pt x="1178" y="2100"/>
                  </a:lnTo>
                  <a:lnTo>
                    <a:pt x="1180" y="2110"/>
                  </a:lnTo>
                  <a:lnTo>
                    <a:pt x="1184" y="2118"/>
                  </a:lnTo>
                  <a:lnTo>
                    <a:pt x="1190" y="2128"/>
                  </a:lnTo>
                  <a:lnTo>
                    <a:pt x="1194" y="2136"/>
                  </a:lnTo>
                  <a:lnTo>
                    <a:pt x="1196" y="2142"/>
                  </a:lnTo>
                  <a:lnTo>
                    <a:pt x="1194" y="2148"/>
                  </a:lnTo>
                  <a:lnTo>
                    <a:pt x="1194" y="2156"/>
                  </a:lnTo>
                  <a:lnTo>
                    <a:pt x="1194" y="2158"/>
                  </a:lnTo>
                  <a:lnTo>
                    <a:pt x="1196" y="2160"/>
                  </a:lnTo>
                  <a:lnTo>
                    <a:pt x="1198" y="2164"/>
                  </a:lnTo>
                  <a:lnTo>
                    <a:pt x="1200" y="2168"/>
                  </a:lnTo>
                  <a:lnTo>
                    <a:pt x="1204" y="2170"/>
                  </a:lnTo>
                  <a:lnTo>
                    <a:pt x="1208" y="2168"/>
                  </a:lnTo>
                  <a:lnTo>
                    <a:pt x="1216" y="2164"/>
                  </a:lnTo>
                  <a:lnTo>
                    <a:pt x="1222" y="2162"/>
                  </a:lnTo>
                  <a:lnTo>
                    <a:pt x="1226" y="2162"/>
                  </a:lnTo>
                  <a:lnTo>
                    <a:pt x="1234" y="2162"/>
                  </a:lnTo>
                  <a:lnTo>
                    <a:pt x="1226" y="2168"/>
                  </a:lnTo>
                  <a:lnTo>
                    <a:pt x="1220" y="2172"/>
                  </a:lnTo>
                  <a:lnTo>
                    <a:pt x="1208" y="2174"/>
                  </a:lnTo>
                  <a:lnTo>
                    <a:pt x="1202" y="2176"/>
                  </a:lnTo>
                  <a:lnTo>
                    <a:pt x="1200" y="2178"/>
                  </a:lnTo>
                  <a:lnTo>
                    <a:pt x="1202" y="2182"/>
                  </a:lnTo>
                  <a:lnTo>
                    <a:pt x="1212" y="2202"/>
                  </a:lnTo>
                  <a:lnTo>
                    <a:pt x="1226" y="2240"/>
                  </a:lnTo>
                  <a:lnTo>
                    <a:pt x="1232" y="2260"/>
                  </a:lnTo>
                  <a:lnTo>
                    <a:pt x="1238" y="2278"/>
                  </a:lnTo>
                  <a:lnTo>
                    <a:pt x="1238" y="2294"/>
                  </a:lnTo>
                  <a:lnTo>
                    <a:pt x="1236" y="2300"/>
                  </a:lnTo>
                  <a:lnTo>
                    <a:pt x="1234" y="2306"/>
                  </a:lnTo>
                  <a:lnTo>
                    <a:pt x="1230" y="2314"/>
                  </a:lnTo>
                  <a:lnTo>
                    <a:pt x="1230" y="2324"/>
                  </a:lnTo>
                  <a:lnTo>
                    <a:pt x="1230" y="2336"/>
                  </a:lnTo>
                  <a:lnTo>
                    <a:pt x="1234" y="2346"/>
                  </a:lnTo>
                  <a:lnTo>
                    <a:pt x="1246" y="2372"/>
                  </a:lnTo>
                  <a:lnTo>
                    <a:pt x="1256" y="2396"/>
                  </a:lnTo>
                  <a:lnTo>
                    <a:pt x="1260" y="2408"/>
                  </a:lnTo>
                  <a:lnTo>
                    <a:pt x="1262" y="2422"/>
                  </a:lnTo>
                  <a:lnTo>
                    <a:pt x="1262" y="2436"/>
                  </a:lnTo>
                  <a:lnTo>
                    <a:pt x="1262" y="2450"/>
                  </a:lnTo>
                  <a:lnTo>
                    <a:pt x="1258" y="2464"/>
                  </a:lnTo>
                  <a:lnTo>
                    <a:pt x="1254" y="2476"/>
                  </a:lnTo>
                  <a:lnTo>
                    <a:pt x="1246" y="2486"/>
                  </a:lnTo>
                  <a:lnTo>
                    <a:pt x="1238" y="2494"/>
                  </a:lnTo>
                  <a:lnTo>
                    <a:pt x="1230" y="2502"/>
                  </a:lnTo>
                  <a:lnTo>
                    <a:pt x="1222" y="2510"/>
                  </a:lnTo>
                  <a:lnTo>
                    <a:pt x="1218" y="2518"/>
                  </a:lnTo>
                  <a:lnTo>
                    <a:pt x="1212" y="2528"/>
                  </a:lnTo>
                  <a:lnTo>
                    <a:pt x="1206" y="2548"/>
                  </a:lnTo>
                  <a:lnTo>
                    <a:pt x="1202" y="2570"/>
                  </a:lnTo>
                  <a:lnTo>
                    <a:pt x="1196" y="2610"/>
                  </a:lnTo>
                  <a:lnTo>
                    <a:pt x="1192" y="2626"/>
                  </a:lnTo>
                  <a:lnTo>
                    <a:pt x="1188" y="2640"/>
                  </a:lnTo>
                  <a:lnTo>
                    <a:pt x="1182" y="2652"/>
                  </a:lnTo>
                  <a:lnTo>
                    <a:pt x="1178" y="2662"/>
                  </a:lnTo>
                  <a:lnTo>
                    <a:pt x="1176" y="2670"/>
                  </a:lnTo>
                  <a:lnTo>
                    <a:pt x="1176" y="2680"/>
                  </a:lnTo>
                  <a:lnTo>
                    <a:pt x="1178" y="2700"/>
                  </a:lnTo>
                  <a:lnTo>
                    <a:pt x="1178" y="2712"/>
                  </a:lnTo>
                  <a:lnTo>
                    <a:pt x="1178" y="2726"/>
                  </a:lnTo>
                  <a:lnTo>
                    <a:pt x="1176" y="2736"/>
                  </a:lnTo>
                  <a:lnTo>
                    <a:pt x="1176" y="2746"/>
                  </a:lnTo>
                  <a:lnTo>
                    <a:pt x="1180" y="2764"/>
                  </a:lnTo>
                  <a:lnTo>
                    <a:pt x="1188" y="2784"/>
                  </a:lnTo>
                  <a:lnTo>
                    <a:pt x="1200" y="2804"/>
                  </a:lnTo>
                  <a:lnTo>
                    <a:pt x="1222" y="2850"/>
                  </a:lnTo>
                  <a:lnTo>
                    <a:pt x="1234" y="2876"/>
                  </a:lnTo>
                  <a:lnTo>
                    <a:pt x="1242" y="2904"/>
                  </a:lnTo>
                  <a:lnTo>
                    <a:pt x="1250" y="2930"/>
                  </a:lnTo>
                  <a:lnTo>
                    <a:pt x="1260" y="2946"/>
                  </a:lnTo>
                  <a:lnTo>
                    <a:pt x="1268" y="2958"/>
                  </a:lnTo>
                  <a:lnTo>
                    <a:pt x="1276" y="2966"/>
                  </a:lnTo>
                  <a:lnTo>
                    <a:pt x="1284" y="2976"/>
                  </a:lnTo>
                  <a:lnTo>
                    <a:pt x="1288" y="2990"/>
                  </a:lnTo>
                  <a:lnTo>
                    <a:pt x="1288" y="3008"/>
                  </a:lnTo>
                  <a:lnTo>
                    <a:pt x="1286" y="3038"/>
                  </a:lnTo>
                  <a:lnTo>
                    <a:pt x="1284" y="3052"/>
                  </a:lnTo>
                  <a:lnTo>
                    <a:pt x="1286" y="3070"/>
                  </a:lnTo>
                  <a:lnTo>
                    <a:pt x="1294" y="3112"/>
                  </a:lnTo>
                  <a:lnTo>
                    <a:pt x="1304" y="3156"/>
                  </a:lnTo>
                  <a:lnTo>
                    <a:pt x="1308" y="3178"/>
                  </a:lnTo>
                  <a:lnTo>
                    <a:pt x="1310" y="3200"/>
                  </a:lnTo>
                  <a:lnTo>
                    <a:pt x="1312" y="3220"/>
                  </a:lnTo>
                  <a:lnTo>
                    <a:pt x="1318" y="3238"/>
                  </a:lnTo>
                  <a:lnTo>
                    <a:pt x="1326" y="3254"/>
                  </a:lnTo>
                  <a:lnTo>
                    <a:pt x="1334" y="3266"/>
                  </a:lnTo>
                  <a:lnTo>
                    <a:pt x="1342" y="3278"/>
                  </a:lnTo>
                  <a:lnTo>
                    <a:pt x="1352" y="3286"/>
                  </a:lnTo>
                  <a:lnTo>
                    <a:pt x="1366" y="3302"/>
                  </a:lnTo>
                  <a:lnTo>
                    <a:pt x="1376" y="3316"/>
                  </a:lnTo>
                  <a:lnTo>
                    <a:pt x="1384" y="3330"/>
                  </a:lnTo>
                  <a:lnTo>
                    <a:pt x="1388" y="3344"/>
                  </a:lnTo>
                  <a:lnTo>
                    <a:pt x="1392" y="3358"/>
                  </a:lnTo>
                  <a:lnTo>
                    <a:pt x="1396" y="3374"/>
                  </a:lnTo>
                  <a:lnTo>
                    <a:pt x="1402" y="3392"/>
                  </a:lnTo>
                  <a:lnTo>
                    <a:pt x="1410" y="3414"/>
                  </a:lnTo>
                  <a:lnTo>
                    <a:pt x="1424" y="3436"/>
                  </a:lnTo>
                  <a:lnTo>
                    <a:pt x="1436" y="3458"/>
                  </a:lnTo>
                  <a:lnTo>
                    <a:pt x="1444" y="3474"/>
                  </a:lnTo>
                  <a:lnTo>
                    <a:pt x="1446" y="3490"/>
                  </a:lnTo>
                  <a:lnTo>
                    <a:pt x="1446" y="3502"/>
                  </a:lnTo>
                  <a:lnTo>
                    <a:pt x="1442" y="3510"/>
                  </a:lnTo>
                  <a:lnTo>
                    <a:pt x="1438" y="3516"/>
                  </a:lnTo>
                  <a:lnTo>
                    <a:pt x="1434" y="3518"/>
                  </a:lnTo>
                  <a:lnTo>
                    <a:pt x="1432" y="3518"/>
                  </a:lnTo>
                  <a:lnTo>
                    <a:pt x="1430" y="3516"/>
                  </a:lnTo>
                  <a:lnTo>
                    <a:pt x="1426" y="3518"/>
                  </a:lnTo>
                  <a:lnTo>
                    <a:pt x="1424" y="3518"/>
                  </a:lnTo>
                  <a:lnTo>
                    <a:pt x="1424" y="3522"/>
                  </a:lnTo>
                  <a:lnTo>
                    <a:pt x="1424" y="3526"/>
                  </a:lnTo>
                  <a:lnTo>
                    <a:pt x="1424" y="3532"/>
                  </a:lnTo>
                  <a:lnTo>
                    <a:pt x="1428" y="3538"/>
                  </a:lnTo>
                  <a:lnTo>
                    <a:pt x="1432" y="3546"/>
                  </a:lnTo>
                  <a:lnTo>
                    <a:pt x="1442" y="3558"/>
                  </a:lnTo>
                  <a:lnTo>
                    <a:pt x="1446" y="3568"/>
                  </a:lnTo>
                  <a:lnTo>
                    <a:pt x="1448" y="3574"/>
                  </a:lnTo>
                  <a:lnTo>
                    <a:pt x="1444" y="3580"/>
                  </a:lnTo>
                  <a:lnTo>
                    <a:pt x="1442" y="3582"/>
                  </a:lnTo>
                  <a:lnTo>
                    <a:pt x="1442" y="3588"/>
                  </a:lnTo>
                  <a:lnTo>
                    <a:pt x="1442" y="3596"/>
                  </a:lnTo>
                  <a:lnTo>
                    <a:pt x="1446" y="3602"/>
                  </a:lnTo>
                  <a:lnTo>
                    <a:pt x="1448" y="3602"/>
                  </a:lnTo>
                  <a:lnTo>
                    <a:pt x="1448" y="3598"/>
                  </a:lnTo>
                  <a:lnTo>
                    <a:pt x="1450" y="3594"/>
                  </a:lnTo>
                  <a:lnTo>
                    <a:pt x="1452" y="3590"/>
                  </a:lnTo>
                  <a:lnTo>
                    <a:pt x="1454" y="3588"/>
                  </a:lnTo>
                  <a:lnTo>
                    <a:pt x="1458" y="3588"/>
                  </a:lnTo>
                  <a:lnTo>
                    <a:pt x="1460" y="3588"/>
                  </a:lnTo>
                  <a:lnTo>
                    <a:pt x="1462" y="3590"/>
                  </a:lnTo>
                  <a:lnTo>
                    <a:pt x="1464" y="3592"/>
                  </a:lnTo>
                  <a:lnTo>
                    <a:pt x="1464" y="3596"/>
                  </a:lnTo>
                  <a:lnTo>
                    <a:pt x="1464" y="3602"/>
                  </a:lnTo>
                  <a:lnTo>
                    <a:pt x="1466" y="3604"/>
                  </a:lnTo>
                  <a:lnTo>
                    <a:pt x="1470" y="3606"/>
                  </a:lnTo>
                  <a:lnTo>
                    <a:pt x="1472" y="3606"/>
                  </a:lnTo>
                  <a:lnTo>
                    <a:pt x="1478" y="3606"/>
                  </a:lnTo>
                  <a:lnTo>
                    <a:pt x="1480" y="3608"/>
                  </a:lnTo>
                  <a:lnTo>
                    <a:pt x="1482" y="3612"/>
                  </a:lnTo>
                  <a:lnTo>
                    <a:pt x="1484" y="3618"/>
                  </a:lnTo>
                  <a:lnTo>
                    <a:pt x="1486" y="3620"/>
                  </a:lnTo>
                  <a:lnTo>
                    <a:pt x="1490" y="3620"/>
                  </a:lnTo>
                  <a:lnTo>
                    <a:pt x="1494" y="3624"/>
                  </a:lnTo>
                  <a:lnTo>
                    <a:pt x="1496" y="3628"/>
                  </a:lnTo>
                  <a:lnTo>
                    <a:pt x="1500" y="3626"/>
                  </a:lnTo>
                  <a:lnTo>
                    <a:pt x="1506" y="3626"/>
                  </a:lnTo>
                  <a:lnTo>
                    <a:pt x="1510" y="3626"/>
                  </a:lnTo>
                  <a:lnTo>
                    <a:pt x="1514" y="3628"/>
                  </a:lnTo>
                  <a:lnTo>
                    <a:pt x="1516" y="3626"/>
                  </a:lnTo>
                  <a:lnTo>
                    <a:pt x="1520" y="3620"/>
                  </a:lnTo>
                  <a:lnTo>
                    <a:pt x="1526" y="3612"/>
                  </a:lnTo>
                  <a:lnTo>
                    <a:pt x="1532" y="3610"/>
                  </a:lnTo>
                  <a:lnTo>
                    <a:pt x="1540" y="3608"/>
                  </a:lnTo>
                  <a:lnTo>
                    <a:pt x="1552" y="3606"/>
                  </a:lnTo>
                  <a:lnTo>
                    <a:pt x="1558" y="3608"/>
                  </a:lnTo>
                  <a:lnTo>
                    <a:pt x="1564" y="3608"/>
                  </a:lnTo>
                  <a:lnTo>
                    <a:pt x="1576" y="3604"/>
                  </a:lnTo>
                  <a:lnTo>
                    <a:pt x="1584" y="3602"/>
                  </a:lnTo>
                  <a:lnTo>
                    <a:pt x="1590" y="3598"/>
                  </a:lnTo>
                  <a:lnTo>
                    <a:pt x="1594" y="3592"/>
                  </a:lnTo>
                  <a:lnTo>
                    <a:pt x="1600" y="3586"/>
                  </a:lnTo>
                  <a:lnTo>
                    <a:pt x="1602" y="3586"/>
                  </a:lnTo>
                  <a:lnTo>
                    <a:pt x="1608" y="3584"/>
                  </a:lnTo>
                  <a:lnTo>
                    <a:pt x="1620" y="3584"/>
                  </a:lnTo>
                  <a:lnTo>
                    <a:pt x="1632" y="3588"/>
                  </a:lnTo>
                  <a:lnTo>
                    <a:pt x="1642" y="3590"/>
                  </a:lnTo>
                  <a:lnTo>
                    <a:pt x="1648" y="3590"/>
                  </a:lnTo>
                  <a:lnTo>
                    <a:pt x="1652" y="3586"/>
                  </a:lnTo>
                  <a:lnTo>
                    <a:pt x="1656" y="3586"/>
                  </a:lnTo>
                  <a:lnTo>
                    <a:pt x="1664" y="3586"/>
                  </a:lnTo>
                  <a:lnTo>
                    <a:pt x="1678" y="3592"/>
                  </a:lnTo>
                  <a:lnTo>
                    <a:pt x="1686" y="3594"/>
                  </a:lnTo>
                  <a:lnTo>
                    <a:pt x="1694" y="3594"/>
                  </a:lnTo>
                  <a:lnTo>
                    <a:pt x="1702" y="3594"/>
                  </a:lnTo>
                  <a:lnTo>
                    <a:pt x="1706" y="3590"/>
                  </a:lnTo>
                  <a:lnTo>
                    <a:pt x="1712" y="3584"/>
                  </a:lnTo>
                  <a:lnTo>
                    <a:pt x="1718" y="3582"/>
                  </a:lnTo>
                  <a:lnTo>
                    <a:pt x="1724" y="3584"/>
                  </a:lnTo>
                  <a:lnTo>
                    <a:pt x="1730" y="3584"/>
                  </a:lnTo>
                  <a:lnTo>
                    <a:pt x="1738" y="3586"/>
                  </a:lnTo>
                  <a:lnTo>
                    <a:pt x="1740" y="3584"/>
                  </a:lnTo>
                  <a:lnTo>
                    <a:pt x="1740" y="3580"/>
                  </a:lnTo>
                  <a:lnTo>
                    <a:pt x="1740" y="3574"/>
                  </a:lnTo>
                  <a:lnTo>
                    <a:pt x="1742" y="3572"/>
                  </a:lnTo>
                  <a:lnTo>
                    <a:pt x="1748" y="3572"/>
                  </a:lnTo>
                  <a:lnTo>
                    <a:pt x="1756" y="3572"/>
                  </a:lnTo>
                  <a:lnTo>
                    <a:pt x="1764" y="3572"/>
                  </a:lnTo>
                  <a:lnTo>
                    <a:pt x="1774" y="3570"/>
                  </a:lnTo>
                  <a:lnTo>
                    <a:pt x="1782" y="3568"/>
                  </a:lnTo>
                  <a:lnTo>
                    <a:pt x="1792" y="3562"/>
                  </a:lnTo>
                  <a:lnTo>
                    <a:pt x="1810" y="3550"/>
                  </a:lnTo>
                  <a:lnTo>
                    <a:pt x="1832" y="3532"/>
                  </a:lnTo>
                  <a:lnTo>
                    <a:pt x="1858" y="3506"/>
                  </a:lnTo>
                  <a:lnTo>
                    <a:pt x="1870" y="3490"/>
                  </a:lnTo>
                  <a:lnTo>
                    <a:pt x="1884" y="3472"/>
                  </a:lnTo>
                  <a:lnTo>
                    <a:pt x="1892" y="3462"/>
                  </a:lnTo>
                  <a:lnTo>
                    <a:pt x="1898" y="3456"/>
                  </a:lnTo>
                  <a:lnTo>
                    <a:pt x="1912" y="3442"/>
                  </a:lnTo>
                  <a:lnTo>
                    <a:pt x="1920" y="3432"/>
                  </a:lnTo>
                  <a:lnTo>
                    <a:pt x="1930" y="3418"/>
                  </a:lnTo>
                  <a:lnTo>
                    <a:pt x="1940" y="3398"/>
                  </a:lnTo>
                  <a:lnTo>
                    <a:pt x="1952" y="3372"/>
                  </a:lnTo>
                  <a:lnTo>
                    <a:pt x="1968" y="3344"/>
                  </a:lnTo>
                  <a:lnTo>
                    <a:pt x="1980" y="3324"/>
                  </a:lnTo>
                  <a:lnTo>
                    <a:pt x="1992" y="3314"/>
                  </a:lnTo>
                  <a:lnTo>
                    <a:pt x="2002" y="3304"/>
                  </a:lnTo>
                  <a:lnTo>
                    <a:pt x="2010" y="3294"/>
                  </a:lnTo>
                  <a:lnTo>
                    <a:pt x="2018" y="3276"/>
                  </a:lnTo>
                  <a:lnTo>
                    <a:pt x="2026" y="3250"/>
                  </a:lnTo>
                  <a:lnTo>
                    <a:pt x="2030" y="3210"/>
                  </a:lnTo>
                  <a:lnTo>
                    <a:pt x="2034" y="3182"/>
                  </a:lnTo>
                  <a:lnTo>
                    <a:pt x="2032" y="3176"/>
                  </a:lnTo>
                  <a:lnTo>
                    <a:pt x="2030" y="3176"/>
                  </a:lnTo>
                  <a:lnTo>
                    <a:pt x="2026" y="3176"/>
                  </a:lnTo>
                  <a:lnTo>
                    <a:pt x="2024" y="3176"/>
                  </a:lnTo>
                  <a:lnTo>
                    <a:pt x="2022" y="3170"/>
                  </a:lnTo>
                  <a:lnTo>
                    <a:pt x="2020" y="3164"/>
                  </a:lnTo>
                  <a:lnTo>
                    <a:pt x="2024" y="3156"/>
                  </a:lnTo>
                  <a:lnTo>
                    <a:pt x="2028" y="3148"/>
                  </a:lnTo>
                  <a:lnTo>
                    <a:pt x="2036" y="3140"/>
                  </a:lnTo>
                  <a:lnTo>
                    <a:pt x="2046" y="3132"/>
                  </a:lnTo>
                  <a:lnTo>
                    <a:pt x="2056" y="3126"/>
                  </a:lnTo>
                  <a:lnTo>
                    <a:pt x="2070" y="3118"/>
                  </a:lnTo>
                  <a:lnTo>
                    <a:pt x="2084" y="3114"/>
                  </a:lnTo>
                  <a:lnTo>
                    <a:pt x="2096" y="3108"/>
                  </a:lnTo>
                  <a:lnTo>
                    <a:pt x="2108" y="3100"/>
                  </a:lnTo>
                  <a:lnTo>
                    <a:pt x="2118" y="3094"/>
                  </a:lnTo>
                  <a:lnTo>
                    <a:pt x="2126" y="3086"/>
                  </a:lnTo>
                  <a:lnTo>
                    <a:pt x="2132" y="3078"/>
                  </a:lnTo>
                  <a:lnTo>
                    <a:pt x="2136" y="3070"/>
                  </a:lnTo>
                  <a:lnTo>
                    <a:pt x="2136" y="3062"/>
                  </a:lnTo>
                  <a:lnTo>
                    <a:pt x="2134" y="3056"/>
                  </a:lnTo>
                  <a:lnTo>
                    <a:pt x="2130" y="3050"/>
                  </a:lnTo>
                  <a:lnTo>
                    <a:pt x="2130" y="3044"/>
                  </a:lnTo>
                  <a:lnTo>
                    <a:pt x="2132" y="3034"/>
                  </a:lnTo>
                  <a:lnTo>
                    <a:pt x="2136" y="3016"/>
                  </a:lnTo>
                  <a:lnTo>
                    <a:pt x="2138" y="3006"/>
                  </a:lnTo>
                  <a:lnTo>
                    <a:pt x="2138" y="2990"/>
                  </a:lnTo>
                  <a:lnTo>
                    <a:pt x="2136" y="2972"/>
                  </a:lnTo>
                  <a:lnTo>
                    <a:pt x="2136" y="2970"/>
                  </a:lnTo>
                  <a:lnTo>
                    <a:pt x="2134" y="2972"/>
                  </a:lnTo>
                  <a:lnTo>
                    <a:pt x="2132" y="2974"/>
                  </a:lnTo>
                  <a:lnTo>
                    <a:pt x="2130" y="2974"/>
                  </a:lnTo>
                  <a:lnTo>
                    <a:pt x="2128" y="2972"/>
                  </a:lnTo>
                  <a:lnTo>
                    <a:pt x="2126" y="2962"/>
                  </a:lnTo>
                  <a:lnTo>
                    <a:pt x="2120" y="2934"/>
                  </a:lnTo>
                  <a:lnTo>
                    <a:pt x="2120" y="2920"/>
                  </a:lnTo>
                  <a:lnTo>
                    <a:pt x="2118" y="2910"/>
                  </a:lnTo>
                  <a:lnTo>
                    <a:pt x="2108" y="2896"/>
                  </a:lnTo>
                  <a:lnTo>
                    <a:pt x="2104" y="2890"/>
                  </a:lnTo>
                  <a:lnTo>
                    <a:pt x="2102" y="2886"/>
                  </a:lnTo>
                  <a:lnTo>
                    <a:pt x="2102" y="2878"/>
                  </a:lnTo>
                  <a:lnTo>
                    <a:pt x="2104" y="2870"/>
                  </a:lnTo>
                  <a:lnTo>
                    <a:pt x="2104" y="2860"/>
                  </a:lnTo>
                  <a:lnTo>
                    <a:pt x="2104" y="2854"/>
                  </a:lnTo>
                  <a:lnTo>
                    <a:pt x="2108" y="2854"/>
                  </a:lnTo>
                  <a:lnTo>
                    <a:pt x="2114" y="2852"/>
                  </a:lnTo>
                  <a:lnTo>
                    <a:pt x="2120" y="2848"/>
                  </a:lnTo>
                  <a:lnTo>
                    <a:pt x="2126" y="2842"/>
                  </a:lnTo>
                  <a:lnTo>
                    <a:pt x="2136" y="2832"/>
                  </a:lnTo>
                  <a:lnTo>
                    <a:pt x="2144" y="2822"/>
                  </a:lnTo>
                  <a:lnTo>
                    <a:pt x="2150" y="2816"/>
                  </a:lnTo>
                  <a:lnTo>
                    <a:pt x="2160" y="2812"/>
                  </a:lnTo>
                  <a:lnTo>
                    <a:pt x="2166" y="2808"/>
                  </a:lnTo>
                  <a:lnTo>
                    <a:pt x="2170" y="2804"/>
                  </a:lnTo>
                  <a:lnTo>
                    <a:pt x="2178" y="2794"/>
                  </a:lnTo>
                  <a:lnTo>
                    <a:pt x="2186" y="2780"/>
                  </a:lnTo>
                  <a:lnTo>
                    <a:pt x="2196" y="2764"/>
                  </a:lnTo>
                  <a:lnTo>
                    <a:pt x="2206" y="2750"/>
                  </a:lnTo>
                  <a:lnTo>
                    <a:pt x="2216" y="2740"/>
                  </a:lnTo>
                  <a:lnTo>
                    <a:pt x="2226" y="2734"/>
                  </a:lnTo>
                  <a:lnTo>
                    <a:pt x="2236" y="2728"/>
                  </a:lnTo>
                  <a:lnTo>
                    <a:pt x="2246" y="2724"/>
                  </a:lnTo>
                  <a:lnTo>
                    <a:pt x="2266" y="2718"/>
                  </a:lnTo>
                  <a:lnTo>
                    <a:pt x="2276" y="2714"/>
                  </a:lnTo>
                  <a:lnTo>
                    <a:pt x="2284" y="2708"/>
                  </a:lnTo>
                  <a:lnTo>
                    <a:pt x="2294" y="2700"/>
                  </a:lnTo>
                  <a:lnTo>
                    <a:pt x="2302" y="2690"/>
                  </a:lnTo>
                  <a:lnTo>
                    <a:pt x="2320" y="2666"/>
                  </a:lnTo>
                  <a:lnTo>
                    <a:pt x="2336" y="2636"/>
                  </a:lnTo>
                  <a:lnTo>
                    <a:pt x="2344" y="2622"/>
                  </a:lnTo>
                  <a:lnTo>
                    <a:pt x="2344" y="2620"/>
                  </a:lnTo>
                  <a:lnTo>
                    <a:pt x="2344" y="2616"/>
                  </a:lnTo>
                  <a:lnTo>
                    <a:pt x="2348" y="2606"/>
                  </a:lnTo>
                  <a:lnTo>
                    <a:pt x="2350" y="2598"/>
                  </a:lnTo>
                  <a:lnTo>
                    <a:pt x="2352" y="2594"/>
                  </a:lnTo>
                  <a:lnTo>
                    <a:pt x="2350" y="2590"/>
                  </a:lnTo>
                  <a:lnTo>
                    <a:pt x="2348" y="2586"/>
                  </a:lnTo>
                  <a:lnTo>
                    <a:pt x="2344" y="2582"/>
                  </a:lnTo>
                  <a:lnTo>
                    <a:pt x="2340" y="2576"/>
                  </a:lnTo>
                  <a:lnTo>
                    <a:pt x="2338" y="2566"/>
                  </a:lnTo>
                  <a:lnTo>
                    <a:pt x="2338" y="2552"/>
                  </a:lnTo>
                  <a:lnTo>
                    <a:pt x="2338" y="2500"/>
                  </a:lnTo>
                  <a:lnTo>
                    <a:pt x="2338" y="2478"/>
                  </a:lnTo>
                  <a:lnTo>
                    <a:pt x="2334" y="2454"/>
                  </a:lnTo>
                  <a:lnTo>
                    <a:pt x="2334" y="2440"/>
                  </a:lnTo>
                  <a:lnTo>
                    <a:pt x="2334" y="2432"/>
                  </a:lnTo>
                  <a:lnTo>
                    <a:pt x="2338" y="2426"/>
                  </a:lnTo>
                  <a:lnTo>
                    <a:pt x="2342" y="2424"/>
                  </a:lnTo>
                  <a:lnTo>
                    <a:pt x="2344" y="2420"/>
                  </a:lnTo>
                  <a:lnTo>
                    <a:pt x="2344" y="2414"/>
                  </a:lnTo>
                  <a:lnTo>
                    <a:pt x="2340" y="2406"/>
                  </a:lnTo>
                  <a:lnTo>
                    <a:pt x="2334" y="2394"/>
                  </a:lnTo>
                  <a:lnTo>
                    <a:pt x="2324" y="2384"/>
                  </a:lnTo>
                  <a:lnTo>
                    <a:pt x="2318" y="2380"/>
                  </a:lnTo>
                  <a:lnTo>
                    <a:pt x="2312" y="2376"/>
                  </a:lnTo>
                  <a:lnTo>
                    <a:pt x="2308" y="2368"/>
                  </a:lnTo>
                  <a:lnTo>
                    <a:pt x="2304" y="2358"/>
                  </a:lnTo>
                  <a:lnTo>
                    <a:pt x="2302" y="2348"/>
                  </a:lnTo>
                  <a:lnTo>
                    <a:pt x="2300" y="2334"/>
                  </a:lnTo>
                  <a:lnTo>
                    <a:pt x="2292" y="2310"/>
                  </a:lnTo>
                  <a:lnTo>
                    <a:pt x="2288" y="2298"/>
                  </a:lnTo>
                  <a:lnTo>
                    <a:pt x="2288" y="2290"/>
                  </a:lnTo>
                  <a:lnTo>
                    <a:pt x="2288" y="2286"/>
                  </a:lnTo>
                  <a:lnTo>
                    <a:pt x="2290" y="2280"/>
                  </a:lnTo>
                  <a:lnTo>
                    <a:pt x="2292" y="2278"/>
                  </a:lnTo>
                  <a:lnTo>
                    <a:pt x="2294" y="2274"/>
                  </a:lnTo>
                  <a:lnTo>
                    <a:pt x="2294" y="2268"/>
                  </a:lnTo>
                  <a:lnTo>
                    <a:pt x="2292" y="2258"/>
                  </a:lnTo>
                  <a:lnTo>
                    <a:pt x="2288" y="2248"/>
                  </a:lnTo>
                  <a:lnTo>
                    <a:pt x="2288" y="2240"/>
                  </a:lnTo>
                  <a:lnTo>
                    <a:pt x="2290" y="2236"/>
                  </a:lnTo>
                  <a:lnTo>
                    <a:pt x="2292" y="2232"/>
                  </a:lnTo>
                  <a:lnTo>
                    <a:pt x="2294" y="2230"/>
                  </a:lnTo>
                  <a:lnTo>
                    <a:pt x="2296" y="2228"/>
                  </a:lnTo>
                  <a:lnTo>
                    <a:pt x="2296" y="2226"/>
                  </a:lnTo>
                  <a:lnTo>
                    <a:pt x="2294" y="2220"/>
                  </a:lnTo>
                  <a:lnTo>
                    <a:pt x="2282" y="2206"/>
                  </a:lnTo>
                  <a:lnTo>
                    <a:pt x="2272" y="2192"/>
                  </a:lnTo>
                  <a:lnTo>
                    <a:pt x="2268" y="2184"/>
                  </a:lnTo>
                  <a:lnTo>
                    <a:pt x="2266" y="2174"/>
                  </a:lnTo>
                  <a:lnTo>
                    <a:pt x="2268" y="2164"/>
                  </a:lnTo>
                  <a:lnTo>
                    <a:pt x="2272" y="2150"/>
                  </a:lnTo>
                  <a:lnTo>
                    <a:pt x="2276" y="2138"/>
                  </a:lnTo>
                  <a:lnTo>
                    <a:pt x="2278" y="2130"/>
                  </a:lnTo>
                  <a:lnTo>
                    <a:pt x="2282" y="2122"/>
                  </a:lnTo>
                  <a:lnTo>
                    <a:pt x="2288" y="2108"/>
                  </a:lnTo>
                  <a:lnTo>
                    <a:pt x="2304" y="2084"/>
                  </a:lnTo>
                  <a:lnTo>
                    <a:pt x="2308" y="2074"/>
                  </a:lnTo>
                  <a:lnTo>
                    <a:pt x="2310" y="2058"/>
                  </a:lnTo>
                  <a:lnTo>
                    <a:pt x="2312" y="2052"/>
                  </a:lnTo>
                  <a:lnTo>
                    <a:pt x="2314" y="2048"/>
                  </a:lnTo>
                  <a:lnTo>
                    <a:pt x="2320" y="2046"/>
                  </a:lnTo>
                  <a:lnTo>
                    <a:pt x="2322" y="2044"/>
                  </a:lnTo>
                  <a:lnTo>
                    <a:pt x="2324" y="2042"/>
                  </a:lnTo>
                  <a:lnTo>
                    <a:pt x="2324" y="2036"/>
                  </a:lnTo>
                  <a:lnTo>
                    <a:pt x="2322" y="2026"/>
                  </a:lnTo>
                  <a:lnTo>
                    <a:pt x="2324" y="2016"/>
                  </a:lnTo>
                  <a:lnTo>
                    <a:pt x="2326" y="2008"/>
                  </a:lnTo>
                  <a:lnTo>
                    <a:pt x="2332" y="2004"/>
                  </a:lnTo>
                  <a:lnTo>
                    <a:pt x="2338" y="2002"/>
                  </a:lnTo>
                  <a:lnTo>
                    <a:pt x="2350" y="1998"/>
                  </a:lnTo>
                  <a:lnTo>
                    <a:pt x="2354" y="1994"/>
                  </a:lnTo>
                  <a:lnTo>
                    <a:pt x="2354" y="1988"/>
                  </a:lnTo>
                  <a:lnTo>
                    <a:pt x="2352" y="1980"/>
                  </a:lnTo>
                  <a:lnTo>
                    <a:pt x="2356" y="1980"/>
                  </a:lnTo>
                  <a:lnTo>
                    <a:pt x="2360" y="1980"/>
                  </a:lnTo>
                  <a:lnTo>
                    <a:pt x="2366" y="1978"/>
                  </a:lnTo>
                  <a:lnTo>
                    <a:pt x="2372" y="1972"/>
                  </a:lnTo>
                  <a:lnTo>
                    <a:pt x="2380" y="1962"/>
                  </a:lnTo>
                  <a:lnTo>
                    <a:pt x="2388" y="1950"/>
                  </a:lnTo>
                  <a:lnTo>
                    <a:pt x="2390" y="1944"/>
                  </a:lnTo>
                  <a:lnTo>
                    <a:pt x="2394" y="1932"/>
                  </a:lnTo>
                  <a:lnTo>
                    <a:pt x="2396" y="1926"/>
                  </a:lnTo>
                  <a:lnTo>
                    <a:pt x="2400" y="1918"/>
                  </a:lnTo>
                  <a:lnTo>
                    <a:pt x="2408" y="1908"/>
                  </a:lnTo>
                  <a:lnTo>
                    <a:pt x="2422" y="1892"/>
                  </a:lnTo>
                  <a:lnTo>
                    <a:pt x="2450" y="1860"/>
                  </a:lnTo>
                  <a:lnTo>
                    <a:pt x="2470" y="1836"/>
                  </a:lnTo>
                  <a:lnTo>
                    <a:pt x="2494" y="1812"/>
                  </a:lnTo>
                  <a:lnTo>
                    <a:pt x="2532" y="1780"/>
                  </a:lnTo>
                  <a:lnTo>
                    <a:pt x="2556" y="1760"/>
                  </a:lnTo>
                  <a:lnTo>
                    <a:pt x="2580" y="1736"/>
                  </a:lnTo>
                  <a:lnTo>
                    <a:pt x="2604" y="1710"/>
                  </a:lnTo>
                  <a:lnTo>
                    <a:pt x="2626" y="1680"/>
                  </a:lnTo>
                  <a:lnTo>
                    <a:pt x="2646" y="1646"/>
                  </a:lnTo>
                  <a:lnTo>
                    <a:pt x="2666" y="1610"/>
                  </a:lnTo>
                  <a:lnTo>
                    <a:pt x="2686" y="1570"/>
                  </a:lnTo>
                  <a:lnTo>
                    <a:pt x="2702" y="1526"/>
                  </a:lnTo>
                  <a:lnTo>
                    <a:pt x="2712" y="1502"/>
                  </a:lnTo>
                  <a:lnTo>
                    <a:pt x="2722" y="1482"/>
                  </a:lnTo>
                  <a:lnTo>
                    <a:pt x="2738" y="1452"/>
                  </a:lnTo>
                  <a:lnTo>
                    <a:pt x="2750" y="1426"/>
                  </a:lnTo>
                  <a:lnTo>
                    <a:pt x="2752" y="1416"/>
                  </a:lnTo>
                  <a:lnTo>
                    <a:pt x="2754" y="1404"/>
                  </a:lnTo>
                  <a:lnTo>
                    <a:pt x="2758" y="1388"/>
                  </a:lnTo>
                  <a:lnTo>
                    <a:pt x="2762" y="1378"/>
                  </a:lnTo>
                  <a:lnTo>
                    <a:pt x="2768" y="1376"/>
                  </a:lnTo>
                  <a:lnTo>
                    <a:pt x="2772" y="1376"/>
                  </a:lnTo>
                  <a:lnTo>
                    <a:pt x="2776" y="1376"/>
                  </a:lnTo>
                  <a:lnTo>
                    <a:pt x="2770" y="136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4" name="Freeform 6155">
              <a:extLst>
                <a:ext uri="{FF2B5EF4-FFF2-40B4-BE49-F238E27FC236}">
                  <a16:creationId xmlns:a16="http://schemas.microsoft.com/office/drawing/2014/main" id="{2FDFA26B-F356-47E4-9EED-7C45C04272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8868" y="954013"/>
              <a:ext cx="1798726" cy="2608001"/>
            </a:xfrm>
            <a:custGeom>
              <a:avLst/>
              <a:gdLst>
                <a:gd name="T0" fmla="*/ 794599 w 2834"/>
                <a:gd name="T1" fmla="*/ 115556 h 4108"/>
                <a:gd name="T2" fmla="*/ 750173 w 2834"/>
                <a:gd name="T3" fmla="*/ 64762 h 4108"/>
                <a:gd name="T4" fmla="*/ 742557 w 2834"/>
                <a:gd name="T5" fmla="*/ 528256 h 4108"/>
                <a:gd name="T6" fmla="*/ 842833 w 2834"/>
                <a:gd name="T7" fmla="*/ 165080 h 4108"/>
                <a:gd name="T8" fmla="*/ 708285 w 2834"/>
                <a:gd name="T9" fmla="*/ 563811 h 4108"/>
                <a:gd name="T10" fmla="*/ 635933 w 2834"/>
                <a:gd name="T11" fmla="*/ 595557 h 4108"/>
                <a:gd name="T12" fmla="*/ 684167 w 2834"/>
                <a:gd name="T13" fmla="*/ 565081 h 4108"/>
                <a:gd name="T14" fmla="*/ 836487 w 2834"/>
                <a:gd name="T15" fmla="*/ 25397 h 4108"/>
                <a:gd name="T16" fmla="*/ 91392 w 2834"/>
                <a:gd name="T17" fmla="*/ 1043813 h 4108"/>
                <a:gd name="T18" fmla="*/ 44426 w 2834"/>
                <a:gd name="T19" fmla="*/ 1184766 h 4108"/>
                <a:gd name="T20" fmla="*/ 107893 w 2834"/>
                <a:gd name="T21" fmla="*/ 1048892 h 4108"/>
                <a:gd name="T22" fmla="*/ 119317 w 2834"/>
                <a:gd name="T23" fmla="*/ 1116194 h 4108"/>
                <a:gd name="T24" fmla="*/ 171359 w 2834"/>
                <a:gd name="T25" fmla="*/ 1036194 h 4108"/>
                <a:gd name="T26" fmla="*/ 129471 w 2834"/>
                <a:gd name="T27" fmla="*/ 1116194 h 4108"/>
                <a:gd name="T28" fmla="*/ 148511 w 2834"/>
                <a:gd name="T29" fmla="*/ 1240639 h 4108"/>
                <a:gd name="T30" fmla="*/ 200554 w 2834"/>
                <a:gd name="T31" fmla="*/ 1323179 h 4108"/>
                <a:gd name="T32" fmla="*/ 397299 w 2834"/>
                <a:gd name="T33" fmla="*/ 877463 h 4108"/>
                <a:gd name="T34" fmla="*/ 224671 w 2834"/>
                <a:gd name="T35" fmla="*/ 943495 h 4108"/>
                <a:gd name="T36" fmla="*/ 331294 w 2834"/>
                <a:gd name="T37" fmla="*/ 721272 h 4108"/>
                <a:gd name="T38" fmla="*/ 114239 w 2834"/>
                <a:gd name="T39" fmla="*/ 665399 h 4108"/>
                <a:gd name="T40" fmla="*/ 151050 w 2834"/>
                <a:gd name="T41" fmla="*/ 1219051 h 4108"/>
                <a:gd name="T42" fmla="*/ 576275 w 2834"/>
                <a:gd name="T43" fmla="*/ 1158099 h 4108"/>
                <a:gd name="T44" fmla="*/ 580083 w 2834"/>
                <a:gd name="T45" fmla="*/ 1159369 h 4108"/>
                <a:gd name="T46" fmla="*/ 694322 w 2834"/>
                <a:gd name="T47" fmla="*/ 1079368 h 4108"/>
                <a:gd name="T48" fmla="*/ 401107 w 2834"/>
                <a:gd name="T49" fmla="*/ 961273 h 4108"/>
                <a:gd name="T50" fmla="*/ 840295 w 2834"/>
                <a:gd name="T51" fmla="*/ 1010797 h 4108"/>
                <a:gd name="T52" fmla="*/ 605469 w 2834"/>
                <a:gd name="T53" fmla="*/ 1771434 h 4108"/>
                <a:gd name="T54" fmla="*/ 799676 w 2834"/>
                <a:gd name="T55" fmla="*/ 1789212 h 4108"/>
                <a:gd name="T56" fmla="*/ 858065 w 2834"/>
                <a:gd name="T57" fmla="*/ 1842545 h 4108"/>
                <a:gd name="T58" fmla="*/ 1586659 w 2834"/>
                <a:gd name="T59" fmla="*/ 2201912 h 4108"/>
                <a:gd name="T60" fmla="*/ 1488921 w 2834"/>
                <a:gd name="T61" fmla="*/ 2069848 h 4108"/>
                <a:gd name="T62" fmla="*/ 1391183 w 2834"/>
                <a:gd name="T63" fmla="*/ 620954 h 4108"/>
                <a:gd name="T64" fmla="*/ 1212208 w 2834"/>
                <a:gd name="T65" fmla="*/ 568891 h 4108"/>
                <a:gd name="T66" fmla="*/ 974843 w 2834"/>
                <a:gd name="T67" fmla="*/ 468573 h 4108"/>
                <a:gd name="T68" fmla="*/ 856796 w 2834"/>
                <a:gd name="T69" fmla="*/ 514287 h 4108"/>
                <a:gd name="T70" fmla="*/ 732402 w 2834"/>
                <a:gd name="T71" fmla="*/ 544764 h 4108"/>
                <a:gd name="T72" fmla="*/ 657512 w 2834"/>
                <a:gd name="T73" fmla="*/ 642542 h 4108"/>
                <a:gd name="T74" fmla="*/ 562312 w 2834"/>
                <a:gd name="T75" fmla="*/ 758098 h 4108"/>
                <a:gd name="T76" fmla="*/ 446803 w 2834"/>
                <a:gd name="T77" fmla="*/ 830479 h 4108"/>
                <a:gd name="T78" fmla="*/ 396030 w 2834"/>
                <a:gd name="T79" fmla="*/ 911749 h 4108"/>
                <a:gd name="T80" fmla="*/ 482344 w 2834"/>
                <a:gd name="T81" fmla="*/ 1027305 h 4108"/>
                <a:gd name="T82" fmla="*/ 679090 w 2834"/>
                <a:gd name="T83" fmla="*/ 1102226 h 4108"/>
                <a:gd name="T84" fmla="*/ 728594 w 2834"/>
                <a:gd name="T85" fmla="*/ 845717 h 4108"/>
                <a:gd name="T86" fmla="*/ 818716 w 2834"/>
                <a:gd name="T87" fmla="*/ 825399 h 4108"/>
                <a:gd name="T88" fmla="*/ 984998 w 2834"/>
                <a:gd name="T89" fmla="*/ 975241 h 4108"/>
                <a:gd name="T90" fmla="*/ 748903 w 2834"/>
                <a:gd name="T91" fmla="*/ 1168258 h 4108"/>
                <a:gd name="T92" fmla="*/ 514078 w 2834"/>
                <a:gd name="T93" fmla="*/ 1158099 h 4108"/>
                <a:gd name="T94" fmla="*/ 486152 w 2834"/>
                <a:gd name="T95" fmla="*/ 1146670 h 4108"/>
                <a:gd name="T96" fmla="*/ 392222 w 2834"/>
                <a:gd name="T97" fmla="*/ 1235559 h 4108"/>
                <a:gd name="T98" fmla="*/ 185322 w 2834"/>
                <a:gd name="T99" fmla="*/ 1389211 h 4108"/>
                <a:gd name="T100" fmla="*/ 171359 w 2834"/>
                <a:gd name="T101" fmla="*/ 1584767 h 4108"/>
                <a:gd name="T102" fmla="*/ 180244 w 2834"/>
                <a:gd name="T103" fmla="*/ 1823498 h 4108"/>
                <a:gd name="T104" fmla="*/ 542003 w 2834"/>
                <a:gd name="T105" fmla="*/ 1610164 h 4108"/>
                <a:gd name="T106" fmla="*/ 628317 w 2834"/>
                <a:gd name="T107" fmla="*/ 1615243 h 4108"/>
                <a:gd name="T108" fmla="*/ 786983 w 2834"/>
                <a:gd name="T109" fmla="*/ 1730799 h 4108"/>
                <a:gd name="T110" fmla="*/ 884721 w 2834"/>
                <a:gd name="T111" fmla="*/ 1789212 h 4108"/>
                <a:gd name="T112" fmla="*/ 972305 w 2834"/>
                <a:gd name="T113" fmla="*/ 1674926 h 4108"/>
                <a:gd name="T114" fmla="*/ 1124624 w 2834"/>
                <a:gd name="T115" fmla="*/ 1530163 h 4108"/>
                <a:gd name="T116" fmla="*/ 1213477 w 2834"/>
                <a:gd name="T117" fmla="*/ 1530163 h 4108"/>
                <a:gd name="T118" fmla="*/ 976113 w 2834"/>
                <a:gd name="T119" fmla="*/ 1692704 h 4108"/>
                <a:gd name="T120" fmla="*/ 1042118 w 2834"/>
                <a:gd name="T121" fmla="*/ 1838736 h 4108"/>
                <a:gd name="T122" fmla="*/ 1153819 w 2834"/>
                <a:gd name="T123" fmla="*/ 2114292 h 4108"/>
                <a:gd name="T124" fmla="*/ 1426724 w 2834"/>
                <a:gd name="T125" fmla="*/ 2595564 h 4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4"/>
                <a:gd name="T190" fmla="*/ 0 h 4108"/>
                <a:gd name="T191" fmla="*/ 2834 w 2834"/>
                <a:gd name="T192" fmla="*/ 4108 h 41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4" h="4108">
                  <a:moveTo>
                    <a:pt x="1216" y="808"/>
                  </a:moveTo>
                  <a:lnTo>
                    <a:pt x="1216" y="808"/>
                  </a:lnTo>
                  <a:lnTo>
                    <a:pt x="1216" y="806"/>
                  </a:lnTo>
                  <a:lnTo>
                    <a:pt x="1212" y="804"/>
                  </a:lnTo>
                  <a:lnTo>
                    <a:pt x="1208" y="804"/>
                  </a:lnTo>
                  <a:lnTo>
                    <a:pt x="1206" y="804"/>
                  </a:lnTo>
                  <a:lnTo>
                    <a:pt x="1206" y="806"/>
                  </a:lnTo>
                  <a:lnTo>
                    <a:pt x="1210" y="808"/>
                  </a:lnTo>
                  <a:lnTo>
                    <a:pt x="1214" y="808"/>
                  </a:lnTo>
                  <a:lnTo>
                    <a:pt x="1216" y="808"/>
                  </a:lnTo>
                  <a:close/>
                  <a:moveTo>
                    <a:pt x="1202" y="798"/>
                  </a:moveTo>
                  <a:lnTo>
                    <a:pt x="1202" y="798"/>
                  </a:lnTo>
                  <a:lnTo>
                    <a:pt x="1198" y="798"/>
                  </a:lnTo>
                  <a:lnTo>
                    <a:pt x="1194" y="802"/>
                  </a:lnTo>
                  <a:lnTo>
                    <a:pt x="1194" y="806"/>
                  </a:lnTo>
                  <a:lnTo>
                    <a:pt x="1196" y="806"/>
                  </a:lnTo>
                  <a:lnTo>
                    <a:pt x="1200" y="806"/>
                  </a:lnTo>
                  <a:lnTo>
                    <a:pt x="1202" y="802"/>
                  </a:lnTo>
                  <a:lnTo>
                    <a:pt x="1202" y="800"/>
                  </a:lnTo>
                  <a:lnTo>
                    <a:pt x="1202" y="798"/>
                  </a:lnTo>
                  <a:close/>
                  <a:moveTo>
                    <a:pt x="1082" y="898"/>
                  </a:moveTo>
                  <a:lnTo>
                    <a:pt x="1082" y="898"/>
                  </a:lnTo>
                  <a:lnTo>
                    <a:pt x="1078" y="896"/>
                  </a:lnTo>
                  <a:lnTo>
                    <a:pt x="1074" y="900"/>
                  </a:lnTo>
                  <a:lnTo>
                    <a:pt x="1072" y="902"/>
                  </a:lnTo>
                  <a:lnTo>
                    <a:pt x="1072" y="906"/>
                  </a:lnTo>
                  <a:lnTo>
                    <a:pt x="1072" y="910"/>
                  </a:lnTo>
                  <a:lnTo>
                    <a:pt x="1066" y="914"/>
                  </a:lnTo>
                  <a:lnTo>
                    <a:pt x="1062" y="916"/>
                  </a:lnTo>
                  <a:lnTo>
                    <a:pt x="1064" y="914"/>
                  </a:lnTo>
                  <a:lnTo>
                    <a:pt x="1066" y="910"/>
                  </a:lnTo>
                  <a:lnTo>
                    <a:pt x="1064" y="908"/>
                  </a:lnTo>
                  <a:lnTo>
                    <a:pt x="1062" y="908"/>
                  </a:lnTo>
                  <a:lnTo>
                    <a:pt x="1060" y="908"/>
                  </a:lnTo>
                  <a:lnTo>
                    <a:pt x="1060" y="906"/>
                  </a:lnTo>
                  <a:lnTo>
                    <a:pt x="1062" y="902"/>
                  </a:lnTo>
                  <a:lnTo>
                    <a:pt x="1066" y="896"/>
                  </a:lnTo>
                  <a:lnTo>
                    <a:pt x="1066" y="894"/>
                  </a:lnTo>
                  <a:lnTo>
                    <a:pt x="1064" y="892"/>
                  </a:lnTo>
                  <a:lnTo>
                    <a:pt x="1058" y="892"/>
                  </a:lnTo>
                  <a:lnTo>
                    <a:pt x="1054" y="896"/>
                  </a:lnTo>
                  <a:lnTo>
                    <a:pt x="1048" y="900"/>
                  </a:lnTo>
                  <a:lnTo>
                    <a:pt x="1046" y="906"/>
                  </a:lnTo>
                  <a:lnTo>
                    <a:pt x="1046" y="912"/>
                  </a:lnTo>
                  <a:lnTo>
                    <a:pt x="1046" y="916"/>
                  </a:lnTo>
                  <a:lnTo>
                    <a:pt x="1046" y="918"/>
                  </a:lnTo>
                  <a:lnTo>
                    <a:pt x="1042" y="920"/>
                  </a:lnTo>
                  <a:lnTo>
                    <a:pt x="1036" y="922"/>
                  </a:lnTo>
                  <a:lnTo>
                    <a:pt x="1036" y="924"/>
                  </a:lnTo>
                  <a:lnTo>
                    <a:pt x="1036" y="928"/>
                  </a:lnTo>
                  <a:lnTo>
                    <a:pt x="1032" y="938"/>
                  </a:lnTo>
                  <a:lnTo>
                    <a:pt x="1030" y="942"/>
                  </a:lnTo>
                  <a:lnTo>
                    <a:pt x="1034" y="940"/>
                  </a:lnTo>
                  <a:lnTo>
                    <a:pt x="1040" y="938"/>
                  </a:lnTo>
                  <a:lnTo>
                    <a:pt x="1044" y="938"/>
                  </a:lnTo>
                  <a:lnTo>
                    <a:pt x="1048" y="940"/>
                  </a:lnTo>
                  <a:lnTo>
                    <a:pt x="1050" y="940"/>
                  </a:lnTo>
                  <a:lnTo>
                    <a:pt x="1052" y="940"/>
                  </a:lnTo>
                  <a:lnTo>
                    <a:pt x="1054" y="936"/>
                  </a:lnTo>
                  <a:lnTo>
                    <a:pt x="1056" y="934"/>
                  </a:lnTo>
                  <a:lnTo>
                    <a:pt x="1058" y="932"/>
                  </a:lnTo>
                  <a:lnTo>
                    <a:pt x="1060" y="934"/>
                  </a:lnTo>
                  <a:lnTo>
                    <a:pt x="1062" y="936"/>
                  </a:lnTo>
                  <a:lnTo>
                    <a:pt x="1064" y="936"/>
                  </a:lnTo>
                  <a:lnTo>
                    <a:pt x="1068" y="930"/>
                  </a:lnTo>
                  <a:lnTo>
                    <a:pt x="1070" y="926"/>
                  </a:lnTo>
                  <a:lnTo>
                    <a:pt x="1072" y="924"/>
                  </a:lnTo>
                  <a:lnTo>
                    <a:pt x="1076" y="920"/>
                  </a:lnTo>
                  <a:lnTo>
                    <a:pt x="1084" y="920"/>
                  </a:lnTo>
                  <a:lnTo>
                    <a:pt x="1088" y="918"/>
                  </a:lnTo>
                  <a:lnTo>
                    <a:pt x="1090" y="916"/>
                  </a:lnTo>
                  <a:lnTo>
                    <a:pt x="1090" y="914"/>
                  </a:lnTo>
                  <a:lnTo>
                    <a:pt x="1090" y="910"/>
                  </a:lnTo>
                  <a:lnTo>
                    <a:pt x="1086" y="904"/>
                  </a:lnTo>
                  <a:lnTo>
                    <a:pt x="1082" y="898"/>
                  </a:lnTo>
                  <a:close/>
                  <a:moveTo>
                    <a:pt x="1190" y="808"/>
                  </a:moveTo>
                  <a:lnTo>
                    <a:pt x="1190" y="808"/>
                  </a:lnTo>
                  <a:lnTo>
                    <a:pt x="1188" y="808"/>
                  </a:lnTo>
                  <a:lnTo>
                    <a:pt x="1186" y="808"/>
                  </a:lnTo>
                  <a:lnTo>
                    <a:pt x="1184" y="808"/>
                  </a:lnTo>
                  <a:lnTo>
                    <a:pt x="1182" y="808"/>
                  </a:lnTo>
                  <a:lnTo>
                    <a:pt x="1180" y="808"/>
                  </a:lnTo>
                  <a:lnTo>
                    <a:pt x="1178" y="810"/>
                  </a:lnTo>
                  <a:lnTo>
                    <a:pt x="1176" y="814"/>
                  </a:lnTo>
                  <a:lnTo>
                    <a:pt x="1178" y="814"/>
                  </a:lnTo>
                  <a:lnTo>
                    <a:pt x="1178" y="816"/>
                  </a:lnTo>
                  <a:lnTo>
                    <a:pt x="1184" y="814"/>
                  </a:lnTo>
                  <a:lnTo>
                    <a:pt x="1188" y="810"/>
                  </a:lnTo>
                  <a:lnTo>
                    <a:pt x="1190" y="808"/>
                  </a:lnTo>
                  <a:close/>
                  <a:moveTo>
                    <a:pt x="1400" y="746"/>
                  </a:moveTo>
                  <a:lnTo>
                    <a:pt x="1400" y="746"/>
                  </a:lnTo>
                  <a:lnTo>
                    <a:pt x="1394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90" y="748"/>
                  </a:lnTo>
                  <a:lnTo>
                    <a:pt x="1394" y="750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6"/>
                  </a:lnTo>
                  <a:close/>
                  <a:moveTo>
                    <a:pt x="1252" y="182"/>
                  </a:moveTo>
                  <a:lnTo>
                    <a:pt x="1252" y="182"/>
                  </a:lnTo>
                  <a:lnTo>
                    <a:pt x="1256" y="186"/>
                  </a:lnTo>
                  <a:lnTo>
                    <a:pt x="1256" y="188"/>
                  </a:lnTo>
                  <a:lnTo>
                    <a:pt x="1258" y="190"/>
                  </a:lnTo>
                  <a:lnTo>
                    <a:pt x="1258" y="192"/>
                  </a:lnTo>
                  <a:lnTo>
                    <a:pt x="1262" y="192"/>
                  </a:lnTo>
                  <a:lnTo>
                    <a:pt x="1272" y="190"/>
                  </a:lnTo>
                  <a:lnTo>
                    <a:pt x="1290" y="186"/>
                  </a:lnTo>
                  <a:lnTo>
                    <a:pt x="1306" y="186"/>
                  </a:lnTo>
                  <a:lnTo>
                    <a:pt x="1312" y="184"/>
                  </a:lnTo>
                  <a:lnTo>
                    <a:pt x="1316" y="182"/>
                  </a:lnTo>
                  <a:lnTo>
                    <a:pt x="1318" y="178"/>
                  </a:lnTo>
                  <a:lnTo>
                    <a:pt x="1318" y="172"/>
                  </a:lnTo>
                  <a:lnTo>
                    <a:pt x="1316" y="166"/>
                  </a:lnTo>
                  <a:lnTo>
                    <a:pt x="1312" y="162"/>
                  </a:lnTo>
                  <a:lnTo>
                    <a:pt x="1306" y="160"/>
                  </a:lnTo>
                  <a:lnTo>
                    <a:pt x="1300" y="158"/>
                  </a:lnTo>
                  <a:lnTo>
                    <a:pt x="1284" y="158"/>
                  </a:lnTo>
                  <a:lnTo>
                    <a:pt x="1266" y="162"/>
                  </a:lnTo>
                  <a:lnTo>
                    <a:pt x="1250" y="166"/>
                  </a:lnTo>
                  <a:lnTo>
                    <a:pt x="1238" y="168"/>
                  </a:lnTo>
                  <a:lnTo>
                    <a:pt x="1238" y="170"/>
                  </a:lnTo>
                  <a:lnTo>
                    <a:pt x="1238" y="174"/>
                  </a:lnTo>
                  <a:lnTo>
                    <a:pt x="1252" y="182"/>
                  </a:lnTo>
                  <a:close/>
                  <a:moveTo>
                    <a:pt x="1236" y="808"/>
                  </a:moveTo>
                  <a:lnTo>
                    <a:pt x="1236" y="808"/>
                  </a:lnTo>
                  <a:lnTo>
                    <a:pt x="1238" y="806"/>
                  </a:lnTo>
                  <a:lnTo>
                    <a:pt x="1236" y="804"/>
                  </a:lnTo>
                  <a:lnTo>
                    <a:pt x="1228" y="802"/>
                  </a:lnTo>
                  <a:lnTo>
                    <a:pt x="1224" y="798"/>
                  </a:lnTo>
                  <a:lnTo>
                    <a:pt x="1220" y="796"/>
                  </a:lnTo>
                  <a:lnTo>
                    <a:pt x="1216" y="794"/>
                  </a:lnTo>
                  <a:lnTo>
                    <a:pt x="1216" y="798"/>
                  </a:lnTo>
                  <a:lnTo>
                    <a:pt x="1216" y="802"/>
                  </a:lnTo>
                  <a:lnTo>
                    <a:pt x="1220" y="806"/>
                  </a:lnTo>
                  <a:lnTo>
                    <a:pt x="1228" y="810"/>
                  </a:lnTo>
                  <a:lnTo>
                    <a:pt x="1236" y="808"/>
                  </a:lnTo>
                  <a:close/>
                  <a:moveTo>
                    <a:pt x="902" y="108"/>
                  </a:moveTo>
                  <a:lnTo>
                    <a:pt x="902" y="108"/>
                  </a:lnTo>
                  <a:lnTo>
                    <a:pt x="902" y="114"/>
                  </a:lnTo>
                  <a:lnTo>
                    <a:pt x="904" y="120"/>
                  </a:lnTo>
                  <a:lnTo>
                    <a:pt x="906" y="124"/>
                  </a:lnTo>
                  <a:lnTo>
                    <a:pt x="910" y="126"/>
                  </a:lnTo>
                  <a:lnTo>
                    <a:pt x="912" y="128"/>
                  </a:lnTo>
                  <a:lnTo>
                    <a:pt x="910" y="128"/>
                  </a:lnTo>
                  <a:lnTo>
                    <a:pt x="900" y="130"/>
                  </a:lnTo>
                  <a:lnTo>
                    <a:pt x="886" y="130"/>
                  </a:lnTo>
                  <a:lnTo>
                    <a:pt x="884" y="132"/>
                  </a:lnTo>
                  <a:lnTo>
                    <a:pt x="886" y="136"/>
                  </a:lnTo>
                  <a:lnTo>
                    <a:pt x="898" y="148"/>
                  </a:lnTo>
                  <a:lnTo>
                    <a:pt x="922" y="172"/>
                  </a:lnTo>
                  <a:lnTo>
                    <a:pt x="936" y="184"/>
                  </a:lnTo>
                  <a:lnTo>
                    <a:pt x="948" y="192"/>
                  </a:lnTo>
                  <a:lnTo>
                    <a:pt x="960" y="194"/>
                  </a:lnTo>
                  <a:lnTo>
                    <a:pt x="970" y="192"/>
                  </a:lnTo>
                  <a:lnTo>
                    <a:pt x="980" y="188"/>
                  </a:lnTo>
                  <a:lnTo>
                    <a:pt x="990" y="182"/>
                  </a:lnTo>
                  <a:lnTo>
                    <a:pt x="1018" y="164"/>
                  </a:lnTo>
                  <a:lnTo>
                    <a:pt x="1038" y="152"/>
                  </a:lnTo>
                  <a:lnTo>
                    <a:pt x="1040" y="152"/>
                  </a:lnTo>
                  <a:lnTo>
                    <a:pt x="1042" y="154"/>
                  </a:lnTo>
                  <a:lnTo>
                    <a:pt x="1042" y="158"/>
                  </a:lnTo>
                  <a:lnTo>
                    <a:pt x="1048" y="160"/>
                  </a:lnTo>
                  <a:lnTo>
                    <a:pt x="1056" y="164"/>
                  </a:lnTo>
                  <a:lnTo>
                    <a:pt x="1072" y="166"/>
                  </a:lnTo>
                  <a:lnTo>
                    <a:pt x="1088" y="168"/>
                  </a:lnTo>
                  <a:lnTo>
                    <a:pt x="1096" y="170"/>
                  </a:lnTo>
                  <a:lnTo>
                    <a:pt x="1094" y="172"/>
                  </a:lnTo>
                  <a:lnTo>
                    <a:pt x="1088" y="176"/>
                  </a:lnTo>
                  <a:lnTo>
                    <a:pt x="1058" y="186"/>
                  </a:lnTo>
                  <a:lnTo>
                    <a:pt x="1014" y="198"/>
                  </a:lnTo>
                  <a:lnTo>
                    <a:pt x="994" y="206"/>
                  </a:lnTo>
                  <a:lnTo>
                    <a:pt x="980" y="210"/>
                  </a:lnTo>
                  <a:lnTo>
                    <a:pt x="972" y="216"/>
                  </a:lnTo>
                  <a:lnTo>
                    <a:pt x="970" y="218"/>
                  </a:lnTo>
                  <a:lnTo>
                    <a:pt x="970" y="220"/>
                  </a:lnTo>
                  <a:lnTo>
                    <a:pt x="976" y="222"/>
                  </a:lnTo>
                  <a:lnTo>
                    <a:pt x="988" y="224"/>
                  </a:lnTo>
                  <a:lnTo>
                    <a:pt x="1008" y="224"/>
                  </a:lnTo>
                  <a:lnTo>
                    <a:pt x="1034" y="222"/>
                  </a:lnTo>
                  <a:lnTo>
                    <a:pt x="1058" y="220"/>
                  </a:lnTo>
                  <a:lnTo>
                    <a:pt x="1072" y="220"/>
                  </a:lnTo>
                  <a:lnTo>
                    <a:pt x="1074" y="222"/>
                  </a:lnTo>
                  <a:lnTo>
                    <a:pt x="1076" y="222"/>
                  </a:lnTo>
                  <a:lnTo>
                    <a:pt x="1072" y="226"/>
                  </a:lnTo>
                  <a:lnTo>
                    <a:pt x="1064" y="232"/>
                  </a:lnTo>
                  <a:lnTo>
                    <a:pt x="1050" y="236"/>
                  </a:lnTo>
                  <a:lnTo>
                    <a:pt x="1036" y="242"/>
                  </a:lnTo>
                  <a:lnTo>
                    <a:pt x="1018" y="244"/>
                  </a:lnTo>
                  <a:lnTo>
                    <a:pt x="994" y="250"/>
                  </a:lnTo>
                  <a:lnTo>
                    <a:pt x="988" y="252"/>
                  </a:lnTo>
                  <a:lnTo>
                    <a:pt x="984" y="256"/>
                  </a:lnTo>
                  <a:lnTo>
                    <a:pt x="986" y="260"/>
                  </a:lnTo>
                  <a:lnTo>
                    <a:pt x="990" y="264"/>
                  </a:lnTo>
                  <a:lnTo>
                    <a:pt x="1014" y="274"/>
                  </a:lnTo>
                  <a:lnTo>
                    <a:pt x="1028" y="280"/>
                  </a:lnTo>
                  <a:lnTo>
                    <a:pt x="1036" y="286"/>
                  </a:lnTo>
                  <a:lnTo>
                    <a:pt x="1048" y="296"/>
                  </a:lnTo>
                  <a:lnTo>
                    <a:pt x="1052" y="302"/>
                  </a:lnTo>
                  <a:lnTo>
                    <a:pt x="1060" y="308"/>
                  </a:lnTo>
                  <a:lnTo>
                    <a:pt x="1072" y="312"/>
                  </a:lnTo>
                  <a:lnTo>
                    <a:pt x="1090" y="318"/>
                  </a:lnTo>
                  <a:lnTo>
                    <a:pt x="1098" y="320"/>
                  </a:lnTo>
                  <a:lnTo>
                    <a:pt x="1104" y="320"/>
                  </a:lnTo>
                  <a:lnTo>
                    <a:pt x="1110" y="318"/>
                  </a:lnTo>
                  <a:lnTo>
                    <a:pt x="1114" y="316"/>
                  </a:lnTo>
                  <a:lnTo>
                    <a:pt x="1116" y="312"/>
                  </a:lnTo>
                  <a:lnTo>
                    <a:pt x="1116" y="306"/>
                  </a:lnTo>
                  <a:lnTo>
                    <a:pt x="1118" y="294"/>
                  </a:lnTo>
                  <a:lnTo>
                    <a:pt x="1120" y="282"/>
                  </a:lnTo>
                  <a:lnTo>
                    <a:pt x="1124" y="268"/>
                  </a:lnTo>
                  <a:lnTo>
                    <a:pt x="1128" y="262"/>
                  </a:lnTo>
                  <a:lnTo>
                    <a:pt x="1132" y="256"/>
                  </a:lnTo>
                  <a:lnTo>
                    <a:pt x="1138" y="252"/>
                  </a:lnTo>
                  <a:lnTo>
                    <a:pt x="1146" y="248"/>
                  </a:lnTo>
                  <a:lnTo>
                    <a:pt x="1160" y="242"/>
                  </a:lnTo>
                  <a:lnTo>
                    <a:pt x="1166" y="236"/>
                  </a:lnTo>
                  <a:lnTo>
                    <a:pt x="1166" y="230"/>
                  </a:lnTo>
                  <a:lnTo>
                    <a:pt x="1164" y="224"/>
                  </a:lnTo>
                  <a:lnTo>
                    <a:pt x="1162" y="218"/>
                  </a:lnTo>
                  <a:lnTo>
                    <a:pt x="1162" y="214"/>
                  </a:lnTo>
                  <a:lnTo>
                    <a:pt x="1162" y="212"/>
                  </a:lnTo>
                  <a:lnTo>
                    <a:pt x="1166" y="208"/>
                  </a:lnTo>
                  <a:lnTo>
                    <a:pt x="1176" y="204"/>
                  </a:lnTo>
                  <a:lnTo>
                    <a:pt x="1182" y="202"/>
                  </a:lnTo>
                  <a:lnTo>
                    <a:pt x="1188" y="200"/>
                  </a:lnTo>
                  <a:lnTo>
                    <a:pt x="1190" y="196"/>
                  </a:lnTo>
                  <a:lnTo>
                    <a:pt x="1192" y="192"/>
                  </a:lnTo>
                  <a:lnTo>
                    <a:pt x="1194" y="186"/>
                  </a:lnTo>
                  <a:lnTo>
                    <a:pt x="1194" y="178"/>
                  </a:lnTo>
                  <a:lnTo>
                    <a:pt x="1196" y="170"/>
                  </a:lnTo>
                  <a:lnTo>
                    <a:pt x="1198" y="166"/>
                  </a:lnTo>
                  <a:lnTo>
                    <a:pt x="1202" y="164"/>
                  </a:lnTo>
                  <a:lnTo>
                    <a:pt x="1206" y="160"/>
                  </a:lnTo>
                  <a:lnTo>
                    <a:pt x="1212" y="158"/>
                  </a:lnTo>
                  <a:lnTo>
                    <a:pt x="1234" y="156"/>
                  </a:lnTo>
                  <a:lnTo>
                    <a:pt x="1272" y="152"/>
                  </a:lnTo>
                  <a:lnTo>
                    <a:pt x="1284" y="148"/>
                  </a:lnTo>
                  <a:lnTo>
                    <a:pt x="1290" y="146"/>
                  </a:lnTo>
                  <a:lnTo>
                    <a:pt x="1290" y="144"/>
                  </a:lnTo>
                  <a:lnTo>
                    <a:pt x="1290" y="142"/>
                  </a:lnTo>
                  <a:lnTo>
                    <a:pt x="1284" y="138"/>
                  </a:lnTo>
                  <a:lnTo>
                    <a:pt x="1274" y="136"/>
                  </a:lnTo>
                  <a:lnTo>
                    <a:pt x="1260" y="130"/>
                  </a:lnTo>
                  <a:lnTo>
                    <a:pt x="1244" y="126"/>
                  </a:lnTo>
                  <a:lnTo>
                    <a:pt x="1236" y="124"/>
                  </a:lnTo>
                  <a:lnTo>
                    <a:pt x="1226" y="118"/>
                  </a:lnTo>
                  <a:lnTo>
                    <a:pt x="1224" y="116"/>
                  </a:lnTo>
                  <a:lnTo>
                    <a:pt x="1220" y="114"/>
                  </a:lnTo>
                  <a:lnTo>
                    <a:pt x="1202" y="114"/>
                  </a:lnTo>
                  <a:lnTo>
                    <a:pt x="1190" y="112"/>
                  </a:lnTo>
                  <a:lnTo>
                    <a:pt x="1186" y="110"/>
                  </a:lnTo>
                  <a:lnTo>
                    <a:pt x="1184" y="106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82" y="90"/>
                  </a:lnTo>
                  <a:lnTo>
                    <a:pt x="1178" y="84"/>
                  </a:lnTo>
                  <a:lnTo>
                    <a:pt x="1170" y="78"/>
                  </a:lnTo>
                  <a:lnTo>
                    <a:pt x="1162" y="74"/>
                  </a:lnTo>
                  <a:lnTo>
                    <a:pt x="1156" y="76"/>
                  </a:lnTo>
                  <a:lnTo>
                    <a:pt x="1152" y="82"/>
                  </a:lnTo>
                  <a:lnTo>
                    <a:pt x="1148" y="88"/>
                  </a:lnTo>
                  <a:lnTo>
                    <a:pt x="1144" y="96"/>
                  </a:lnTo>
                  <a:lnTo>
                    <a:pt x="1144" y="98"/>
                  </a:lnTo>
                  <a:lnTo>
                    <a:pt x="1142" y="94"/>
                  </a:lnTo>
                  <a:lnTo>
                    <a:pt x="1140" y="84"/>
                  </a:lnTo>
                  <a:lnTo>
                    <a:pt x="1140" y="78"/>
                  </a:lnTo>
                  <a:lnTo>
                    <a:pt x="1142" y="74"/>
                  </a:lnTo>
                  <a:lnTo>
                    <a:pt x="1144" y="70"/>
                  </a:lnTo>
                  <a:lnTo>
                    <a:pt x="1150" y="66"/>
                  </a:lnTo>
                  <a:lnTo>
                    <a:pt x="1152" y="64"/>
                  </a:lnTo>
                  <a:lnTo>
                    <a:pt x="1132" y="54"/>
                  </a:lnTo>
                  <a:lnTo>
                    <a:pt x="1124" y="50"/>
                  </a:lnTo>
                  <a:lnTo>
                    <a:pt x="1108" y="50"/>
                  </a:lnTo>
                  <a:lnTo>
                    <a:pt x="1100" y="50"/>
                  </a:lnTo>
                  <a:lnTo>
                    <a:pt x="1092" y="48"/>
                  </a:lnTo>
                  <a:lnTo>
                    <a:pt x="1084" y="42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0" y="40"/>
                  </a:lnTo>
                  <a:lnTo>
                    <a:pt x="1062" y="44"/>
                  </a:lnTo>
                  <a:lnTo>
                    <a:pt x="1058" y="48"/>
                  </a:lnTo>
                  <a:lnTo>
                    <a:pt x="1056" y="54"/>
                  </a:lnTo>
                  <a:lnTo>
                    <a:pt x="1054" y="58"/>
                  </a:lnTo>
                  <a:lnTo>
                    <a:pt x="1056" y="66"/>
                  </a:lnTo>
                  <a:lnTo>
                    <a:pt x="1060" y="80"/>
                  </a:lnTo>
                  <a:lnTo>
                    <a:pt x="1068" y="94"/>
                  </a:lnTo>
                  <a:lnTo>
                    <a:pt x="1084" y="120"/>
                  </a:lnTo>
                  <a:lnTo>
                    <a:pt x="1086" y="130"/>
                  </a:lnTo>
                  <a:lnTo>
                    <a:pt x="1086" y="132"/>
                  </a:lnTo>
                  <a:lnTo>
                    <a:pt x="1084" y="132"/>
                  </a:lnTo>
                  <a:lnTo>
                    <a:pt x="1080" y="132"/>
                  </a:lnTo>
                  <a:lnTo>
                    <a:pt x="1076" y="130"/>
                  </a:lnTo>
                  <a:lnTo>
                    <a:pt x="1068" y="122"/>
                  </a:lnTo>
                  <a:lnTo>
                    <a:pt x="1048" y="96"/>
                  </a:lnTo>
                  <a:lnTo>
                    <a:pt x="1036" y="82"/>
                  </a:lnTo>
                  <a:lnTo>
                    <a:pt x="1026" y="72"/>
                  </a:lnTo>
                  <a:lnTo>
                    <a:pt x="1020" y="68"/>
                  </a:lnTo>
                  <a:lnTo>
                    <a:pt x="1014" y="66"/>
                  </a:lnTo>
                  <a:lnTo>
                    <a:pt x="1008" y="64"/>
                  </a:lnTo>
                  <a:lnTo>
                    <a:pt x="1004" y="66"/>
                  </a:lnTo>
                  <a:lnTo>
                    <a:pt x="998" y="68"/>
                  </a:lnTo>
                  <a:lnTo>
                    <a:pt x="994" y="70"/>
                  </a:lnTo>
                  <a:lnTo>
                    <a:pt x="990" y="78"/>
                  </a:lnTo>
                  <a:lnTo>
                    <a:pt x="988" y="88"/>
                  </a:lnTo>
                  <a:lnTo>
                    <a:pt x="986" y="96"/>
                  </a:lnTo>
                  <a:lnTo>
                    <a:pt x="986" y="108"/>
                  </a:lnTo>
                  <a:lnTo>
                    <a:pt x="984" y="106"/>
                  </a:lnTo>
                  <a:lnTo>
                    <a:pt x="980" y="100"/>
                  </a:lnTo>
                  <a:lnTo>
                    <a:pt x="974" y="90"/>
                  </a:lnTo>
                  <a:lnTo>
                    <a:pt x="968" y="84"/>
                  </a:lnTo>
                  <a:lnTo>
                    <a:pt x="960" y="80"/>
                  </a:lnTo>
                  <a:lnTo>
                    <a:pt x="954" y="78"/>
                  </a:lnTo>
                  <a:lnTo>
                    <a:pt x="950" y="76"/>
                  </a:lnTo>
                  <a:lnTo>
                    <a:pt x="948" y="76"/>
                  </a:lnTo>
                  <a:lnTo>
                    <a:pt x="960" y="72"/>
                  </a:lnTo>
                  <a:lnTo>
                    <a:pt x="972" y="70"/>
                  </a:lnTo>
                  <a:lnTo>
                    <a:pt x="978" y="66"/>
                  </a:lnTo>
                  <a:lnTo>
                    <a:pt x="984" y="62"/>
                  </a:lnTo>
                  <a:lnTo>
                    <a:pt x="984" y="60"/>
                  </a:lnTo>
                  <a:lnTo>
                    <a:pt x="982" y="56"/>
                  </a:lnTo>
                  <a:lnTo>
                    <a:pt x="978" y="56"/>
                  </a:lnTo>
                  <a:lnTo>
                    <a:pt x="970" y="56"/>
                  </a:lnTo>
                  <a:lnTo>
                    <a:pt x="958" y="60"/>
                  </a:lnTo>
                  <a:lnTo>
                    <a:pt x="946" y="62"/>
                  </a:lnTo>
                  <a:lnTo>
                    <a:pt x="938" y="62"/>
                  </a:lnTo>
                  <a:lnTo>
                    <a:pt x="934" y="62"/>
                  </a:lnTo>
                  <a:lnTo>
                    <a:pt x="930" y="58"/>
                  </a:lnTo>
                  <a:lnTo>
                    <a:pt x="928" y="56"/>
                  </a:lnTo>
                  <a:lnTo>
                    <a:pt x="926" y="56"/>
                  </a:lnTo>
                  <a:lnTo>
                    <a:pt x="922" y="58"/>
                  </a:lnTo>
                  <a:lnTo>
                    <a:pt x="916" y="60"/>
                  </a:lnTo>
                  <a:lnTo>
                    <a:pt x="908" y="64"/>
                  </a:lnTo>
                  <a:lnTo>
                    <a:pt x="904" y="64"/>
                  </a:lnTo>
                  <a:lnTo>
                    <a:pt x="902" y="64"/>
                  </a:lnTo>
                  <a:lnTo>
                    <a:pt x="900" y="60"/>
                  </a:lnTo>
                  <a:lnTo>
                    <a:pt x="896" y="58"/>
                  </a:lnTo>
                  <a:lnTo>
                    <a:pt x="892" y="58"/>
                  </a:lnTo>
                  <a:lnTo>
                    <a:pt x="884" y="60"/>
                  </a:lnTo>
                  <a:lnTo>
                    <a:pt x="874" y="64"/>
                  </a:lnTo>
                  <a:lnTo>
                    <a:pt x="862" y="72"/>
                  </a:lnTo>
                  <a:lnTo>
                    <a:pt x="856" y="78"/>
                  </a:lnTo>
                  <a:lnTo>
                    <a:pt x="854" y="82"/>
                  </a:lnTo>
                  <a:lnTo>
                    <a:pt x="854" y="88"/>
                  </a:lnTo>
                  <a:lnTo>
                    <a:pt x="858" y="92"/>
                  </a:lnTo>
                  <a:lnTo>
                    <a:pt x="862" y="98"/>
                  </a:lnTo>
                  <a:lnTo>
                    <a:pt x="872" y="112"/>
                  </a:lnTo>
                  <a:lnTo>
                    <a:pt x="878" y="116"/>
                  </a:lnTo>
                  <a:lnTo>
                    <a:pt x="884" y="118"/>
                  </a:lnTo>
                  <a:lnTo>
                    <a:pt x="890" y="114"/>
                  </a:lnTo>
                  <a:lnTo>
                    <a:pt x="894" y="110"/>
                  </a:lnTo>
                  <a:lnTo>
                    <a:pt x="902" y="104"/>
                  </a:lnTo>
                  <a:lnTo>
                    <a:pt x="902" y="108"/>
                  </a:lnTo>
                  <a:close/>
                  <a:moveTo>
                    <a:pt x="1272" y="818"/>
                  </a:moveTo>
                  <a:lnTo>
                    <a:pt x="1272" y="818"/>
                  </a:lnTo>
                  <a:lnTo>
                    <a:pt x="1272" y="816"/>
                  </a:lnTo>
                  <a:lnTo>
                    <a:pt x="1270" y="814"/>
                  </a:lnTo>
                  <a:lnTo>
                    <a:pt x="1266" y="812"/>
                  </a:lnTo>
                  <a:lnTo>
                    <a:pt x="1264" y="814"/>
                  </a:lnTo>
                  <a:lnTo>
                    <a:pt x="1264" y="818"/>
                  </a:lnTo>
                  <a:lnTo>
                    <a:pt x="1264" y="820"/>
                  </a:lnTo>
                  <a:lnTo>
                    <a:pt x="1272" y="818"/>
                  </a:lnTo>
                  <a:close/>
                  <a:moveTo>
                    <a:pt x="1168" y="848"/>
                  </a:moveTo>
                  <a:lnTo>
                    <a:pt x="1168" y="848"/>
                  </a:lnTo>
                  <a:lnTo>
                    <a:pt x="1176" y="848"/>
                  </a:lnTo>
                  <a:lnTo>
                    <a:pt x="1180" y="848"/>
                  </a:lnTo>
                  <a:lnTo>
                    <a:pt x="1182" y="844"/>
                  </a:lnTo>
                  <a:lnTo>
                    <a:pt x="1184" y="840"/>
                  </a:lnTo>
                  <a:lnTo>
                    <a:pt x="1190" y="836"/>
                  </a:lnTo>
                  <a:lnTo>
                    <a:pt x="1192" y="834"/>
                  </a:lnTo>
                  <a:lnTo>
                    <a:pt x="1192" y="832"/>
                  </a:lnTo>
                  <a:lnTo>
                    <a:pt x="1192" y="830"/>
                  </a:lnTo>
                  <a:lnTo>
                    <a:pt x="1188" y="828"/>
                  </a:lnTo>
                  <a:lnTo>
                    <a:pt x="1182" y="826"/>
                  </a:lnTo>
                  <a:lnTo>
                    <a:pt x="1180" y="826"/>
                  </a:lnTo>
                  <a:lnTo>
                    <a:pt x="1180" y="828"/>
                  </a:lnTo>
                  <a:lnTo>
                    <a:pt x="1176" y="830"/>
                  </a:lnTo>
                  <a:lnTo>
                    <a:pt x="1174" y="830"/>
                  </a:lnTo>
                  <a:lnTo>
                    <a:pt x="1172" y="832"/>
                  </a:lnTo>
                  <a:lnTo>
                    <a:pt x="1170" y="832"/>
                  </a:lnTo>
                  <a:lnTo>
                    <a:pt x="1166" y="832"/>
                  </a:lnTo>
                  <a:lnTo>
                    <a:pt x="1164" y="832"/>
                  </a:lnTo>
                  <a:lnTo>
                    <a:pt x="1162" y="834"/>
                  </a:lnTo>
                  <a:lnTo>
                    <a:pt x="1162" y="838"/>
                  </a:lnTo>
                  <a:lnTo>
                    <a:pt x="1160" y="842"/>
                  </a:lnTo>
                  <a:lnTo>
                    <a:pt x="1156" y="842"/>
                  </a:lnTo>
                  <a:lnTo>
                    <a:pt x="1154" y="842"/>
                  </a:lnTo>
                  <a:lnTo>
                    <a:pt x="1152" y="844"/>
                  </a:lnTo>
                  <a:lnTo>
                    <a:pt x="1152" y="846"/>
                  </a:lnTo>
                  <a:lnTo>
                    <a:pt x="1154" y="848"/>
                  </a:lnTo>
                  <a:lnTo>
                    <a:pt x="1168" y="848"/>
                  </a:lnTo>
                  <a:close/>
                  <a:moveTo>
                    <a:pt x="1214" y="822"/>
                  </a:moveTo>
                  <a:lnTo>
                    <a:pt x="1214" y="822"/>
                  </a:lnTo>
                  <a:lnTo>
                    <a:pt x="1218" y="816"/>
                  </a:lnTo>
                  <a:lnTo>
                    <a:pt x="1218" y="814"/>
                  </a:lnTo>
                  <a:lnTo>
                    <a:pt x="1216" y="814"/>
                  </a:lnTo>
                  <a:lnTo>
                    <a:pt x="1212" y="812"/>
                  </a:lnTo>
                  <a:lnTo>
                    <a:pt x="1208" y="814"/>
                  </a:lnTo>
                  <a:lnTo>
                    <a:pt x="1206" y="814"/>
                  </a:lnTo>
                  <a:lnTo>
                    <a:pt x="1202" y="812"/>
                  </a:lnTo>
                  <a:lnTo>
                    <a:pt x="1198" y="810"/>
                  </a:lnTo>
                  <a:lnTo>
                    <a:pt x="1196" y="812"/>
                  </a:lnTo>
                  <a:lnTo>
                    <a:pt x="1192" y="814"/>
                  </a:lnTo>
                  <a:lnTo>
                    <a:pt x="1190" y="814"/>
                  </a:lnTo>
                  <a:lnTo>
                    <a:pt x="1188" y="814"/>
                  </a:lnTo>
                  <a:lnTo>
                    <a:pt x="1188" y="816"/>
                  </a:lnTo>
                  <a:lnTo>
                    <a:pt x="1184" y="820"/>
                  </a:lnTo>
                  <a:lnTo>
                    <a:pt x="1182" y="822"/>
                  </a:lnTo>
                  <a:lnTo>
                    <a:pt x="1184" y="824"/>
                  </a:lnTo>
                  <a:lnTo>
                    <a:pt x="1190" y="824"/>
                  </a:lnTo>
                  <a:lnTo>
                    <a:pt x="1196" y="828"/>
                  </a:lnTo>
                  <a:lnTo>
                    <a:pt x="1200" y="830"/>
                  </a:lnTo>
                  <a:lnTo>
                    <a:pt x="1204" y="830"/>
                  </a:lnTo>
                  <a:lnTo>
                    <a:pt x="1214" y="822"/>
                  </a:lnTo>
                  <a:close/>
                  <a:moveTo>
                    <a:pt x="1352" y="792"/>
                  </a:moveTo>
                  <a:lnTo>
                    <a:pt x="1352" y="792"/>
                  </a:lnTo>
                  <a:lnTo>
                    <a:pt x="1348" y="790"/>
                  </a:lnTo>
                  <a:lnTo>
                    <a:pt x="1344" y="788"/>
                  </a:lnTo>
                  <a:lnTo>
                    <a:pt x="1338" y="788"/>
                  </a:lnTo>
                  <a:lnTo>
                    <a:pt x="1330" y="790"/>
                  </a:lnTo>
                  <a:lnTo>
                    <a:pt x="1328" y="792"/>
                  </a:lnTo>
                  <a:lnTo>
                    <a:pt x="1330" y="794"/>
                  </a:lnTo>
                  <a:lnTo>
                    <a:pt x="1340" y="798"/>
                  </a:lnTo>
                  <a:lnTo>
                    <a:pt x="1350" y="796"/>
                  </a:lnTo>
                  <a:lnTo>
                    <a:pt x="1352" y="796"/>
                  </a:lnTo>
                  <a:lnTo>
                    <a:pt x="1352" y="792"/>
                  </a:lnTo>
                  <a:close/>
                  <a:moveTo>
                    <a:pt x="1326" y="780"/>
                  </a:moveTo>
                  <a:lnTo>
                    <a:pt x="1326" y="780"/>
                  </a:lnTo>
                  <a:lnTo>
                    <a:pt x="1330" y="778"/>
                  </a:lnTo>
                  <a:lnTo>
                    <a:pt x="1334" y="776"/>
                  </a:lnTo>
                  <a:lnTo>
                    <a:pt x="1338" y="776"/>
                  </a:lnTo>
                  <a:lnTo>
                    <a:pt x="1342" y="776"/>
                  </a:lnTo>
                  <a:lnTo>
                    <a:pt x="1346" y="778"/>
                  </a:lnTo>
                  <a:lnTo>
                    <a:pt x="1350" y="776"/>
                  </a:lnTo>
                  <a:lnTo>
                    <a:pt x="1364" y="766"/>
                  </a:lnTo>
                  <a:lnTo>
                    <a:pt x="1372" y="760"/>
                  </a:lnTo>
                  <a:lnTo>
                    <a:pt x="1372" y="758"/>
                  </a:lnTo>
                  <a:lnTo>
                    <a:pt x="1372" y="756"/>
                  </a:lnTo>
                  <a:lnTo>
                    <a:pt x="1368" y="756"/>
                  </a:lnTo>
                  <a:lnTo>
                    <a:pt x="1362" y="756"/>
                  </a:lnTo>
                  <a:lnTo>
                    <a:pt x="1356" y="758"/>
                  </a:lnTo>
                  <a:lnTo>
                    <a:pt x="1358" y="760"/>
                  </a:lnTo>
                  <a:lnTo>
                    <a:pt x="1358" y="762"/>
                  </a:lnTo>
                  <a:lnTo>
                    <a:pt x="1356" y="764"/>
                  </a:lnTo>
                  <a:lnTo>
                    <a:pt x="1350" y="762"/>
                  </a:lnTo>
                  <a:lnTo>
                    <a:pt x="1348" y="762"/>
                  </a:lnTo>
                  <a:lnTo>
                    <a:pt x="1346" y="762"/>
                  </a:lnTo>
                  <a:lnTo>
                    <a:pt x="1342" y="766"/>
                  </a:lnTo>
                  <a:lnTo>
                    <a:pt x="1342" y="770"/>
                  </a:lnTo>
                  <a:lnTo>
                    <a:pt x="1340" y="768"/>
                  </a:lnTo>
                  <a:lnTo>
                    <a:pt x="1338" y="766"/>
                  </a:lnTo>
                  <a:lnTo>
                    <a:pt x="1332" y="766"/>
                  </a:lnTo>
                  <a:lnTo>
                    <a:pt x="1318" y="770"/>
                  </a:lnTo>
                  <a:lnTo>
                    <a:pt x="1314" y="774"/>
                  </a:lnTo>
                  <a:lnTo>
                    <a:pt x="1318" y="776"/>
                  </a:lnTo>
                  <a:lnTo>
                    <a:pt x="1320" y="776"/>
                  </a:lnTo>
                  <a:lnTo>
                    <a:pt x="1322" y="778"/>
                  </a:lnTo>
                  <a:lnTo>
                    <a:pt x="1320" y="780"/>
                  </a:lnTo>
                  <a:lnTo>
                    <a:pt x="1326" y="780"/>
                  </a:lnTo>
                  <a:close/>
                  <a:moveTo>
                    <a:pt x="1414" y="220"/>
                  </a:moveTo>
                  <a:lnTo>
                    <a:pt x="1414" y="220"/>
                  </a:lnTo>
                  <a:lnTo>
                    <a:pt x="1408" y="216"/>
                  </a:lnTo>
                  <a:lnTo>
                    <a:pt x="1402" y="216"/>
                  </a:lnTo>
                  <a:lnTo>
                    <a:pt x="1392" y="218"/>
                  </a:lnTo>
                  <a:lnTo>
                    <a:pt x="1388" y="220"/>
                  </a:lnTo>
                  <a:lnTo>
                    <a:pt x="1382" y="220"/>
                  </a:lnTo>
                  <a:lnTo>
                    <a:pt x="1374" y="218"/>
                  </a:lnTo>
                  <a:lnTo>
                    <a:pt x="1364" y="214"/>
                  </a:lnTo>
                  <a:lnTo>
                    <a:pt x="1356" y="208"/>
                  </a:lnTo>
                  <a:lnTo>
                    <a:pt x="1354" y="204"/>
                  </a:lnTo>
                  <a:lnTo>
                    <a:pt x="1356" y="200"/>
                  </a:lnTo>
                  <a:lnTo>
                    <a:pt x="1360" y="198"/>
                  </a:lnTo>
                  <a:lnTo>
                    <a:pt x="1370" y="194"/>
                  </a:lnTo>
                  <a:lnTo>
                    <a:pt x="1370" y="192"/>
                  </a:lnTo>
                  <a:lnTo>
                    <a:pt x="1366" y="190"/>
                  </a:lnTo>
                  <a:lnTo>
                    <a:pt x="1354" y="188"/>
                  </a:lnTo>
                  <a:lnTo>
                    <a:pt x="1336" y="188"/>
                  </a:lnTo>
                  <a:lnTo>
                    <a:pt x="1316" y="188"/>
                  </a:lnTo>
                  <a:lnTo>
                    <a:pt x="1296" y="190"/>
                  </a:lnTo>
                  <a:lnTo>
                    <a:pt x="1280" y="194"/>
                  </a:lnTo>
                  <a:lnTo>
                    <a:pt x="1274" y="196"/>
                  </a:lnTo>
                  <a:lnTo>
                    <a:pt x="1270" y="198"/>
                  </a:lnTo>
                  <a:lnTo>
                    <a:pt x="1270" y="202"/>
                  </a:lnTo>
                  <a:lnTo>
                    <a:pt x="1272" y="204"/>
                  </a:lnTo>
                  <a:lnTo>
                    <a:pt x="1276" y="208"/>
                  </a:lnTo>
                  <a:lnTo>
                    <a:pt x="1286" y="212"/>
                  </a:lnTo>
                  <a:lnTo>
                    <a:pt x="1292" y="214"/>
                  </a:lnTo>
                  <a:lnTo>
                    <a:pt x="1292" y="216"/>
                  </a:lnTo>
                  <a:lnTo>
                    <a:pt x="1292" y="218"/>
                  </a:lnTo>
                  <a:lnTo>
                    <a:pt x="1286" y="224"/>
                  </a:lnTo>
                  <a:lnTo>
                    <a:pt x="1272" y="236"/>
                  </a:lnTo>
                  <a:lnTo>
                    <a:pt x="1264" y="242"/>
                  </a:lnTo>
                  <a:lnTo>
                    <a:pt x="1262" y="246"/>
                  </a:lnTo>
                  <a:lnTo>
                    <a:pt x="1264" y="248"/>
                  </a:lnTo>
                  <a:lnTo>
                    <a:pt x="1270" y="250"/>
                  </a:lnTo>
                  <a:lnTo>
                    <a:pt x="1288" y="250"/>
                  </a:lnTo>
                  <a:lnTo>
                    <a:pt x="1314" y="246"/>
                  </a:lnTo>
                  <a:lnTo>
                    <a:pt x="1324" y="248"/>
                  </a:lnTo>
                  <a:lnTo>
                    <a:pt x="1328" y="248"/>
                  </a:lnTo>
                  <a:lnTo>
                    <a:pt x="1328" y="250"/>
                  </a:lnTo>
                  <a:lnTo>
                    <a:pt x="1328" y="256"/>
                  </a:lnTo>
                  <a:lnTo>
                    <a:pt x="1328" y="260"/>
                  </a:lnTo>
                  <a:lnTo>
                    <a:pt x="1326" y="264"/>
                  </a:lnTo>
                  <a:lnTo>
                    <a:pt x="1326" y="266"/>
                  </a:lnTo>
                  <a:lnTo>
                    <a:pt x="1328" y="266"/>
                  </a:lnTo>
                  <a:lnTo>
                    <a:pt x="1336" y="266"/>
                  </a:lnTo>
                  <a:lnTo>
                    <a:pt x="1350" y="260"/>
                  </a:lnTo>
                  <a:lnTo>
                    <a:pt x="1376" y="250"/>
                  </a:lnTo>
                  <a:lnTo>
                    <a:pt x="1402" y="238"/>
                  </a:lnTo>
                  <a:lnTo>
                    <a:pt x="1412" y="234"/>
                  </a:lnTo>
                  <a:lnTo>
                    <a:pt x="1418" y="228"/>
                  </a:lnTo>
                  <a:lnTo>
                    <a:pt x="1420" y="226"/>
                  </a:lnTo>
                  <a:lnTo>
                    <a:pt x="1420" y="224"/>
                  </a:lnTo>
                  <a:lnTo>
                    <a:pt x="1418" y="222"/>
                  </a:lnTo>
                  <a:lnTo>
                    <a:pt x="1414" y="220"/>
                  </a:lnTo>
                  <a:close/>
                  <a:moveTo>
                    <a:pt x="1370" y="792"/>
                  </a:moveTo>
                  <a:lnTo>
                    <a:pt x="1370" y="792"/>
                  </a:lnTo>
                  <a:lnTo>
                    <a:pt x="1378" y="782"/>
                  </a:lnTo>
                  <a:lnTo>
                    <a:pt x="1380" y="776"/>
                  </a:lnTo>
                  <a:lnTo>
                    <a:pt x="1378" y="774"/>
                  </a:lnTo>
                  <a:lnTo>
                    <a:pt x="1376" y="772"/>
                  </a:lnTo>
                  <a:lnTo>
                    <a:pt x="1372" y="770"/>
                  </a:lnTo>
                  <a:lnTo>
                    <a:pt x="1370" y="774"/>
                  </a:lnTo>
                  <a:lnTo>
                    <a:pt x="1362" y="776"/>
                  </a:lnTo>
                  <a:lnTo>
                    <a:pt x="1354" y="780"/>
                  </a:lnTo>
                  <a:lnTo>
                    <a:pt x="1350" y="784"/>
                  </a:lnTo>
                  <a:lnTo>
                    <a:pt x="1350" y="786"/>
                  </a:lnTo>
                  <a:lnTo>
                    <a:pt x="1350" y="788"/>
                  </a:lnTo>
                  <a:lnTo>
                    <a:pt x="1356" y="792"/>
                  </a:lnTo>
                  <a:lnTo>
                    <a:pt x="1364" y="794"/>
                  </a:lnTo>
                  <a:lnTo>
                    <a:pt x="1366" y="794"/>
                  </a:lnTo>
                  <a:lnTo>
                    <a:pt x="1370" y="792"/>
                  </a:lnTo>
                  <a:close/>
                  <a:moveTo>
                    <a:pt x="1388" y="762"/>
                  </a:moveTo>
                  <a:lnTo>
                    <a:pt x="1388" y="762"/>
                  </a:lnTo>
                  <a:lnTo>
                    <a:pt x="1384" y="762"/>
                  </a:lnTo>
                  <a:lnTo>
                    <a:pt x="1380" y="764"/>
                  </a:lnTo>
                  <a:lnTo>
                    <a:pt x="1380" y="766"/>
                  </a:lnTo>
                  <a:lnTo>
                    <a:pt x="1380" y="770"/>
                  </a:lnTo>
                  <a:lnTo>
                    <a:pt x="1384" y="776"/>
                  </a:lnTo>
                  <a:lnTo>
                    <a:pt x="1386" y="778"/>
                  </a:lnTo>
                  <a:lnTo>
                    <a:pt x="1388" y="778"/>
                  </a:lnTo>
                  <a:lnTo>
                    <a:pt x="1394" y="776"/>
                  </a:lnTo>
                  <a:lnTo>
                    <a:pt x="1396" y="772"/>
                  </a:lnTo>
                  <a:lnTo>
                    <a:pt x="1396" y="770"/>
                  </a:lnTo>
                  <a:lnTo>
                    <a:pt x="1396" y="766"/>
                  </a:lnTo>
                  <a:lnTo>
                    <a:pt x="1392" y="764"/>
                  </a:lnTo>
                  <a:lnTo>
                    <a:pt x="1388" y="762"/>
                  </a:lnTo>
                  <a:close/>
                  <a:moveTo>
                    <a:pt x="1264" y="804"/>
                  </a:moveTo>
                  <a:lnTo>
                    <a:pt x="1264" y="804"/>
                  </a:lnTo>
                  <a:lnTo>
                    <a:pt x="1264" y="800"/>
                  </a:lnTo>
                  <a:lnTo>
                    <a:pt x="1262" y="798"/>
                  </a:lnTo>
                  <a:lnTo>
                    <a:pt x="1258" y="798"/>
                  </a:lnTo>
                  <a:lnTo>
                    <a:pt x="1252" y="802"/>
                  </a:lnTo>
                  <a:lnTo>
                    <a:pt x="1248" y="804"/>
                  </a:lnTo>
                  <a:lnTo>
                    <a:pt x="1248" y="808"/>
                  </a:lnTo>
                  <a:lnTo>
                    <a:pt x="1250" y="810"/>
                  </a:lnTo>
                  <a:lnTo>
                    <a:pt x="1254" y="812"/>
                  </a:lnTo>
                  <a:lnTo>
                    <a:pt x="1260" y="814"/>
                  </a:lnTo>
                  <a:lnTo>
                    <a:pt x="1262" y="812"/>
                  </a:lnTo>
                  <a:lnTo>
                    <a:pt x="1264" y="804"/>
                  </a:lnTo>
                  <a:close/>
                  <a:moveTo>
                    <a:pt x="1102" y="904"/>
                  </a:moveTo>
                  <a:lnTo>
                    <a:pt x="1102" y="904"/>
                  </a:lnTo>
                  <a:lnTo>
                    <a:pt x="1102" y="908"/>
                  </a:lnTo>
                  <a:lnTo>
                    <a:pt x="1104" y="908"/>
                  </a:lnTo>
                  <a:lnTo>
                    <a:pt x="1112" y="908"/>
                  </a:lnTo>
                  <a:lnTo>
                    <a:pt x="1114" y="906"/>
                  </a:lnTo>
                  <a:lnTo>
                    <a:pt x="1112" y="902"/>
                  </a:lnTo>
                  <a:lnTo>
                    <a:pt x="1106" y="902"/>
                  </a:lnTo>
                  <a:lnTo>
                    <a:pt x="1104" y="902"/>
                  </a:lnTo>
                  <a:lnTo>
                    <a:pt x="1102" y="904"/>
                  </a:lnTo>
                  <a:close/>
                  <a:moveTo>
                    <a:pt x="1116" y="898"/>
                  </a:moveTo>
                  <a:lnTo>
                    <a:pt x="1116" y="898"/>
                  </a:lnTo>
                  <a:lnTo>
                    <a:pt x="1120" y="900"/>
                  </a:lnTo>
                  <a:lnTo>
                    <a:pt x="1122" y="898"/>
                  </a:lnTo>
                  <a:lnTo>
                    <a:pt x="1124" y="896"/>
                  </a:lnTo>
                  <a:lnTo>
                    <a:pt x="1124" y="894"/>
                  </a:lnTo>
                  <a:lnTo>
                    <a:pt x="1120" y="892"/>
                  </a:lnTo>
                  <a:lnTo>
                    <a:pt x="1116" y="894"/>
                  </a:lnTo>
                  <a:lnTo>
                    <a:pt x="1114" y="896"/>
                  </a:lnTo>
                  <a:lnTo>
                    <a:pt x="1116" y="898"/>
                  </a:lnTo>
                  <a:close/>
                  <a:moveTo>
                    <a:pt x="1150" y="850"/>
                  </a:moveTo>
                  <a:lnTo>
                    <a:pt x="1150" y="850"/>
                  </a:lnTo>
                  <a:lnTo>
                    <a:pt x="1148" y="850"/>
                  </a:lnTo>
                  <a:lnTo>
                    <a:pt x="1148" y="848"/>
                  </a:lnTo>
                  <a:lnTo>
                    <a:pt x="1146" y="846"/>
                  </a:lnTo>
                  <a:lnTo>
                    <a:pt x="1144" y="846"/>
                  </a:lnTo>
                  <a:lnTo>
                    <a:pt x="1142" y="848"/>
                  </a:lnTo>
                  <a:lnTo>
                    <a:pt x="1140" y="846"/>
                  </a:lnTo>
                  <a:lnTo>
                    <a:pt x="1138" y="844"/>
                  </a:lnTo>
                  <a:lnTo>
                    <a:pt x="1136" y="846"/>
                  </a:lnTo>
                  <a:lnTo>
                    <a:pt x="1136" y="848"/>
                  </a:lnTo>
                  <a:lnTo>
                    <a:pt x="1132" y="848"/>
                  </a:lnTo>
                  <a:lnTo>
                    <a:pt x="1130" y="846"/>
                  </a:lnTo>
                  <a:lnTo>
                    <a:pt x="1130" y="850"/>
                  </a:lnTo>
                  <a:lnTo>
                    <a:pt x="1130" y="852"/>
                  </a:lnTo>
                  <a:lnTo>
                    <a:pt x="1128" y="850"/>
                  </a:lnTo>
                  <a:lnTo>
                    <a:pt x="1124" y="850"/>
                  </a:lnTo>
                  <a:lnTo>
                    <a:pt x="1120" y="850"/>
                  </a:lnTo>
                  <a:lnTo>
                    <a:pt x="1118" y="854"/>
                  </a:lnTo>
                  <a:lnTo>
                    <a:pt x="1120" y="856"/>
                  </a:lnTo>
                  <a:lnTo>
                    <a:pt x="1124" y="856"/>
                  </a:lnTo>
                  <a:lnTo>
                    <a:pt x="1124" y="858"/>
                  </a:lnTo>
                  <a:lnTo>
                    <a:pt x="1120" y="860"/>
                  </a:lnTo>
                  <a:lnTo>
                    <a:pt x="1114" y="860"/>
                  </a:lnTo>
                  <a:lnTo>
                    <a:pt x="1108" y="860"/>
                  </a:lnTo>
                  <a:lnTo>
                    <a:pt x="1108" y="862"/>
                  </a:lnTo>
                  <a:lnTo>
                    <a:pt x="1110" y="862"/>
                  </a:lnTo>
                  <a:lnTo>
                    <a:pt x="1110" y="864"/>
                  </a:lnTo>
                  <a:lnTo>
                    <a:pt x="1108" y="866"/>
                  </a:lnTo>
                  <a:lnTo>
                    <a:pt x="1106" y="866"/>
                  </a:lnTo>
                  <a:lnTo>
                    <a:pt x="1108" y="868"/>
                  </a:lnTo>
                  <a:lnTo>
                    <a:pt x="1110" y="870"/>
                  </a:lnTo>
                  <a:lnTo>
                    <a:pt x="1108" y="870"/>
                  </a:lnTo>
                  <a:lnTo>
                    <a:pt x="1108" y="872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8" y="878"/>
                  </a:lnTo>
                  <a:lnTo>
                    <a:pt x="1106" y="880"/>
                  </a:lnTo>
                  <a:lnTo>
                    <a:pt x="1104" y="882"/>
                  </a:lnTo>
                  <a:lnTo>
                    <a:pt x="1108" y="884"/>
                  </a:lnTo>
                  <a:lnTo>
                    <a:pt x="1114" y="884"/>
                  </a:lnTo>
                  <a:lnTo>
                    <a:pt x="1114" y="886"/>
                  </a:lnTo>
                  <a:lnTo>
                    <a:pt x="1114" y="888"/>
                  </a:lnTo>
                  <a:lnTo>
                    <a:pt x="1116" y="888"/>
                  </a:lnTo>
                  <a:lnTo>
                    <a:pt x="1120" y="884"/>
                  </a:lnTo>
                  <a:lnTo>
                    <a:pt x="1122" y="880"/>
                  </a:lnTo>
                  <a:lnTo>
                    <a:pt x="1126" y="876"/>
                  </a:lnTo>
                  <a:lnTo>
                    <a:pt x="1130" y="874"/>
                  </a:lnTo>
                  <a:lnTo>
                    <a:pt x="1132" y="876"/>
                  </a:lnTo>
                  <a:lnTo>
                    <a:pt x="1132" y="878"/>
                  </a:lnTo>
                  <a:lnTo>
                    <a:pt x="1134" y="878"/>
                  </a:lnTo>
                  <a:lnTo>
                    <a:pt x="1142" y="878"/>
                  </a:lnTo>
                  <a:lnTo>
                    <a:pt x="1146" y="876"/>
                  </a:lnTo>
                  <a:lnTo>
                    <a:pt x="1148" y="874"/>
                  </a:lnTo>
                  <a:lnTo>
                    <a:pt x="1146" y="870"/>
                  </a:lnTo>
                  <a:lnTo>
                    <a:pt x="1146" y="866"/>
                  </a:lnTo>
                  <a:lnTo>
                    <a:pt x="1148" y="864"/>
                  </a:lnTo>
                  <a:lnTo>
                    <a:pt x="1150" y="862"/>
                  </a:lnTo>
                  <a:lnTo>
                    <a:pt x="1150" y="860"/>
                  </a:lnTo>
                  <a:lnTo>
                    <a:pt x="1152" y="852"/>
                  </a:lnTo>
                  <a:lnTo>
                    <a:pt x="1152" y="850"/>
                  </a:lnTo>
                  <a:lnTo>
                    <a:pt x="1150" y="850"/>
                  </a:lnTo>
                  <a:close/>
                  <a:moveTo>
                    <a:pt x="1254" y="830"/>
                  </a:moveTo>
                  <a:lnTo>
                    <a:pt x="1254" y="830"/>
                  </a:lnTo>
                  <a:lnTo>
                    <a:pt x="1260" y="826"/>
                  </a:lnTo>
                  <a:lnTo>
                    <a:pt x="1262" y="824"/>
                  </a:lnTo>
                  <a:lnTo>
                    <a:pt x="1260" y="820"/>
                  </a:lnTo>
                  <a:lnTo>
                    <a:pt x="1258" y="822"/>
                  </a:lnTo>
                  <a:lnTo>
                    <a:pt x="1256" y="826"/>
                  </a:lnTo>
                  <a:lnTo>
                    <a:pt x="1254" y="830"/>
                  </a:lnTo>
                  <a:close/>
                  <a:moveTo>
                    <a:pt x="1226" y="818"/>
                  </a:moveTo>
                  <a:lnTo>
                    <a:pt x="1226" y="818"/>
                  </a:lnTo>
                  <a:lnTo>
                    <a:pt x="1222" y="818"/>
                  </a:lnTo>
                  <a:lnTo>
                    <a:pt x="1218" y="820"/>
                  </a:lnTo>
                  <a:lnTo>
                    <a:pt x="1214" y="826"/>
                  </a:lnTo>
                  <a:lnTo>
                    <a:pt x="1216" y="826"/>
                  </a:lnTo>
                  <a:lnTo>
                    <a:pt x="1220" y="824"/>
                  </a:lnTo>
                  <a:lnTo>
                    <a:pt x="1224" y="822"/>
                  </a:lnTo>
                  <a:lnTo>
                    <a:pt x="1226" y="818"/>
                  </a:lnTo>
                  <a:close/>
                  <a:moveTo>
                    <a:pt x="1074" y="928"/>
                  </a:moveTo>
                  <a:lnTo>
                    <a:pt x="1074" y="928"/>
                  </a:lnTo>
                  <a:lnTo>
                    <a:pt x="1074" y="930"/>
                  </a:lnTo>
                  <a:lnTo>
                    <a:pt x="1074" y="932"/>
                  </a:lnTo>
                  <a:lnTo>
                    <a:pt x="1078" y="932"/>
                  </a:lnTo>
                  <a:lnTo>
                    <a:pt x="1082" y="930"/>
                  </a:lnTo>
                  <a:lnTo>
                    <a:pt x="1084" y="926"/>
                  </a:lnTo>
                  <a:lnTo>
                    <a:pt x="1084" y="924"/>
                  </a:lnTo>
                  <a:lnTo>
                    <a:pt x="1080" y="924"/>
                  </a:lnTo>
                  <a:lnTo>
                    <a:pt x="1076" y="924"/>
                  </a:lnTo>
                  <a:lnTo>
                    <a:pt x="1074" y="928"/>
                  </a:lnTo>
                  <a:close/>
                  <a:moveTo>
                    <a:pt x="772" y="1274"/>
                  </a:moveTo>
                  <a:lnTo>
                    <a:pt x="772" y="1274"/>
                  </a:lnTo>
                  <a:lnTo>
                    <a:pt x="784" y="1270"/>
                  </a:lnTo>
                  <a:lnTo>
                    <a:pt x="788" y="1270"/>
                  </a:lnTo>
                  <a:lnTo>
                    <a:pt x="790" y="1268"/>
                  </a:lnTo>
                  <a:lnTo>
                    <a:pt x="790" y="1266"/>
                  </a:lnTo>
                  <a:lnTo>
                    <a:pt x="788" y="1264"/>
                  </a:lnTo>
                  <a:lnTo>
                    <a:pt x="786" y="1264"/>
                  </a:lnTo>
                  <a:lnTo>
                    <a:pt x="784" y="1262"/>
                  </a:lnTo>
                  <a:lnTo>
                    <a:pt x="784" y="1260"/>
                  </a:lnTo>
                  <a:lnTo>
                    <a:pt x="778" y="1262"/>
                  </a:lnTo>
                  <a:lnTo>
                    <a:pt x="768" y="1266"/>
                  </a:lnTo>
                  <a:lnTo>
                    <a:pt x="760" y="1268"/>
                  </a:lnTo>
                  <a:lnTo>
                    <a:pt x="758" y="1270"/>
                  </a:lnTo>
                  <a:lnTo>
                    <a:pt x="756" y="1274"/>
                  </a:lnTo>
                  <a:lnTo>
                    <a:pt x="758" y="1276"/>
                  </a:lnTo>
                  <a:lnTo>
                    <a:pt x="760" y="1276"/>
                  </a:lnTo>
                  <a:lnTo>
                    <a:pt x="772" y="1274"/>
                  </a:lnTo>
                  <a:close/>
                  <a:moveTo>
                    <a:pt x="776" y="1258"/>
                  </a:moveTo>
                  <a:lnTo>
                    <a:pt x="776" y="1258"/>
                  </a:lnTo>
                  <a:lnTo>
                    <a:pt x="780" y="1256"/>
                  </a:lnTo>
                  <a:lnTo>
                    <a:pt x="778" y="1252"/>
                  </a:lnTo>
                  <a:lnTo>
                    <a:pt x="776" y="1250"/>
                  </a:lnTo>
                  <a:lnTo>
                    <a:pt x="774" y="1252"/>
                  </a:lnTo>
                  <a:lnTo>
                    <a:pt x="772" y="1254"/>
                  </a:lnTo>
                  <a:lnTo>
                    <a:pt x="764" y="1256"/>
                  </a:lnTo>
                  <a:lnTo>
                    <a:pt x="760" y="1258"/>
                  </a:lnTo>
                  <a:lnTo>
                    <a:pt x="758" y="1258"/>
                  </a:lnTo>
                  <a:lnTo>
                    <a:pt x="758" y="1260"/>
                  </a:lnTo>
                  <a:lnTo>
                    <a:pt x="764" y="1260"/>
                  </a:lnTo>
                  <a:lnTo>
                    <a:pt x="776" y="1258"/>
                  </a:lnTo>
                  <a:close/>
                  <a:moveTo>
                    <a:pt x="892" y="180"/>
                  </a:moveTo>
                  <a:lnTo>
                    <a:pt x="892" y="180"/>
                  </a:lnTo>
                  <a:lnTo>
                    <a:pt x="904" y="186"/>
                  </a:lnTo>
                  <a:lnTo>
                    <a:pt x="912" y="188"/>
                  </a:lnTo>
                  <a:lnTo>
                    <a:pt x="912" y="186"/>
                  </a:lnTo>
                  <a:lnTo>
                    <a:pt x="910" y="182"/>
                  </a:lnTo>
                  <a:lnTo>
                    <a:pt x="906" y="176"/>
                  </a:lnTo>
                  <a:lnTo>
                    <a:pt x="900" y="170"/>
                  </a:lnTo>
                  <a:lnTo>
                    <a:pt x="894" y="164"/>
                  </a:lnTo>
                  <a:lnTo>
                    <a:pt x="888" y="164"/>
                  </a:lnTo>
                  <a:lnTo>
                    <a:pt x="882" y="162"/>
                  </a:lnTo>
                  <a:lnTo>
                    <a:pt x="878" y="158"/>
                  </a:lnTo>
                  <a:lnTo>
                    <a:pt x="870" y="144"/>
                  </a:lnTo>
                  <a:lnTo>
                    <a:pt x="866" y="138"/>
                  </a:lnTo>
                  <a:lnTo>
                    <a:pt x="860" y="134"/>
                  </a:lnTo>
                  <a:lnTo>
                    <a:pt x="856" y="132"/>
                  </a:lnTo>
                  <a:lnTo>
                    <a:pt x="850" y="132"/>
                  </a:lnTo>
                  <a:lnTo>
                    <a:pt x="846" y="136"/>
                  </a:lnTo>
                  <a:lnTo>
                    <a:pt x="846" y="142"/>
                  </a:lnTo>
                  <a:lnTo>
                    <a:pt x="860" y="164"/>
                  </a:lnTo>
                  <a:lnTo>
                    <a:pt x="866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2" y="172"/>
                  </a:lnTo>
                  <a:lnTo>
                    <a:pt x="876" y="172"/>
                  </a:lnTo>
                  <a:lnTo>
                    <a:pt x="884" y="174"/>
                  </a:lnTo>
                  <a:lnTo>
                    <a:pt x="892" y="180"/>
                  </a:lnTo>
                  <a:close/>
                  <a:moveTo>
                    <a:pt x="1006" y="948"/>
                  </a:moveTo>
                  <a:lnTo>
                    <a:pt x="1006" y="948"/>
                  </a:lnTo>
                  <a:lnTo>
                    <a:pt x="1016" y="944"/>
                  </a:lnTo>
                  <a:lnTo>
                    <a:pt x="1026" y="934"/>
                  </a:lnTo>
                  <a:lnTo>
                    <a:pt x="1030" y="932"/>
                  </a:lnTo>
                  <a:lnTo>
                    <a:pt x="1030" y="930"/>
                  </a:lnTo>
                  <a:lnTo>
                    <a:pt x="1026" y="930"/>
                  </a:lnTo>
                  <a:lnTo>
                    <a:pt x="1018" y="930"/>
                  </a:lnTo>
                  <a:lnTo>
                    <a:pt x="1008" y="932"/>
                  </a:lnTo>
                  <a:lnTo>
                    <a:pt x="1004" y="934"/>
                  </a:lnTo>
                  <a:lnTo>
                    <a:pt x="1006" y="936"/>
                  </a:lnTo>
                  <a:lnTo>
                    <a:pt x="1006" y="938"/>
                  </a:lnTo>
                  <a:lnTo>
                    <a:pt x="1002" y="938"/>
                  </a:lnTo>
                  <a:lnTo>
                    <a:pt x="998" y="938"/>
                  </a:lnTo>
                  <a:lnTo>
                    <a:pt x="998" y="940"/>
                  </a:lnTo>
                  <a:lnTo>
                    <a:pt x="1000" y="942"/>
                  </a:lnTo>
                  <a:lnTo>
                    <a:pt x="998" y="946"/>
                  </a:lnTo>
                  <a:lnTo>
                    <a:pt x="996" y="948"/>
                  </a:lnTo>
                  <a:lnTo>
                    <a:pt x="1000" y="948"/>
                  </a:lnTo>
                  <a:lnTo>
                    <a:pt x="1006" y="948"/>
                  </a:lnTo>
                  <a:close/>
                  <a:moveTo>
                    <a:pt x="1028" y="900"/>
                  </a:moveTo>
                  <a:lnTo>
                    <a:pt x="1028" y="900"/>
                  </a:lnTo>
                  <a:lnTo>
                    <a:pt x="1024" y="900"/>
                  </a:lnTo>
                  <a:lnTo>
                    <a:pt x="1022" y="902"/>
                  </a:lnTo>
                  <a:lnTo>
                    <a:pt x="1022" y="904"/>
                  </a:lnTo>
                  <a:lnTo>
                    <a:pt x="1018" y="906"/>
                  </a:lnTo>
                  <a:lnTo>
                    <a:pt x="1016" y="904"/>
                  </a:lnTo>
                  <a:lnTo>
                    <a:pt x="1014" y="902"/>
                  </a:lnTo>
                  <a:lnTo>
                    <a:pt x="1012" y="902"/>
                  </a:lnTo>
                  <a:lnTo>
                    <a:pt x="1010" y="904"/>
                  </a:lnTo>
                  <a:lnTo>
                    <a:pt x="1008" y="904"/>
                  </a:lnTo>
                  <a:lnTo>
                    <a:pt x="1006" y="904"/>
                  </a:lnTo>
                  <a:lnTo>
                    <a:pt x="1004" y="906"/>
                  </a:lnTo>
                  <a:lnTo>
                    <a:pt x="1004" y="910"/>
                  </a:lnTo>
                  <a:lnTo>
                    <a:pt x="1002" y="912"/>
                  </a:lnTo>
                  <a:lnTo>
                    <a:pt x="1002" y="914"/>
                  </a:lnTo>
                  <a:lnTo>
                    <a:pt x="1004" y="916"/>
                  </a:lnTo>
                  <a:lnTo>
                    <a:pt x="1008" y="918"/>
                  </a:lnTo>
                  <a:lnTo>
                    <a:pt x="1012" y="916"/>
                  </a:lnTo>
                  <a:lnTo>
                    <a:pt x="1016" y="914"/>
                  </a:lnTo>
                  <a:lnTo>
                    <a:pt x="1026" y="910"/>
                  </a:lnTo>
                  <a:lnTo>
                    <a:pt x="1030" y="910"/>
                  </a:lnTo>
                  <a:lnTo>
                    <a:pt x="1026" y="914"/>
                  </a:lnTo>
                  <a:lnTo>
                    <a:pt x="1020" y="918"/>
                  </a:lnTo>
                  <a:lnTo>
                    <a:pt x="1020" y="920"/>
                  </a:lnTo>
                  <a:lnTo>
                    <a:pt x="1030" y="918"/>
                  </a:lnTo>
                  <a:lnTo>
                    <a:pt x="1040" y="916"/>
                  </a:lnTo>
                  <a:lnTo>
                    <a:pt x="1042" y="914"/>
                  </a:lnTo>
                  <a:lnTo>
                    <a:pt x="1042" y="912"/>
                  </a:lnTo>
                  <a:lnTo>
                    <a:pt x="1042" y="910"/>
                  </a:lnTo>
                  <a:lnTo>
                    <a:pt x="1040" y="906"/>
                  </a:lnTo>
                  <a:lnTo>
                    <a:pt x="1040" y="904"/>
                  </a:lnTo>
                  <a:lnTo>
                    <a:pt x="1042" y="902"/>
                  </a:lnTo>
                  <a:lnTo>
                    <a:pt x="1042" y="900"/>
                  </a:lnTo>
                  <a:lnTo>
                    <a:pt x="1038" y="896"/>
                  </a:lnTo>
                  <a:lnTo>
                    <a:pt x="1034" y="890"/>
                  </a:lnTo>
                  <a:lnTo>
                    <a:pt x="1032" y="890"/>
                  </a:lnTo>
                  <a:lnTo>
                    <a:pt x="1030" y="890"/>
                  </a:lnTo>
                  <a:lnTo>
                    <a:pt x="1028" y="890"/>
                  </a:lnTo>
                  <a:lnTo>
                    <a:pt x="1028" y="892"/>
                  </a:lnTo>
                  <a:lnTo>
                    <a:pt x="1030" y="896"/>
                  </a:lnTo>
                  <a:lnTo>
                    <a:pt x="1032" y="900"/>
                  </a:lnTo>
                  <a:lnTo>
                    <a:pt x="1028" y="900"/>
                  </a:lnTo>
                  <a:close/>
                  <a:moveTo>
                    <a:pt x="996" y="942"/>
                  </a:moveTo>
                  <a:lnTo>
                    <a:pt x="996" y="942"/>
                  </a:lnTo>
                  <a:lnTo>
                    <a:pt x="996" y="940"/>
                  </a:lnTo>
                  <a:lnTo>
                    <a:pt x="994" y="938"/>
                  </a:lnTo>
                  <a:lnTo>
                    <a:pt x="990" y="938"/>
                  </a:lnTo>
                  <a:lnTo>
                    <a:pt x="988" y="938"/>
                  </a:lnTo>
                  <a:lnTo>
                    <a:pt x="990" y="940"/>
                  </a:lnTo>
                  <a:lnTo>
                    <a:pt x="992" y="942"/>
                  </a:lnTo>
                  <a:lnTo>
                    <a:pt x="994" y="942"/>
                  </a:lnTo>
                  <a:lnTo>
                    <a:pt x="996" y="942"/>
                  </a:lnTo>
                  <a:close/>
                  <a:moveTo>
                    <a:pt x="942" y="966"/>
                  </a:moveTo>
                  <a:lnTo>
                    <a:pt x="942" y="966"/>
                  </a:lnTo>
                  <a:lnTo>
                    <a:pt x="940" y="974"/>
                  </a:lnTo>
                  <a:lnTo>
                    <a:pt x="946" y="970"/>
                  </a:lnTo>
                  <a:lnTo>
                    <a:pt x="948" y="968"/>
                  </a:lnTo>
                  <a:lnTo>
                    <a:pt x="950" y="964"/>
                  </a:lnTo>
                  <a:lnTo>
                    <a:pt x="950" y="958"/>
                  </a:lnTo>
                  <a:lnTo>
                    <a:pt x="950" y="956"/>
                  </a:lnTo>
                  <a:lnTo>
                    <a:pt x="948" y="956"/>
                  </a:lnTo>
                  <a:lnTo>
                    <a:pt x="942" y="966"/>
                  </a:lnTo>
                  <a:close/>
                  <a:moveTo>
                    <a:pt x="970" y="956"/>
                  </a:moveTo>
                  <a:lnTo>
                    <a:pt x="970" y="956"/>
                  </a:lnTo>
                  <a:lnTo>
                    <a:pt x="972" y="956"/>
                  </a:lnTo>
                  <a:lnTo>
                    <a:pt x="974" y="956"/>
                  </a:lnTo>
                  <a:lnTo>
                    <a:pt x="976" y="956"/>
                  </a:lnTo>
                  <a:lnTo>
                    <a:pt x="978" y="954"/>
                  </a:lnTo>
                  <a:lnTo>
                    <a:pt x="982" y="952"/>
                  </a:lnTo>
                  <a:lnTo>
                    <a:pt x="984" y="950"/>
                  </a:lnTo>
                  <a:lnTo>
                    <a:pt x="988" y="946"/>
                  </a:lnTo>
                  <a:lnTo>
                    <a:pt x="992" y="946"/>
                  </a:lnTo>
                  <a:lnTo>
                    <a:pt x="990" y="944"/>
                  </a:lnTo>
                  <a:lnTo>
                    <a:pt x="980" y="942"/>
                  </a:lnTo>
                  <a:lnTo>
                    <a:pt x="976" y="940"/>
                  </a:lnTo>
                  <a:lnTo>
                    <a:pt x="972" y="942"/>
                  </a:lnTo>
                  <a:lnTo>
                    <a:pt x="970" y="944"/>
                  </a:lnTo>
                  <a:lnTo>
                    <a:pt x="966" y="948"/>
                  </a:lnTo>
                  <a:lnTo>
                    <a:pt x="966" y="952"/>
                  </a:lnTo>
                  <a:lnTo>
                    <a:pt x="966" y="954"/>
                  </a:lnTo>
                  <a:lnTo>
                    <a:pt x="964" y="956"/>
                  </a:lnTo>
                  <a:lnTo>
                    <a:pt x="966" y="958"/>
                  </a:lnTo>
                  <a:lnTo>
                    <a:pt x="968" y="958"/>
                  </a:lnTo>
                  <a:lnTo>
                    <a:pt x="970" y="956"/>
                  </a:lnTo>
                  <a:close/>
                  <a:moveTo>
                    <a:pt x="958" y="954"/>
                  </a:moveTo>
                  <a:lnTo>
                    <a:pt x="958" y="954"/>
                  </a:lnTo>
                  <a:lnTo>
                    <a:pt x="958" y="956"/>
                  </a:lnTo>
                  <a:lnTo>
                    <a:pt x="956" y="956"/>
                  </a:lnTo>
                  <a:lnTo>
                    <a:pt x="954" y="956"/>
                  </a:lnTo>
                  <a:lnTo>
                    <a:pt x="954" y="960"/>
                  </a:lnTo>
                  <a:lnTo>
                    <a:pt x="956" y="962"/>
                  </a:lnTo>
                  <a:lnTo>
                    <a:pt x="962" y="958"/>
                  </a:lnTo>
                  <a:lnTo>
                    <a:pt x="964" y="954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4"/>
                  </a:lnTo>
                  <a:close/>
                  <a:moveTo>
                    <a:pt x="1028" y="966"/>
                  </a:moveTo>
                  <a:lnTo>
                    <a:pt x="1028" y="966"/>
                  </a:lnTo>
                  <a:lnTo>
                    <a:pt x="1032" y="966"/>
                  </a:lnTo>
                  <a:lnTo>
                    <a:pt x="1034" y="964"/>
                  </a:lnTo>
                  <a:lnTo>
                    <a:pt x="1030" y="962"/>
                  </a:lnTo>
                  <a:lnTo>
                    <a:pt x="1028" y="962"/>
                  </a:lnTo>
                  <a:lnTo>
                    <a:pt x="1026" y="964"/>
                  </a:lnTo>
                  <a:lnTo>
                    <a:pt x="1026" y="966"/>
                  </a:lnTo>
                  <a:lnTo>
                    <a:pt x="1028" y="966"/>
                  </a:lnTo>
                  <a:close/>
                  <a:moveTo>
                    <a:pt x="1078" y="890"/>
                  </a:moveTo>
                  <a:lnTo>
                    <a:pt x="1078" y="890"/>
                  </a:lnTo>
                  <a:lnTo>
                    <a:pt x="1080" y="892"/>
                  </a:lnTo>
                  <a:lnTo>
                    <a:pt x="1082" y="894"/>
                  </a:lnTo>
                  <a:lnTo>
                    <a:pt x="1088" y="896"/>
                  </a:lnTo>
                  <a:lnTo>
                    <a:pt x="1092" y="896"/>
                  </a:lnTo>
                  <a:lnTo>
                    <a:pt x="1092" y="894"/>
                  </a:lnTo>
                  <a:lnTo>
                    <a:pt x="1088" y="892"/>
                  </a:lnTo>
                  <a:lnTo>
                    <a:pt x="1082" y="890"/>
                  </a:lnTo>
                  <a:lnTo>
                    <a:pt x="1078" y="890"/>
                  </a:lnTo>
                  <a:close/>
                  <a:moveTo>
                    <a:pt x="1054" y="890"/>
                  </a:moveTo>
                  <a:lnTo>
                    <a:pt x="1054" y="890"/>
                  </a:lnTo>
                  <a:lnTo>
                    <a:pt x="1060" y="890"/>
                  </a:lnTo>
                  <a:lnTo>
                    <a:pt x="1062" y="888"/>
                  </a:lnTo>
                  <a:lnTo>
                    <a:pt x="1068" y="878"/>
                  </a:lnTo>
                  <a:lnTo>
                    <a:pt x="1072" y="872"/>
                  </a:lnTo>
                  <a:lnTo>
                    <a:pt x="1074" y="868"/>
                  </a:lnTo>
                  <a:lnTo>
                    <a:pt x="1072" y="868"/>
                  </a:lnTo>
                  <a:lnTo>
                    <a:pt x="1066" y="870"/>
                  </a:lnTo>
                  <a:lnTo>
                    <a:pt x="1054" y="878"/>
                  </a:lnTo>
                  <a:lnTo>
                    <a:pt x="1050" y="882"/>
                  </a:lnTo>
                  <a:lnTo>
                    <a:pt x="1046" y="890"/>
                  </a:lnTo>
                  <a:lnTo>
                    <a:pt x="1044" y="894"/>
                  </a:lnTo>
                  <a:lnTo>
                    <a:pt x="1044" y="896"/>
                  </a:lnTo>
                  <a:lnTo>
                    <a:pt x="1046" y="898"/>
                  </a:lnTo>
                  <a:lnTo>
                    <a:pt x="1048" y="898"/>
                  </a:lnTo>
                  <a:lnTo>
                    <a:pt x="1048" y="894"/>
                  </a:lnTo>
                  <a:lnTo>
                    <a:pt x="1050" y="892"/>
                  </a:lnTo>
                  <a:lnTo>
                    <a:pt x="1054" y="890"/>
                  </a:lnTo>
                  <a:close/>
                  <a:moveTo>
                    <a:pt x="752" y="1276"/>
                  </a:moveTo>
                  <a:lnTo>
                    <a:pt x="752" y="1276"/>
                  </a:lnTo>
                  <a:lnTo>
                    <a:pt x="750" y="1274"/>
                  </a:lnTo>
                  <a:lnTo>
                    <a:pt x="742" y="1274"/>
                  </a:lnTo>
                  <a:lnTo>
                    <a:pt x="738" y="1276"/>
                  </a:lnTo>
                  <a:lnTo>
                    <a:pt x="736" y="1278"/>
                  </a:lnTo>
                  <a:lnTo>
                    <a:pt x="742" y="1282"/>
                  </a:lnTo>
                  <a:lnTo>
                    <a:pt x="748" y="1282"/>
                  </a:lnTo>
                  <a:lnTo>
                    <a:pt x="750" y="1278"/>
                  </a:lnTo>
                  <a:lnTo>
                    <a:pt x="752" y="1276"/>
                  </a:lnTo>
                  <a:close/>
                  <a:moveTo>
                    <a:pt x="1156" y="42"/>
                  </a:moveTo>
                  <a:lnTo>
                    <a:pt x="1156" y="42"/>
                  </a:lnTo>
                  <a:lnTo>
                    <a:pt x="1164" y="44"/>
                  </a:lnTo>
                  <a:lnTo>
                    <a:pt x="1166" y="46"/>
                  </a:lnTo>
                  <a:lnTo>
                    <a:pt x="1164" y="48"/>
                  </a:lnTo>
                  <a:lnTo>
                    <a:pt x="1162" y="48"/>
                  </a:lnTo>
                  <a:lnTo>
                    <a:pt x="1160" y="50"/>
                  </a:lnTo>
                  <a:lnTo>
                    <a:pt x="1162" y="52"/>
                  </a:lnTo>
                  <a:lnTo>
                    <a:pt x="1166" y="56"/>
                  </a:lnTo>
                  <a:lnTo>
                    <a:pt x="1176" y="62"/>
                  </a:lnTo>
                  <a:lnTo>
                    <a:pt x="1186" y="66"/>
                  </a:lnTo>
                  <a:lnTo>
                    <a:pt x="1194" y="68"/>
                  </a:lnTo>
                  <a:lnTo>
                    <a:pt x="1204" y="68"/>
                  </a:lnTo>
                  <a:lnTo>
                    <a:pt x="1214" y="66"/>
                  </a:lnTo>
                  <a:lnTo>
                    <a:pt x="1238" y="62"/>
                  </a:lnTo>
                  <a:lnTo>
                    <a:pt x="1252" y="60"/>
                  </a:lnTo>
                  <a:lnTo>
                    <a:pt x="1270" y="58"/>
                  </a:lnTo>
                  <a:lnTo>
                    <a:pt x="1296" y="58"/>
                  </a:lnTo>
                  <a:lnTo>
                    <a:pt x="1298" y="60"/>
                  </a:lnTo>
                  <a:lnTo>
                    <a:pt x="1294" y="62"/>
                  </a:lnTo>
                  <a:lnTo>
                    <a:pt x="1274" y="66"/>
                  </a:lnTo>
                  <a:lnTo>
                    <a:pt x="1236" y="74"/>
                  </a:lnTo>
                  <a:lnTo>
                    <a:pt x="1220" y="78"/>
                  </a:lnTo>
                  <a:lnTo>
                    <a:pt x="1216" y="80"/>
                  </a:lnTo>
                  <a:lnTo>
                    <a:pt x="1216" y="82"/>
                  </a:lnTo>
                  <a:lnTo>
                    <a:pt x="1216" y="84"/>
                  </a:lnTo>
                  <a:lnTo>
                    <a:pt x="1220" y="86"/>
                  </a:lnTo>
                  <a:lnTo>
                    <a:pt x="1232" y="88"/>
                  </a:lnTo>
                  <a:lnTo>
                    <a:pt x="1270" y="92"/>
                  </a:lnTo>
                  <a:lnTo>
                    <a:pt x="1308" y="94"/>
                  </a:lnTo>
                  <a:lnTo>
                    <a:pt x="1324" y="96"/>
                  </a:lnTo>
                  <a:lnTo>
                    <a:pt x="1336" y="100"/>
                  </a:lnTo>
                  <a:lnTo>
                    <a:pt x="1360" y="110"/>
                  </a:lnTo>
                  <a:lnTo>
                    <a:pt x="1370" y="114"/>
                  </a:lnTo>
                  <a:lnTo>
                    <a:pt x="1380" y="114"/>
                  </a:lnTo>
                  <a:lnTo>
                    <a:pt x="1390" y="112"/>
                  </a:lnTo>
                  <a:lnTo>
                    <a:pt x="1402" y="106"/>
                  </a:lnTo>
                  <a:lnTo>
                    <a:pt x="1412" y="98"/>
                  </a:lnTo>
                  <a:lnTo>
                    <a:pt x="1420" y="96"/>
                  </a:lnTo>
                  <a:lnTo>
                    <a:pt x="1424" y="94"/>
                  </a:lnTo>
                  <a:lnTo>
                    <a:pt x="1430" y="96"/>
                  </a:lnTo>
                  <a:lnTo>
                    <a:pt x="1438" y="98"/>
                  </a:lnTo>
                  <a:lnTo>
                    <a:pt x="1446" y="98"/>
                  </a:lnTo>
                  <a:lnTo>
                    <a:pt x="1456" y="96"/>
                  </a:lnTo>
                  <a:lnTo>
                    <a:pt x="1464" y="92"/>
                  </a:lnTo>
                  <a:lnTo>
                    <a:pt x="1468" y="88"/>
                  </a:lnTo>
                  <a:lnTo>
                    <a:pt x="1468" y="84"/>
                  </a:lnTo>
                  <a:lnTo>
                    <a:pt x="1468" y="80"/>
                  </a:lnTo>
                  <a:lnTo>
                    <a:pt x="1470" y="76"/>
                  </a:lnTo>
                  <a:lnTo>
                    <a:pt x="1476" y="72"/>
                  </a:lnTo>
                  <a:lnTo>
                    <a:pt x="1488" y="66"/>
                  </a:lnTo>
                  <a:lnTo>
                    <a:pt x="1506" y="58"/>
                  </a:lnTo>
                  <a:lnTo>
                    <a:pt x="1516" y="54"/>
                  </a:lnTo>
                  <a:lnTo>
                    <a:pt x="1522" y="48"/>
                  </a:lnTo>
                  <a:lnTo>
                    <a:pt x="1520" y="42"/>
                  </a:lnTo>
                  <a:lnTo>
                    <a:pt x="1516" y="38"/>
                  </a:lnTo>
                  <a:lnTo>
                    <a:pt x="1510" y="34"/>
                  </a:lnTo>
                  <a:lnTo>
                    <a:pt x="1502" y="30"/>
                  </a:lnTo>
                  <a:lnTo>
                    <a:pt x="1492" y="28"/>
                  </a:lnTo>
                  <a:lnTo>
                    <a:pt x="1484" y="28"/>
                  </a:lnTo>
                  <a:lnTo>
                    <a:pt x="1468" y="28"/>
                  </a:lnTo>
                  <a:lnTo>
                    <a:pt x="1450" y="24"/>
                  </a:lnTo>
                  <a:lnTo>
                    <a:pt x="1430" y="18"/>
                  </a:lnTo>
                  <a:lnTo>
                    <a:pt x="1406" y="14"/>
                  </a:lnTo>
                  <a:lnTo>
                    <a:pt x="1394" y="12"/>
                  </a:lnTo>
                  <a:lnTo>
                    <a:pt x="1388" y="14"/>
                  </a:lnTo>
                  <a:lnTo>
                    <a:pt x="1384" y="16"/>
                  </a:lnTo>
                  <a:lnTo>
                    <a:pt x="1382" y="20"/>
                  </a:lnTo>
                  <a:lnTo>
                    <a:pt x="1378" y="28"/>
                  </a:lnTo>
                  <a:lnTo>
                    <a:pt x="1374" y="30"/>
                  </a:lnTo>
                  <a:lnTo>
                    <a:pt x="1366" y="30"/>
                  </a:lnTo>
                  <a:lnTo>
                    <a:pt x="1360" y="28"/>
                  </a:lnTo>
                  <a:lnTo>
                    <a:pt x="1358" y="24"/>
                  </a:lnTo>
                  <a:lnTo>
                    <a:pt x="1358" y="20"/>
                  </a:lnTo>
                  <a:lnTo>
                    <a:pt x="1360" y="16"/>
                  </a:lnTo>
                  <a:lnTo>
                    <a:pt x="1362" y="10"/>
                  </a:lnTo>
                  <a:lnTo>
                    <a:pt x="1362" y="6"/>
                  </a:lnTo>
                  <a:lnTo>
                    <a:pt x="1360" y="4"/>
                  </a:lnTo>
                  <a:lnTo>
                    <a:pt x="1350" y="0"/>
                  </a:lnTo>
                  <a:lnTo>
                    <a:pt x="1344" y="0"/>
                  </a:lnTo>
                  <a:lnTo>
                    <a:pt x="1340" y="2"/>
                  </a:lnTo>
                  <a:lnTo>
                    <a:pt x="1334" y="4"/>
                  </a:lnTo>
                  <a:lnTo>
                    <a:pt x="1332" y="8"/>
                  </a:lnTo>
                  <a:lnTo>
                    <a:pt x="1328" y="14"/>
                  </a:lnTo>
                  <a:lnTo>
                    <a:pt x="1326" y="22"/>
                  </a:lnTo>
                  <a:lnTo>
                    <a:pt x="1324" y="36"/>
                  </a:lnTo>
                  <a:lnTo>
                    <a:pt x="1322" y="40"/>
                  </a:lnTo>
                  <a:lnTo>
                    <a:pt x="1320" y="40"/>
                  </a:lnTo>
                  <a:lnTo>
                    <a:pt x="1318" y="40"/>
                  </a:lnTo>
                  <a:lnTo>
                    <a:pt x="1314" y="36"/>
                  </a:lnTo>
                  <a:lnTo>
                    <a:pt x="1306" y="24"/>
                  </a:lnTo>
                  <a:lnTo>
                    <a:pt x="1300" y="20"/>
                  </a:lnTo>
                  <a:lnTo>
                    <a:pt x="1296" y="18"/>
                  </a:lnTo>
                  <a:lnTo>
                    <a:pt x="1292" y="18"/>
                  </a:lnTo>
                  <a:lnTo>
                    <a:pt x="1286" y="18"/>
                  </a:lnTo>
                  <a:lnTo>
                    <a:pt x="1278" y="20"/>
                  </a:lnTo>
                  <a:lnTo>
                    <a:pt x="1268" y="18"/>
                  </a:lnTo>
                  <a:lnTo>
                    <a:pt x="1252" y="16"/>
                  </a:lnTo>
                  <a:lnTo>
                    <a:pt x="1232" y="8"/>
                  </a:lnTo>
                  <a:lnTo>
                    <a:pt x="1216" y="2"/>
                  </a:lnTo>
                  <a:lnTo>
                    <a:pt x="1208" y="2"/>
                  </a:lnTo>
                  <a:lnTo>
                    <a:pt x="1208" y="4"/>
                  </a:lnTo>
                  <a:lnTo>
                    <a:pt x="1212" y="10"/>
                  </a:lnTo>
                  <a:lnTo>
                    <a:pt x="1216" y="16"/>
                  </a:lnTo>
                  <a:lnTo>
                    <a:pt x="1216" y="20"/>
                  </a:lnTo>
                  <a:lnTo>
                    <a:pt x="1216" y="22"/>
                  </a:lnTo>
                  <a:lnTo>
                    <a:pt x="1212" y="22"/>
                  </a:lnTo>
                  <a:lnTo>
                    <a:pt x="1200" y="16"/>
                  </a:lnTo>
                  <a:lnTo>
                    <a:pt x="1188" y="12"/>
                  </a:lnTo>
                  <a:lnTo>
                    <a:pt x="1182" y="12"/>
                  </a:lnTo>
                  <a:lnTo>
                    <a:pt x="1184" y="14"/>
                  </a:lnTo>
                  <a:lnTo>
                    <a:pt x="1188" y="18"/>
                  </a:lnTo>
                  <a:lnTo>
                    <a:pt x="1192" y="24"/>
                  </a:lnTo>
                  <a:lnTo>
                    <a:pt x="1194" y="28"/>
                  </a:lnTo>
                  <a:lnTo>
                    <a:pt x="1194" y="30"/>
                  </a:lnTo>
                  <a:lnTo>
                    <a:pt x="1190" y="30"/>
                  </a:lnTo>
                  <a:lnTo>
                    <a:pt x="1180" y="28"/>
                  </a:lnTo>
                  <a:lnTo>
                    <a:pt x="1166" y="26"/>
                  </a:lnTo>
                  <a:lnTo>
                    <a:pt x="1154" y="24"/>
                  </a:lnTo>
                  <a:lnTo>
                    <a:pt x="1148" y="24"/>
                  </a:lnTo>
                  <a:lnTo>
                    <a:pt x="1142" y="26"/>
                  </a:lnTo>
                  <a:lnTo>
                    <a:pt x="1142" y="30"/>
                  </a:lnTo>
                  <a:lnTo>
                    <a:pt x="1144" y="34"/>
                  </a:lnTo>
                  <a:lnTo>
                    <a:pt x="1148" y="38"/>
                  </a:lnTo>
                  <a:lnTo>
                    <a:pt x="1156" y="42"/>
                  </a:lnTo>
                  <a:close/>
                  <a:moveTo>
                    <a:pt x="388" y="1446"/>
                  </a:moveTo>
                  <a:lnTo>
                    <a:pt x="388" y="1446"/>
                  </a:lnTo>
                  <a:lnTo>
                    <a:pt x="384" y="1448"/>
                  </a:lnTo>
                  <a:lnTo>
                    <a:pt x="384" y="1450"/>
                  </a:lnTo>
                  <a:lnTo>
                    <a:pt x="384" y="1452"/>
                  </a:lnTo>
                  <a:lnTo>
                    <a:pt x="386" y="1456"/>
                  </a:lnTo>
                  <a:lnTo>
                    <a:pt x="388" y="1454"/>
                  </a:lnTo>
                  <a:lnTo>
                    <a:pt x="390" y="1452"/>
                  </a:lnTo>
                  <a:lnTo>
                    <a:pt x="390" y="1448"/>
                  </a:lnTo>
                  <a:lnTo>
                    <a:pt x="388" y="1446"/>
                  </a:lnTo>
                  <a:close/>
                  <a:moveTo>
                    <a:pt x="164" y="1358"/>
                  </a:moveTo>
                  <a:lnTo>
                    <a:pt x="164" y="1358"/>
                  </a:lnTo>
                  <a:lnTo>
                    <a:pt x="166" y="1356"/>
                  </a:lnTo>
                  <a:lnTo>
                    <a:pt x="168" y="1358"/>
                  </a:lnTo>
                  <a:lnTo>
                    <a:pt x="170" y="1356"/>
                  </a:lnTo>
                  <a:lnTo>
                    <a:pt x="172" y="1354"/>
                  </a:lnTo>
                  <a:lnTo>
                    <a:pt x="170" y="1354"/>
                  </a:lnTo>
                  <a:lnTo>
                    <a:pt x="168" y="1350"/>
                  </a:lnTo>
                  <a:lnTo>
                    <a:pt x="164" y="1346"/>
                  </a:lnTo>
                  <a:lnTo>
                    <a:pt x="164" y="1348"/>
                  </a:lnTo>
                  <a:lnTo>
                    <a:pt x="164" y="1350"/>
                  </a:lnTo>
                  <a:lnTo>
                    <a:pt x="164" y="1352"/>
                  </a:lnTo>
                  <a:lnTo>
                    <a:pt x="164" y="1354"/>
                  </a:lnTo>
                  <a:lnTo>
                    <a:pt x="164" y="1358"/>
                  </a:lnTo>
                  <a:close/>
                  <a:moveTo>
                    <a:pt x="148" y="1644"/>
                  </a:moveTo>
                  <a:lnTo>
                    <a:pt x="148" y="1644"/>
                  </a:lnTo>
                  <a:lnTo>
                    <a:pt x="150" y="1642"/>
                  </a:lnTo>
                  <a:lnTo>
                    <a:pt x="150" y="1640"/>
                  </a:lnTo>
                  <a:lnTo>
                    <a:pt x="152" y="1636"/>
                  </a:lnTo>
                  <a:lnTo>
                    <a:pt x="156" y="1634"/>
                  </a:lnTo>
                  <a:lnTo>
                    <a:pt x="160" y="1634"/>
                  </a:lnTo>
                  <a:lnTo>
                    <a:pt x="162" y="1634"/>
                  </a:lnTo>
                  <a:lnTo>
                    <a:pt x="162" y="1632"/>
                  </a:lnTo>
                  <a:lnTo>
                    <a:pt x="162" y="1630"/>
                  </a:lnTo>
                  <a:lnTo>
                    <a:pt x="164" y="1630"/>
                  </a:lnTo>
                  <a:lnTo>
                    <a:pt x="166" y="1628"/>
                  </a:lnTo>
                  <a:lnTo>
                    <a:pt x="166" y="1626"/>
                  </a:lnTo>
                  <a:lnTo>
                    <a:pt x="164" y="1624"/>
                  </a:lnTo>
                  <a:lnTo>
                    <a:pt x="166" y="1622"/>
                  </a:lnTo>
                  <a:lnTo>
                    <a:pt x="164" y="1620"/>
                  </a:lnTo>
                  <a:lnTo>
                    <a:pt x="166" y="1618"/>
                  </a:lnTo>
                  <a:lnTo>
                    <a:pt x="168" y="1618"/>
                  </a:lnTo>
                  <a:lnTo>
                    <a:pt x="170" y="1618"/>
                  </a:lnTo>
                  <a:lnTo>
                    <a:pt x="174" y="1616"/>
                  </a:lnTo>
                  <a:lnTo>
                    <a:pt x="176" y="1614"/>
                  </a:lnTo>
                  <a:lnTo>
                    <a:pt x="172" y="1614"/>
                  </a:lnTo>
                  <a:lnTo>
                    <a:pt x="168" y="1614"/>
                  </a:lnTo>
                  <a:lnTo>
                    <a:pt x="172" y="1610"/>
                  </a:lnTo>
                  <a:lnTo>
                    <a:pt x="174" y="1606"/>
                  </a:lnTo>
                  <a:lnTo>
                    <a:pt x="174" y="1600"/>
                  </a:lnTo>
                  <a:lnTo>
                    <a:pt x="172" y="1598"/>
                  </a:lnTo>
                  <a:lnTo>
                    <a:pt x="170" y="1598"/>
                  </a:lnTo>
                  <a:lnTo>
                    <a:pt x="164" y="1602"/>
                  </a:lnTo>
                  <a:lnTo>
                    <a:pt x="158" y="1606"/>
                  </a:lnTo>
                  <a:lnTo>
                    <a:pt x="150" y="1610"/>
                  </a:lnTo>
                  <a:lnTo>
                    <a:pt x="148" y="1612"/>
                  </a:lnTo>
                  <a:lnTo>
                    <a:pt x="148" y="1614"/>
                  </a:lnTo>
                  <a:lnTo>
                    <a:pt x="148" y="1616"/>
                  </a:lnTo>
                  <a:lnTo>
                    <a:pt x="148" y="1620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16"/>
                  </a:lnTo>
                  <a:lnTo>
                    <a:pt x="140" y="1616"/>
                  </a:lnTo>
                  <a:lnTo>
                    <a:pt x="136" y="1622"/>
                  </a:lnTo>
                  <a:lnTo>
                    <a:pt x="136" y="1624"/>
                  </a:lnTo>
                  <a:lnTo>
                    <a:pt x="138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44" y="1636"/>
                  </a:lnTo>
                  <a:lnTo>
                    <a:pt x="146" y="1636"/>
                  </a:lnTo>
                  <a:lnTo>
                    <a:pt x="142" y="1638"/>
                  </a:lnTo>
                  <a:lnTo>
                    <a:pt x="138" y="1642"/>
                  </a:lnTo>
                  <a:lnTo>
                    <a:pt x="136" y="1644"/>
                  </a:lnTo>
                  <a:lnTo>
                    <a:pt x="138" y="1646"/>
                  </a:lnTo>
                  <a:lnTo>
                    <a:pt x="140" y="1648"/>
                  </a:lnTo>
                  <a:lnTo>
                    <a:pt x="142" y="1648"/>
                  </a:lnTo>
                  <a:lnTo>
                    <a:pt x="144" y="1644"/>
                  </a:lnTo>
                  <a:lnTo>
                    <a:pt x="148" y="1644"/>
                  </a:lnTo>
                  <a:close/>
                  <a:moveTo>
                    <a:pt x="84" y="2020"/>
                  </a:moveTo>
                  <a:lnTo>
                    <a:pt x="84" y="2020"/>
                  </a:lnTo>
                  <a:lnTo>
                    <a:pt x="88" y="2008"/>
                  </a:lnTo>
                  <a:lnTo>
                    <a:pt x="90" y="2008"/>
                  </a:lnTo>
                  <a:lnTo>
                    <a:pt x="92" y="2012"/>
                  </a:lnTo>
                  <a:lnTo>
                    <a:pt x="94" y="2014"/>
                  </a:lnTo>
                  <a:lnTo>
                    <a:pt x="96" y="2014"/>
                  </a:lnTo>
                  <a:lnTo>
                    <a:pt x="106" y="2008"/>
                  </a:lnTo>
                  <a:lnTo>
                    <a:pt x="120" y="2000"/>
                  </a:lnTo>
                  <a:lnTo>
                    <a:pt x="126" y="1996"/>
                  </a:lnTo>
                  <a:lnTo>
                    <a:pt x="132" y="1994"/>
                  </a:lnTo>
                  <a:lnTo>
                    <a:pt x="142" y="1992"/>
                  </a:lnTo>
                  <a:lnTo>
                    <a:pt x="148" y="1990"/>
                  </a:lnTo>
                  <a:lnTo>
                    <a:pt x="152" y="1990"/>
                  </a:lnTo>
                  <a:lnTo>
                    <a:pt x="160" y="1990"/>
                  </a:lnTo>
                  <a:lnTo>
                    <a:pt x="166" y="1992"/>
                  </a:lnTo>
                  <a:lnTo>
                    <a:pt x="168" y="1988"/>
                  </a:lnTo>
                  <a:lnTo>
                    <a:pt x="168" y="1980"/>
                  </a:lnTo>
                  <a:lnTo>
                    <a:pt x="168" y="1974"/>
                  </a:lnTo>
                  <a:lnTo>
                    <a:pt x="172" y="1966"/>
                  </a:lnTo>
                  <a:lnTo>
                    <a:pt x="176" y="1958"/>
                  </a:lnTo>
                  <a:lnTo>
                    <a:pt x="178" y="1950"/>
                  </a:lnTo>
                  <a:lnTo>
                    <a:pt x="180" y="1934"/>
                  </a:lnTo>
                  <a:lnTo>
                    <a:pt x="178" y="1920"/>
                  </a:lnTo>
                  <a:lnTo>
                    <a:pt x="174" y="1906"/>
                  </a:lnTo>
                  <a:lnTo>
                    <a:pt x="168" y="1888"/>
                  </a:lnTo>
                  <a:lnTo>
                    <a:pt x="166" y="1884"/>
                  </a:lnTo>
                  <a:lnTo>
                    <a:pt x="170" y="1884"/>
                  </a:lnTo>
                  <a:lnTo>
                    <a:pt x="172" y="1882"/>
                  </a:lnTo>
                  <a:lnTo>
                    <a:pt x="172" y="1880"/>
                  </a:lnTo>
                  <a:lnTo>
                    <a:pt x="168" y="1874"/>
                  </a:lnTo>
                  <a:lnTo>
                    <a:pt x="172" y="1874"/>
                  </a:lnTo>
                  <a:lnTo>
                    <a:pt x="176" y="1876"/>
                  </a:lnTo>
                  <a:lnTo>
                    <a:pt x="178" y="1878"/>
                  </a:lnTo>
                  <a:lnTo>
                    <a:pt x="180" y="1878"/>
                  </a:lnTo>
                  <a:lnTo>
                    <a:pt x="186" y="1870"/>
                  </a:lnTo>
                  <a:lnTo>
                    <a:pt x="190" y="1866"/>
                  </a:lnTo>
                  <a:lnTo>
                    <a:pt x="194" y="1866"/>
                  </a:lnTo>
                  <a:lnTo>
                    <a:pt x="196" y="1864"/>
                  </a:lnTo>
                  <a:lnTo>
                    <a:pt x="198" y="1862"/>
                  </a:lnTo>
                  <a:lnTo>
                    <a:pt x="196" y="1858"/>
                  </a:lnTo>
                  <a:lnTo>
                    <a:pt x="194" y="1858"/>
                  </a:lnTo>
                  <a:lnTo>
                    <a:pt x="192" y="1858"/>
                  </a:lnTo>
                  <a:lnTo>
                    <a:pt x="194" y="1854"/>
                  </a:lnTo>
                  <a:lnTo>
                    <a:pt x="196" y="1850"/>
                  </a:lnTo>
                  <a:lnTo>
                    <a:pt x="196" y="1848"/>
                  </a:lnTo>
                  <a:lnTo>
                    <a:pt x="196" y="1850"/>
                  </a:lnTo>
                  <a:lnTo>
                    <a:pt x="200" y="1858"/>
                  </a:lnTo>
                  <a:lnTo>
                    <a:pt x="202" y="1858"/>
                  </a:lnTo>
                  <a:lnTo>
                    <a:pt x="204" y="1856"/>
                  </a:lnTo>
                  <a:lnTo>
                    <a:pt x="204" y="1850"/>
                  </a:lnTo>
                  <a:lnTo>
                    <a:pt x="202" y="1844"/>
                  </a:lnTo>
                  <a:lnTo>
                    <a:pt x="198" y="1840"/>
                  </a:lnTo>
                  <a:lnTo>
                    <a:pt x="196" y="1838"/>
                  </a:lnTo>
                  <a:lnTo>
                    <a:pt x="194" y="1838"/>
                  </a:lnTo>
                  <a:lnTo>
                    <a:pt x="186" y="1840"/>
                  </a:lnTo>
                  <a:lnTo>
                    <a:pt x="184" y="1840"/>
                  </a:lnTo>
                  <a:lnTo>
                    <a:pt x="186" y="1838"/>
                  </a:lnTo>
                  <a:lnTo>
                    <a:pt x="192" y="1834"/>
                  </a:lnTo>
                  <a:lnTo>
                    <a:pt x="194" y="1832"/>
                  </a:lnTo>
                  <a:lnTo>
                    <a:pt x="192" y="1828"/>
                  </a:lnTo>
                  <a:lnTo>
                    <a:pt x="190" y="1828"/>
                  </a:lnTo>
                  <a:lnTo>
                    <a:pt x="186" y="1826"/>
                  </a:lnTo>
                  <a:lnTo>
                    <a:pt x="182" y="1820"/>
                  </a:lnTo>
                  <a:lnTo>
                    <a:pt x="176" y="1808"/>
                  </a:lnTo>
                  <a:lnTo>
                    <a:pt x="174" y="1806"/>
                  </a:lnTo>
                  <a:lnTo>
                    <a:pt x="172" y="1804"/>
                  </a:lnTo>
                  <a:lnTo>
                    <a:pt x="164" y="1806"/>
                  </a:lnTo>
                  <a:lnTo>
                    <a:pt x="156" y="1808"/>
                  </a:lnTo>
                  <a:lnTo>
                    <a:pt x="148" y="1808"/>
                  </a:lnTo>
                  <a:lnTo>
                    <a:pt x="142" y="1810"/>
                  </a:lnTo>
                  <a:lnTo>
                    <a:pt x="140" y="1812"/>
                  </a:lnTo>
                  <a:lnTo>
                    <a:pt x="138" y="1814"/>
                  </a:lnTo>
                  <a:lnTo>
                    <a:pt x="130" y="1816"/>
                  </a:lnTo>
                  <a:lnTo>
                    <a:pt x="126" y="1818"/>
                  </a:lnTo>
                  <a:lnTo>
                    <a:pt x="124" y="1822"/>
                  </a:lnTo>
                  <a:lnTo>
                    <a:pt x="122" y="1828"/>
                  </a:lnTo>
                  <a:lnTo>
                    <a:pt x="120" y="1834"/>
                  </a:lnTo>
                  <a:lnTo>
                    <a:pt x="116" y="1836"/>
                  </a:lnTo>
                  <a:lnTo>
                    <a:pt x="112" y="1836"/>
                  </a:lnTo>
                  <a:lnTo>
                    <a:pt x="116" y="1836"/>
                  </a:lnTo>
                  <a:lnTo>
                    <a:pt x="120" y="1832"/>
                  </a:lnTo>
                  <a:lnTo>
                    <a:pt x="122" y="1826"/>
                  </a:lnTo>
                  <a:lnTo>
                    <a:pt x="124" y="1818"/>
                  </a:lnTo>
                  <a:lnTo>
                    <a:pt x="128" y="1816"/>
                  </a:lnTo>
                  <a:lnTo>
                    <a:pt x="132" y="1814"/>
                  </a:lnTo>
                  <a:lnTo>
                    <a:pt x="132" y="1810"/>
                  </a:lnTo>
                  <a:lnTo>
                    <a:pt x="134" y="1808"/>
                  </a:lnTo>
                  <a:lnTo>
                    <a:pt x="138" y="1806"/>
                  </a:lnTo>
                  <a:lnTo>
                    <a:pt x="140" y="1804"/>
                  </a:lnTo>
                  <a:lnTo>
                    <a:pt x="134" y="1798"/>
                  </a:lnTo>
                  <a:lnTo>
                    <a:pt x="130" y="1796"/>
                  </a:lnTo>
                  <a:lnTo>
                    <a:pt x="126" y="1796"/>
                  </a:lnTo>
                  <a:lnTo>
                    <a:pt x="124" y="1798"/>
                  </a:lnTo>
                  <a:lnTo>
                    <a:pt x="122" y="1800"/>
                  </a:lnTo>
                  <a:lnTo>
                    <a:pt x="118" y="1804"/>
                  </a:lnTo>
                  <a:lnTo>
                    <a:pt x="116" y="1804"/>
                  </a:lnTo>
                  <a:lnTo>
                    <a:pt x="112" y="1804"/>
                  </a:lnTo>
                  <a:lnTo>
                    <a:pt x="104" y="1806"/>
                  </a:lnTo>
                  <a:lnTo>
                    <a:pt x="94" y="1810"/>
                  </a:lnTo>
                  <a:lnTo>
                    <a:pt x="86" y="1816"/>
                  </a:lnTo>
                  <a:lnTo>
                    <a:pt x="84" y="1820"/>
                  </a:lnTo>
                  <a:lnTo>
                    <a:pt x="84" y="1824"/>
                  </a:lnTo>
                  <a:lnTo>
                    <a:pt x="84" y="1828"/>
                  </a:lnTo>
                  <a:lnTo>
                    <a:pt x="82" y="1830"/>
                  </a:lnTo>
                  <a:lnTo>
                    <a:pt x="76" y="1834"/>
                  </a:lnTo>
                  <a:lnTo>
                    <a:pt x="70" y="1836"/>
                  </a:lnTo>
                  <a:lnTo>
                    <a:pt x="68" y="1838"/>
                  </a:lnTo>
                  <a:lnTo>
                    <a:pt x="68" y="1840"/>
                  </a:lnTo>
                  <a:lnTo>
                    <a:pt x="70" y="1842"/>
                  </a:lnTo>
                  <a:lnTo>
                    <a:pt x="76" y="1842"/>
                  </a:lnTo>
                  <a:lnTo>
                    <a:pt x="86" y="1842"/>
                  </a:lnTo>
                  <a:lnTo>
                    <a:pt x="94" y="1844"/>
                  </a:lnTo>
                  <a:lnTo>
                    <a:pt x="94" y="1846"/>
                  </a:lnTo>
                  <a:lnTo>
                    <a:pt x="90" y="1848"/>
                  </a:lnTo>
                  <a:lnTo>
                    <a:pt x="82" y="1856"/>
                  </a:lnTo>
                  <a:lnTo>
                    <a:pt x="78" y="1862"/>
                  </a:lnTo>
                  <a:lnTo>
                    <a:pt x="74" y="1866"/>
                  </a:lnTo>
                  <a:lnTo>
                    <a:pt x="70" y="1866"/>
                  </a:lnTo>
                  <a:lnTo>
                    <a:pt x="62" y="1864"/>
                  </a:lnTo>
                  <a:lnTo>
                    <a:pt x="58" y="1866"/>
                  </a:lnTo>
                  <a:lnTo>
                    <a:pt x="54" y="1866"/>
                  </a:lnTo>
                  <a:lnTo>
                    <a:pt x="48" y="1864"/>
                  </a:lnTo>
                  <a:lnTo>
                    <a:pt x="40" y="1860"/>
                  </a:lnTo>
                  <a:lnTo>
                    <a:pt x="30" y="1860"/>
                  </a:lnTo>
                  <a:lnTo>
                    <a:pt x="22" y="1862"/>
                  </a:lnTo>
                  <a:lnTo>
                    <a:pt x="14" y="1868"/>
                  </a:lnTo>
                  <a:lnTo>
                    <a:pt x="14" y="1870"/>
                  </a:lnTo>
                  <a:lnTo>
                    <a:pt x="18" y="1870"/>
                  </a:lnTo>
                  <a:lnTo>
                    <a:pt x="20" y="1870"/>
                  </a:lnTo>
                  <a:lnTo>
                    <a:pt x="20" y="1872"/>
                  </a:lnTo>
                  <a:lnTo>
                    <a:pt x="20" y="1874"/>
                  </a:lnTo>
                  <a:lnTo>
                    <a:pt x="18" y="1878"/>
                  </a:lnTo>
                  <a:lnTo>
                    <a:pt x="16" y="1884"/>
                  </a:lnTo>
                  <a:lnTo>
                    <a:pt x="18" y="1886"/>
                  </a:lnTo>
                  <a:lnTo>
                    <a:pt x="22" y="1888"/>
                  </a:lnTo>
                  <a:lnTo>
                    <a:pt x="28" y="1888"/>
                  </a:lnTo>
                  <a:lnTo>
                    <a:pt x="38" y="1888"/>
                  </a:lnTo>
                  <a:lnTo>
                    <a:pt x="38" y="1890"/>
                  </a:lnTo>
                  <a:lnTo>
                    <a:pt x="34" y="1892"/>
                  </a:lnTo>
                  <a:lnTo>
                    <a:pt x="24" y="1898"/>
                  </a:lnTo>
                  <a:lnTo>
                    <a:pt x="22" y="1900"/>
                  </a:lnTo>
                  <a:lnTo>
                    <a:pt x="20" y="1904"/>
                  </a:lnTo>
                  <a:lnTo>
                    <a:pt x="16" y="1908"/>
                  </a:lnTo>
                  <a:lnTo>
                    <a:pt x="14" y="1912"/>
                  </a:lnTo>
                  <a:lnTo>
                    <a:pt x="16" y="1914"/>
                  </a:lnTo>
                  <a:lnTo>
                    <a:pt x="24" y="1922"/>
                  </a:lnTo>
                  <a:lnTo>
                    <a:pt x="36" y="1928"/>
                  </a:lnTo>
                  <a:lnTo>
                    <a:pt x="40" y="1928"/>
                  </a:lnTo>
                  <a:lnTo>
                    <a:pt x="44" y="1928"/>
                  </a:lnTo>
                  <a:lnTo>
                    <a:pt x="52" y="1926"/>
                  </a:lnTo>
                  <a:lnTo>
                    <a:pt x="58" y="1928"/>
                  </a:lnTo>
                  <a:lnTo>
                    <a:pt x="60" y="1928"/>
                  </a:lnTo>
                  <a:lnTo>
                    <a:pt x="60" y="1930"/>
                  </a:lnTo>
                  <a:lnTo>
                    <a:pt x="50" y="1934"/>
                  </a:lnTo>
                  <a:lnTo>
                    <a:pt x="44" y="1936"/>
                  </a:lnTo>
                  <a:lnTo>
                    <a:pt x="42" y="1938"/>
                  </a:lnTo>
                  <a:lnTo>
                    <a:pt x="42" y="1940"/>
                  </a:lnTo>
                  <a:lnTo>
                    <a:pt x="42" y="1944"/>
                  </a:lnTo>
                  <a:lnTo>
                    <a:pt x="42" y="1948"/>
                  </a:lnTo>
                  <a:lnTo>
                    <a:pt x="40" y="1952"/>
                  </a:lnTo>
                  <a:lnTo>
                    <a:pt x="36" y="1956"/>
                  </a:lnTo>
                  <a:lnTo>
                    <a:pt x="28" y="1962"/>
                  </a:lnTo>
                  <a:lnTo>
                    <a:pt x="22" y="1966"/>
                  </a:lnTo>
                  <a:lnTo>
                    <a:pt x="22" y="1968"/>
                  </a:lnTo>
                  <a:lnTo>
                    <a:pt x="26" y="1968"/>
                  </a:lnTo>
                  <a:lnTo>
                    <a:pt x="30" y="1968"/>
                  </a:lnTo>
                  <a:lnTo>
                    <a:pt x="58" y="1960"/>
                  </a:lnTo>
                  <a:lnTo>
                    <a:pt x="64" y="1960"/>
                  </a:lnTo>
                  <a:lnTo>
                    <a:pt x="66" y="1960"/>
                  </a:lnTo>
                  <a:lnTo>
                    <a:pt x="66" y="1962"/>
                  </a:lnTo>
                  <a:lnTo>
                    <a:pt x="66" y="1964"/>
                  </a:lnTo>
                  <a:lnTo>
                    <a:pt x="62" y="1966"/>
                  </a:lnTo>
                  <a:lnTo>
                    <a:pt x="50" y="1968"/>
                  </a:lnTo>
                  <a:lnTo>
                    <a:pt x="36" y="1970"/>
                  </a:lnTo>
                  <a:lnTo>
                    <a:pt x="28" y="1974"/>
                  </a:lnTo>
                  <a:lnTo>
                    <a:pt x="24" y="1978"/>
                  </a:lnTo>
                  <a:lnTo>
                    <a:pt x="26" y="1982"/>
                  </a:lnTo>
                  <a:lnTo>
                    <a:pt x="28" y="1984"/>
                  </a:lnTo>
                  <a:lnTo>
                    <a:pt x="26" y="1986"/>
                  </a:lnTo>
                  <a:lnTo>
                    <a:pt x="22" y="1984"/>
                  </a:lnTo>
                  <a:lnTo>
                    <a:pt x="14" y="1984"/>
                  </a:lnTo>
                  <a:lnTo>
                    <a:pt x="10" y="1986"/>
                  </a:lnTo>
                  <a:lnTo>
                    <a:pt x="4" y="1988"/>
                  </a:lnTo>
                  <a:lnTo>
                    <a:pt x="0" y="1994"/>
                  </a:lnTo>
                  <a:lnTo>
                    <a:pt x="0" y="1996"/>
                  </a:lnTo>
                  <a:lnTo>
                    <a:pt x="2" y="1996"/>
                  </a:lnTo>
                  <a:lnTo>
                    <a:pt x="6" y="1996"/>
                  </a:lnTo>
                  <a:lnTo>
                    <a:pt x="10" y="1996"/>
                  </a:lnTo>
                  <a:lnTo>
                    <a:pt x="14" y="1996"/>
                  </a:lnTo>
                  <a:lnTo>
                    <a:pt x="14" y="2000"/>
                  </a:lnTo>
                  <a:lnTo>
                    <a:pt x="10" y="2004"/>
                  </a:lnTo>
                  <a:lnTo>
                    <a:pt x="6" y="2010"/>
                  </a:lnTo>
                  <a:lnTo>
                    <a:pt x="4" y="2012"/>
                  </a:lnTo>
                  <a:lnTo>
                    <a:pt x="8" y="2014"/>
                  </a:lnTo>
                  <a:lnTo>
                    <a:pt x="12" y="2016"/>
                  </a:lnTo>
                  <a:lnTo>
                    <a:pt x="18" y="2018"/>
                  </a:lnTo>
                  <a:lnTo>
                    <a:pt x="20" y="2020"/>
                  </a:lnTo>
                  <a:lnTo>
                    <a:pt x="16" y="2024"/>
                  </a:lnTo>
                  <a:lnTo>
                    <a:pt x="14" y="2026"/>
                  </a:lnTo>
                  <a:lnTo>
                    <a:pt x="16" y="2026"/>
                  </a:lnTo>
                  <a:lnTo>
                    <a:pt x="28" y="2022"/>
                  </a:lnTo>
                  <a:lnTo>
                    <a:pt x="36" y="2020"/>
                  </a:lnTo>
                  <a:lnTo>
                    <a:pt x="36" y="2022"/>
                  </a:lnTo>
                  <a:lnTo>
                    <a:pt x="30" y="2026"/>
                  </a:lnTo>
                  <a:lnTo>
                    <a:pt x="28" y="2030"/>
                  </a:lnTo>
                  <a:lnTo>
                    <a:pt x="28" y="2032"/>
                  </a:lnTo>
                  <a:lnTo>
                    <a:pt x="30" y="2034"/>
                  </a:lnTo>
                  <a:lnTo>
                    <a:pt x="38" y="2034"/>
                  </a:lnTo>
                  <a:lnTo>
                    <a:pt x="48" y="2032"/>
                  </a:lnTo>
                  <a:lnTo>
                    <a:pt x="70" y="2028"/>
                  </a:lnTo>
                  <a:lnTo>
                    <a:pt x="78" y="2024"/>
                  </a:lnTo>
                  <a:lnTo>
                    <a:pt x="84" y="2020"/>
                  </a:lnTo>
                  <a:close/>
                  <a:moveTo>
                    <a:pt x="154" y="1672"/>
                  </a:moveTo>
                  <a:lnTo>
                    <a:pt x="154" y="1672"/>
                  </a:lnTo>
                  <a:lnTo>
                    <a:pt x="156" y="1672"/>
                  </a:lnTo>
                  <a:lnTo>
                    <a:pt x="158" y="1670"/>
                  </a:lnTo>
                  <a:lnTo>
                    <a:pt x="162" y="1672"/>
                  </a:lnTo>
                  <a:lnTo>
                    <a:pt x="162" y="1674"/>
                  </a:lnTo>
                  <a:lnTo>
                    <a:pt x="162" y="1676"/>
                  </a:lnTo>
                  <a:lnTo>
                    <a:pt x="162" y="1678"/>
                  </a:lnTo>
                  <a:lnTo>
                    <a:pt x="164" y="1682"/>
                  </a:lnTo>
                  <a:lnTo>
                    <a:pt x="168" y="1684"/>
                  </a:lnTo>
                  <a:lnTo>
                    <a:pt x="170" y="1684"/>
                  </a:lnTo>
                  <a:lnTo>
                    <a:pt x="174" y="1682"/>
                  </a:lnTo>
                  <a:lnTo>
                    <a:pt x="180" y="1682"/>
                  </a:lnTo>
                  <a:lnTo>
                    <a:pt x="182" y="1684"/>
                  </a:lnTo>
                  <a:lnTo>
                    <a:pt x="182" y="1688"/>
                  </a:lnTo>
                  <a:lnTo>
                    <a:pt x="180" y="1692"/>
                  </a:lnTo>
                  <a:lnTo>
                    <a:pt x="180" y="1694"/>
                  </a:lnTo>
                  <a:lnTo>
                    <a:pt x="182" y="1692"/>
                  </a:lnTo>
                  <a:lnTo>
                    <a:pt x="186" y="1688"/>
                  </a:lnTo>
                  <a:lnTo>
                    <a:pt x="192" y="1678"/>
                  </a:lnTo>
                  <a:lnTo>
                    <a:pt x="192" y="1676"/>
                  </a:lnTo>
                  <a:lnTo>
                    <a:pt x="190" y="1676"/>
                  </a:lnTo>
                  <a:lnTo>
                    <a:pt x="184" y="1678"/>
                  </a:lnTo>
                  <a:lnTo>
                    <a:pt x="180" y="1676"/>
                  </a:lnTo>
                  <a:lnTo>
                    <a:pt x="178" y="1674"/>
                  </a:lnTo>
                  <a:lnTo>
                    <a:pt x="176" y="1672"/>
                  </a:lnTo>
                  <a:lnTo>
                    <a:pt x="174" y="1662"/>
                  </a:lnTo>
                  <a:lnTo>
                    <a:pt x="172" y="1654"/>
                  </a:lnTo>
                  <a:lnTo>
                    <a:pt x="170" y="1652"/>
                  </a:lnTo>
                  <a:lnTo>
                    <a:pt x="168" y="1650"/>
                  </a:lnTo>
                  <a:lnTo>
                    <a:pt x="166" y="1650"/>
                  </a:lnTo>
                  <a:lnTo>
                    <a:pt x="166" y="1652"/>
                  </a:lnTo>
                  <a:lnTo>
                    <a:pt x="166" y="1656"/>
                  </a:lnTo>
                  <a:lnTo>
                    <a:pt x="166" y="1662"/>
                  </a:lnTo>
                  <a:lnTo>
                    <a:pt x="166" y="1664"/>
                  </a:lnTo>
                  <a:lnTo>
                    <a:pt x="162" y="1664"/>
                  </a:lnTo>
                  <a:lnTo>
                    <a:pt x="160" y="1660"/>
                  </a:lnTo>
                  <a:lnTo>
                    <a:pt x="158" y="1658"/>
                  </a:lnTo>
                  <a:lnTo>
                    <a:pt x="154" y="1656"/>
                  </a:lnTo>
                  <a:lnTo>
                    <a:pt x="154" y="1658"/>
                  </a:lnTo>
                  <a:lnTo>
                    <a:pt x="154" y="1660"/>
                  </a:lnTo>
                  <a:lnTo>
                    <a:pt x="156" y="1664"/>
                  </a:lnTo>
                  <a:lnTo>
                    <a:pt x="154" y="1666"/>
                  </a:lnTo>
                  <a:lnTo>
                    <a:pt x="150" y="1666"/>
                  </a:lnTo>
                  <a:lnTo>
                    <a:pt x="150" y="1668"/>
                  </a:lnTo>
                  <a:lnTo>
                    <a:pt x="154" y="1672"/>
                  </a:lnTo>
                  <a:close/>
                  <a:moveTo>
                    <a:pt x="146" y="1346"/>
                  </a:moveTo>
                  <a:lnTo>
                    <a:pt x="146" y="1346"/>
                  </a:lnTo>
                  <a:lnTo>
                    <a:pt x="142" y="1346"/>
                  </a:lnTo>
                  <a:lnTo>
                    <a:pt x="144" y="1352"/>
                  </a:lnTo>
                  <a:lnTo>
                    <a:pt x="148" y="1358"/>
                  </a:lnTo>
                  <a:lnTo>
                    <a:pt x="154" y="1362"/>
                  </a:lnTo>
                  <a:lnTo>
                    <a:pt x="158" y="1364"/>
                  </a:lnTo>
                  <a:lnTo>
                    <a:pt x="160" y="1364"/>
                  </a:lnTo>
                  <a:lnTo>
                    <a:pt x="162" y="1362"/>
                  </a:lnTo>
                  <a:lnTo>
                    <a:pt x="160" y="1360"/>
                  </a:lnTo>
                  <a:lnTo>
                    <a:pt x="158" y="1358"/>
                  </a:lnTo>
                  <a:lnTo>
                    <a:pt x="160" y="1358"/>
                  </a:lnTo>
                  <a:lnTo>
                    <a:pt x="160" y="1356"/>
                  </a:lnTo>
                  <a:lnTo>
                    <a:pt x="158" y="1356"/>
                  </a:lnTo>
                  <a:lnTo>
                    <a:pt x="154" y="1354"/>
                  </a:lnTo>
                  <a:lnTo>
                    <a:pt x="154" y="1352"/>
                  </a:lnTo>
                  <a:lnTo>
                    <a:pt x="154" y="1350"/>
                  </a:lnTo>
                  <a:lnTo>
                    <a:pt x="152" y="1350"/>
                  </a:lnTo>
                  <a:lnTo>
                    <a:pt x="148" y="1350"/>
                  </a:lnTo>
                  <a:lnTo>
                    <a:pt x="148" y="1348"/>
                  </a:lnTo>
                  <a:lnTo>
                    <a:pt x="148" y="1346"/>
                  </a:lnTo>
                  <a:lnTo>
                    <a:pt x="146" y="1346"/>
                  </a:lnTo>
                  <a:close/>
                  <a:moveTo>
                    <a:pt x="166" y="1740"/>
                  </a:moveTo>
                  <a:lnTo>
                    <a:pt x="166" y="1740"/>
                  </a:lnTo>
                  <a:lnTo>
                    <a:pt x="166" y="1742"/>
                  </a:lnTo>
                  <a:lnTo>
                    <a:pt x="168" y="1742"/>
                  </a:lnTo>
                  <a:lnTo>
                    <a:pt x="174" y="1740"/>
                  </a:lnTo>
                  <a:lnTo>
                    <a:pt x="188" y="1736"/>
                  </a:lnTo>
                  <a:lnTo>
                    <a:pt x="194" y="1734"/>
                  </a:lnTo>
                  <a:lnTo>
                    <a:pt x="192" y="1732"/>
                  </a:lnTo>
                  <a:lnTo>
                    <a:pt x="190" y="1728"/>
                  </a:lnTo>
                  <a:lnTo>
                    <a:pt x="184" y="1724"/>
                  </a:lnTo>
                  <a:lnTo>
                    <a:pt x="178" y="1722"/>
                  </a:lnTo>
                  <a:lnTo>
                    <a:pt x="176" y="1718"/>
                  </a:lnTo>
                  <a:lnTo>
                    <a:pt x="174" y="1718"/>
                  </a:lnTo>
                  <a:lnTo>
                    <a:pt x="170" y="1720"/>
                  </a:lnTo>
                  <a:lnTo>
                    <a:pt x="168" y="1722"/>
                  </a:lnTo>
                  <a:lnTo>
                    <a:pt x="166" y="1724"/>
                  </a:lnTo>
                  <a:lnTo>
                    <a:pt x="174" y="1728"/>
                  </a:lnTo>
                  <a:lnTo>
                    <a:pt x="176" y="1730"/>
                  </a:lnTo>
                  <a:lnTo>
                    <a:pt x="174" y="1730"/>
                  </a:lnTo>
                  <a:lnTo>
                    <a:pt x="172" y="1732"/>
                  </a:lnTo>
                  <a:lnTo>
                    <a:pt x="172" y="1734"/>
                  </a:lnTo>
                  <a:lnTo>
                    <a:pt x="172" y="1736"/>
                  </a:lnTo>
                  <a:lnTo>
                    <a:pt x="170" y="1736"/>
                  </a:lnTo>
                  <a:lnTo>
                    <a:pt x="168" y="1738"/>
                  </a:lnTo>
                  <a:lnTo>
                    <a:pt x="166" y="1740"/>
                  </a:lnTo>
                  <a:close/>
                  <a:moveTo>
                    <a:pt x="362" y="2084"/>
                  </a:moveTo>
                  <a:lnTo>
                    <a:pt x="362" y="2084"/>
                  </a:lnTo>
                  <a:lnTo>
                    <a:pt x="370" y="2088"/>
                  </a:lnTo>
                  <a:lnTo>
                    <a:pt x="376" y="2088"/>
                  </a:lnTo>
                  <a:lnTo>
                    <a:pt x="380" y="2086"/>
                  </a:lnTo>
                  <a:lnTo>
                    <a:pt x="378" y="2082"/>
                  </a:lnTo>
                  <a:lnTo>
                    <a:pt x="376" y="2080"/>
                  </a:lnTo>
                  <a:lnTo>
                    <a:pt x="372" y="2078"/>
                  </a:lnTo>
                  <a:lnTo>
                    <a:pt x="366" y="2080"/>
                  </a:lnTo>
                  <a:lnTo>
                    <a:pt x="362" y="2084"/>
                  </a:lnTo>
                  <a:close/>
                  <a:moveTo>
                    <a:pt x="174" y="1354"/>
                  </a:moveTo>
                  <a:lnTo>
                    <a:pt x="174" y="1354"/>
                  </a:lnTo>
                  <a:lnTo>
                    <a:pt x="176" y="1352"/>
                  </a:lnTo>
                  <a:lnTo>
                    <a:pt x="176" y="1350"/>
                  </a:lnTo>
                  <a:lnTo>
                    <a:pt x="174" y="1348"/>
                  </a:lnTo>
                  <a:lnTo>
                    <a:pt x="174" y="1350"/>
                  </a:lnTo>
                  <a:lnTo>
                    <a:pt x="172" y="1350"/>
                  </a:lnTo>
                  <a:lnTo>
                    <a:pt x="172" y="1352"/>
                  </a:lnTo>
                  <a:lnTo>
                    <a:pt x="174" y="1354"/>
                  </a:lnTo>
                  <a:close/>
                  <a:moveTo>
                    <a:pt x="168" y="1784"/>
                  </a:moveTo>
                  <a:lnTo>
                    <a:pt x="168" y="1784"/>
                  </a:lnTo>
                  <a:lnTo>
                    <a:pt x="170" y="1784"/>
                  </a:lnTo>
                  <a:lnTo>
                    <a:pt x="176" y="1780"/>
                  </a:lnTo>
                  <a:lnTo>
                    <a:pt x="178" y="1776"/>
                  </a:lnTo>
                  <a:lnTo>
                    <a:pt x="178" y="1772"/>
                  </a:lnTo>
                  <a:lnTo>
                    <a:pt x="176" y="1768"/>
                  </a:lnTo>
                  <a:lnTo>
                    <a:pt x="176" y="1764"/>
                  </a:lnTo>
                  <a:lnTo>
                    <a:pt x="176" y="1762"/>
                  </a:lnTo>
                  <a:lnTo>
                    <a:pt x="174" y="1762"/>
                  </a:lnTo>
                  <a:lnTo>
                    <a:pt x="172" y="1764"/>
                  </a:lnTo>
                  <a:lnTo>
                    <a:pt x="170" y="1766"/>
                  </a:lnTo>
                  <a:lnTo>
                    <a:pt x="168" y="1766"/>
                  </a:lnTo>
                  <a:lnTo>
                    <a:pt x="166" y="1764"/>
                  </a:lnTo>
                  <a:lnTo>
                    <a:pt x="166" y="1766"/>
                  </a:lnTo>
                  <a:lnTo>
                    <a:pt x="162" y="1768"/>
                  </a:lnTo>
                  <a:lnTo>
                    <a:pt x="158" y="1772"/>
                  </a:lnTo>
                  <a:lnTo>
                    <a:pt x="158" y="1774"/>
                  </a:lnTo>
                  <a:lnTo>
                    <a:pt x="160" y="1776"/>
                  </a:lnTo>
                  <a:lnTo>
                    <a:pt x="162" y="1776"/>
                  </a:lnTo>
                  <a:lnTo>
                    <a:pt x="166" y="1774"/>
                  </a:lnTo>
                  <a:lnTo>
                    <a:pt x="168" y="1774"/>
                  </a:lnTo>
                  <a:lnTo>
                    <a:pt x="170" y="1776"/>
                  </a:lnTo>
                  <a:lnTo>
                    <a:pt x="170" y="1778"/>
                  </a:lnTo>
                  <a:lnTo>
                    <a:pt x="168" y="1780"/>
                  </a:lnTo>
                  <a:lnTo>
                    <a:pt x="166" y="1782"/>
                  </a:lnTo>
                  <a:lnTo>
                    <a:pt x="168" y="1784"/>
                  </a:lnTo>
                  <a:close/>
                  <a:moveTo>
                    <a:pt x="190" y="1748"/>
                  </a:moveTo>
                  <a:lnTo>
                    <a:pt x="190" y="1748"/>
                  </a:lnTo>
                  <a:lnTo>
                    <a:pt x="186" y="1752"/>
                  </a:lnTo>
                  <a:lnTo>
                    <a:pt x="182" y="1756"/>
                  </a:lnTo>
                  <a:lnTo>
                    <a:pt x="178" y="1762"/>
                  </a:lnTo>
                  <a:lnTo>
                    <a:pt x="178" y="1768"/>
                  </a:lnTo>
                  <a:lnTo>
                    <a:pt x="180" y="1768"/>
                  </a:lnTo>
                  <a:lnTo>
                    <a:pt x="182" y="1766"/>
                  </a:lnTo>
                  <a:lnTo>
                    <a:pt x="188" y="1758"/>
                  </a:lnTo>
                  <a:lnTo>
                    <a:pt x="192" y="1750"/>
                  </a:lnTo>
                  <a:lnTo>
                    <a:pt x="192" y="1748"/>
                  </a:lnTo>
                  <a:lnTo>
                    <a:pt x="190" y="1748"/>
                  </a:lnTo>
                  <a:close/>
                  <a:moveTo>
                    <a:pt x="700" y="1324"/>
                  </a:moveTo>
                  <a:lnTo>
                    <a:pt x="700" y="1324"/>
                  </a:lnTo>
                  <a:lnTo>
                    <a:pt x="698" y="1322"/>
                  </a:lnTo>
                  <a:lnTo>
                    <a:pt x="694" y="1322"/>
                  </a:lnTo>
                  <a:lnTo>
                    <a:pt x="690" y="1324"/>
                  </a:lnTo>
                  <a:lnTo>
                    <a:pt x="690" y="1326"/>
                  </a:lnTo>
                  <a:lnTo>
                    <a:pt x="692" y="1326"/>
                  </a:lnTo>
                  <a:lnTo>
                    <a:pt x="696" y="1326"/>
                  </a:lnTo>
                  <a:lnTo>
                    <a:pt x="700" y="1326"/>
                  </a:lnTo>
                  <a:lnTo>
                    <a:pt x="700" y="1324"/>
                  </a:lnTo>
                  <a:close/>
                  <a:moveTo>
                    <a:pt x="494" y="1970"/>
                  </a:moveTo>
                  <a:lnTo>
                    <a:pt x="494" y="1970"/>
                  </a:lnTo>
                  <a:lnTo>
                    <a:pt x="492" y="1962"/>
                  </a:lnTo>
                  <a:lnTo>
                    <a:pt x="486" y="1954"/>
                  </a:lnTo>
                  <a:lnTo>
                    <a:pt x="478" y="1948"/>
                  </a:lnTo>
                  <a:lnTo>
                    <a:pt x="470" y="1944"/>
                  </a:lnTo>
                  <a:lnTo>
                    <a:pt x="460" y="1942"/>
                  </a:lnTo>
                  <a:lnTo>
                    <a:pt x="452" y="1942"/>
                  </a:lnTo>
                  <a:lnTo>
                    <a:pt x="446" y="1944"/>
                  </a:lnTo>
                  <a:lnTo>
                    <a:pt x="442" y="1948"/>
                  </a:lnTo>
                  <a:lnTo>
                    <a:pt x="438" y="1954"/>
                  </a:lnTo>
                  <a:lnTo>
                    <a:pt x="434" y="1954"/>
                  </a:lnTo>
                  <a:lnTo>
                    <a:pt x="432" y="1952"/>
                  </a:lnTo>
                  <a:lnTo>
                    <a:pt x="428" y="1950"/>
                  </a:lnTo>
                  <a:lnTo>
                    <a:pt x="424" y="1948"/>
                  </a:lnTo>
                  <a:lnTo>
                    <a:pt x="424" y="1946"/>
                  </a:lnTo>
                  <a:lnTo>
                    <a:pt x="428" y="1942"/>
                  </a:lnTo>
                  <a:lnTo>
                    <a:pt x="434" y="1938"/>
                  </a:lnTo>
                  <a:lnTo>
                    <a:pt x="436" y="1936"/>
                  </a:lnTo>
                  <a:lnTo>
                    <a:pt x="438" y="1932"/>
                  </a:lnTo>
                  <a:lnTo>
                    <a:pt x="434" y="1924"/>
                  </a:lnTo>
                  <a:lnTo>
                    <a:pt x="428" y="1914"/>
                  </a:lnTo>
                  <a:lnTo>
                    <a:pt x="418" y="1906"/>
                  </a:lnTo>
                  <a:lnTo>
                    <a:pt x="410" y="1902"/>
                  </a:lnTo>
                  <a:lnTo>
                    <a:pt x="408" y="1898"/>
                  </a:lnTo>
                  <a:lnTo>
                    <a:pt x="410" y="1898"/>
                  </a:lnTo>
                  <a:lnTo>
                    <a:pt x="418" y="1902"/>
                  </a:lnTo>
                  <a:lnTo>
                    <a:pt x="424" y="1906"/>
                  </a:lnTo>
                  <a:lnTo>
                    <a:pt x="428" y="1906"/>
                  </a:lnTo>
                  <a:lnTo>
                    <a:pt x="430" y="1904"/>
                  </a:lnTo>
                  <a:lnTo>
                    <a:pt x="428" y="1902"/>
                  </a:lnTo>
                  <a:lnTo>
                    <a:pt x="422" y="1894"/>
                  </a:lnTo>
                  <a:lnTo>
                    <a:pt x="418" y="1888"/>
                  </a:lnTo>
                  <a:lnTo>
                    <a:pt x="416" y="1884"/>
                  </a:lnTo>
                  <a:lnTo>
                    <a:pt x="416" y="1876"/>
                  </a:lnTo>
                  <a:lnTo>
                    <a:pt x="416" y="1872"/>
                  </a:lnTo>
                  <a:lnTo>
                    <a:pt x="416" y="1870"/>
                  </a:lnTo>
                  <a:lnTo>
                    <a:pt x="412" y="1868"/>
                  </a:lnTo>
                  <a:lnTo>
                    <a:pt x="408" y="1866"/>
                  </a:lnTo>
                  <a:lnTo>
                    <a:pt x="406" y="1864"/>
                  </a:lnTo>
                  <a:lnTo>
                    <a:pt x="404" y="1858"/>
                  </a:lnTo>
                  <a:lnTo>
                    <a:pt x="400" y="1852"/>
                  </a:lnTo>
                  <a:lnTo>
                    <a:pt x="396" y="1850"/>
                  </a:lnTo>
                  <a:lnTo>
                    <a:pt x="390" y="1848"/>
                  </a:lnTo>
                  <a:lnTo>
                    <a:pt x="380" y="1844"/>
                  </a:lnTo>
                  <a:lnTo>
                    <a:pt x="376" y="1842"/>
                  </a:lnTo>
                  <a:lnTo>
                    <a:pt x="372" y="1836"/>
                  </a:lnTo>
                  <a:lnTo>
                    <a:pt x="366" y="1822"/>
                  </a:lnTo>
                  <a:lnTo>
                    <a:pt x="360" y="1806"/>
                  </a:lnTo>
                  <a:lnTo>
                    <a:pt x="358" y="1794"/>
                  </a:lnTo>
                  <a:lnTo>
                    <a:pt x="356" y="1786"/>
                  </a:lnTo>
                  <a:lnTo>
                    <a:pt x="354" y="1782"/>
                  </a:lnTo>
                  <a:lnTo>
                    <a:pt x="352" y="1780"/>
                  </a:lnTo>
                  <a:lnTo>
                    <a:pt x="346" y="1774"/>
                  </a:lnTo>
                  <a:lnTo>
                    <a:pt x="342" y="1768"/>
                  </a:lnTo>
                  <a:lnTo>
                    <a:pt x="336" y="1762"/>
                  </a:lnTo>
                  <a:lnTo>
                    <a:pt x="322" y="1756"/>
                  </a:lnTo>
                  <a:lnTo>
                    <a:pt x="314" y="1754"/>
                  </a:lnTo>
                  <a:lnTo>
                    <a:pt x="310" y="1754"/>
                  </a:lnTo>
                  <a:lnTo>
                    <a:pt x="308" y="1754"/>
                  </a:lnTo>
                  <a:lnTo>
                    <a:pt x="306" y="1756"/>
                  </a:lnTo>
                  <a:lnTo>
                    <a:pt x="302" y="1758"/>
                  </a:lnTo>
                  <a:lnTo>
                    <a:pt x="298" y="1760"/>
                  </a:lnTo>
                  <a:lnTo>
                    <a:pt x="290" y="1758"/>
                  </a:lnTo>
                  <a:lnTo>
                    <a:pt x="286" y="1758"/>
                  </a:lnTo>
                  <a:lnTo>
                    <a:pt x="288" y="1756"/>
                  </a:lnTo>
                  <a:lnTo>
                    <a:pt x="294" y="1754"/>
                  </a:lnTo>
                  <a:lnTo>
                    <a:pt x="300" y="1748"/>
                  </a:lnTo>
                  <a:lnTo>
                    <a:pt x="302" y="1746"/>
                  </a:lnTo>
                  <a:lnTo>
                    <a:pt x="304" y="1746"/>
                  </a:lnTo>
                  <a:lnTo>
                    <a:pt x="308" y="1746"/>
                  </a:lnTo>
                  <a:lnTo>
                    <a:pt x="316" y="1742"/>
                  </a:lnTo>
                  <a:lnTo>
                    <a:pt x="318" y="1742"/>
                  </a:lnTo>
                  <a:lnTo>
                    <a:pt x="318" y="1740"/>
                  </a:lnTo>
                  <a:lnTo>
                    <a:pt x="316" y="1738"/>
                  </a:lnTo>
                  <a:lnTo>
                    <a:pt x="310" y="1736"/>
                  </a:lnTo>
                  <a:lnTo>
                    <a:pt x="308" y="1734"/>
                  </a:lnTo>
                  <a:lnTo>
                    <a:pt x="308" y="1730"/>
                  </a:lnTo>
                  <a:lnTo>
                    <a:pt x="304" y="1728"/>
                  </a:lnTo>
                  <a:lnTo>
                    <a:pt x="304" y="1726"/>
                  </a:lnTo>
                  <a:lnTo>
                    <a:pt x="306" y="1728"/>
                  </a:lnTo>
                  <a:lnTo>
                    <a:pt x="312" y="1728"/>
                  </a:lnTo>
                  <a:lnTo>
                    <a:pt x="314" y="1728"/>
                  </a:lnTo>
                  <a:lnTo>
                    <a:pt x="318" y="1726"/>
                  </a:lnTo>
                  <a:lnTo>
                    <a:pt x="326" y="1716"/>
                  </a:lnTo>
                  <a:lnTo>
                    <a:pt x="334" y="1696"/>
                  </a:lnTo>
                  <a:lnTo>
                    <a:pt x="342" y="1678"/>
                  </a:lnTo>
                  <a:lnTo>
                    <a:pt x="348" y="1668"/>
                  </a:lnTo>
                  <a:lnTo>
                    <a:pt x="350" y="1664"/>
                  </a:lnTo>
                  <a:lnTo>
                    <a:pt x="348" y="1656"/>
                  </a:lnTo>
                  <a:lnTo>
                    <a:pt x="346" y="1652"/>
                  </a:lnTo>
                  <a:lnTo>
                    <a:pt x="342" y="1650"/>
                  </a:lnTo>
                  <a:lnTo>
                    <a:pt x="332" y="1650"/>
                  </a:lnTo>
                  <a:lnTo>
                    <a:pt x="320" y="1650"/>
                  </a:lnTo>
                  <a:lnTo>
                    <a:pt x="302" y="1650"/>
                  </a:lnTo>
                  <a:lnTo>
                    <a:pt x="286" y="1650"/>
                  </a:lnTo>
                  <a:lnTo>
                    <a:pt x="274" y="1652"/>
                  </a:lnTo>
                  <a:lnTo>
                    <a:pt x="268" y="1656"/>
                  </a:lnTo>
                  <a:lnTo>
                    <a:pt x="262" y="1658"/>
                  </a:lnTo>
                  <a:lnTo>
                    <a:pt x="258" y="1658"/>
                  </a:lnTo>
                  <a:lnTo>
                    <a:pt x="258" y="1654"/>
                  </a:lnTo>
                  <a:lnTo>
                    <a:pt x="268" y="1644"/>
                  </a:lnTo>
                  <a:lnTo>
                    <a:pt x="270" y="1642"/>
                  </a:lnTo>
                  <a:lnTo>
                    <a:pt x="268" y="1642"/>
                  </a:lnTo>
                  <a:lnTo>
                    <a:pt x="264" y="1642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70" y="1632"/>
                  </a:lnTo>
                  <a:lnTo>
                    <a:pt x="284" y="1620"/>
                  </a:lnTo>
                  <a:lnTo>
                    <a:pt x="296" y="1608"/>
                  </a:lnTo>
                  <a:lnTo>
                    <a:pt x="300" y="1604"/>
                  </a:lnTo>
                  <a:lnTo>
                    <a:pt x="300" y="1600"/>
                  </a:lnTo>
                  <a:lnTo>
                    <a:pt x="298" y="1598"/>
                  </a:lnTo>
                  <a:lnTo>
                    <a:pt x="298" y="1596"/>
                  </a:lnTo>
                  <a:lnTo>
                    <a:pt x="300" y="1592"/>
                  </a:lnTo>
                  <a:lnTo>
                    <a:pt x="300" y="1590"/>
                  </a:lnTo>
                  <a:lnTo>
                    <a:pt x="292" y="1588"/>
                  </a:lnTo>
                  <a:lnTo>
                    <a:pt x="286" y="1588"/>
                  </a:lnTo>
                  <a:lnTo>
                    <a:pt x="284" y="1590"/>
                  </a:lnTo>
                  <a:lnTo>
                    <a:pt x="284" y="1592"/>
                  </a:lnTo>
                  <a:lnTo>
                    <a:pt x="280" y="1592"/>
                  </a:lnTo>
                  <a:lnTo>
                    <a:pt x="272" y="1592"/>
                  </a:lnTo>
                  <a:lnTo>
                    <a:pt x="262" y="1594"/>
                  </a:lnTo>
                  <a:lnTo>
                    <a:pt x="254" y="1596"/>
                  </a:lnTo>
                  <a:lnTo>
                    <a:pt x="246" y="1596"/>
                  </a:lnTo>
                  <a:lnTo>
                    <a:pt x="242" y="1594"/>
                  </a:lnTo>
                  <a:lnTo>
                    <a:pt x="238" y="1596"/>
                  </a:lnTo>
                  <a:lnTo>
                    <a:pt x="236" y="1596"/>
                  </a:lnTo>
                  <a:lnTo>
                    <a:pt x="232" y="1594"/>
                  </a:lnTo>
                  <a:lnTo>
                    <a:pt x="226" y="1592"/>
                  </a:lnTo>
                  <a:lnTo>
                    <a:pt x="222" y="1590"/>
                  </a:lnTo>
                  <a:lnTo>
                    <a:pt x="218" y="1594"/>
                  </a:lnTo>
                  <a:lnTo>
                    <a:pt x="218" y="1600"/>
                  </a:lnTo>
                  <a:lnTo>
                    <a:pt x="218" y="1602"/>
                  </a:lnTo>
                  <a:lnTo>
                    <a:pt x="218" y="1604"/>
                  </a:lnTo>
                  <a:lnTo>
                    <a:pt x="214" y="1606"/>
                  </a:lnTo>
                  <a:lnTo>
                    <a:pt x="212" y="1606"/>
                  </a:lnTo>
                  <a:lnTo>
                    <a:pt x="216" y="1612"/>
                  </a:lnTo>
                  <a:lnTo>
                    <a:pt x="218" y="1616"/>
                  </a:lnTo>
                  <a:lnTo>
                    <a:pt x="212" y="1616"/>
                  </a:lnTo>
                  <a:lnTo>
                    <a:pt x="206" y="1614"/>
                  </a:lnTo>
                  <a:lnTo>
                    <a:pt x="206" y="1618"/>
                  </a:lnTo>
                  <a:lnTo>
                    <a:pt x="210" y="1622"/>
                  </a:lnTo>
                  <a:lnTo>
                    <a:pt x="210" y="1624"/>
                  </a:lnTo>
                  <a:lnTo>
                    <a:pt x="210" y="1626"/>
                  </a:lnTo>
                  <a:lnTo>
                    <a:pt x="208" y="1626"/>
                  </a:lnTo>
                  <a:lnTo>
                    <a:pt x="204" y="1626"/>
                  </a:lnTo>
                  <a:lnTo>
                    <a:pt x="202" y="1626"/>
                  </a:lnTo>
                  <a:lnTo>
                    <a:pt x="204" y="1628"/>
                  </a:lnTo>
                  <a:lnTo>
                    <a:pt x="206" y="1632"/>
                  </a:lnTo>
                  <a:lnTo>
                    <a:pt x="206" y="1636"/>
                  </a:lnTo>
                  <a:lnTo>
                    <a:pt x="206" y="1638"/>
                  </a:lnTo>
                  <a:lnTo>
                    <a:pt x="202" y="1638"/>
                  </a:lnTo>
                  <a:lnTo>
                    <a:pt x="190" y="1638"/>
                  </a:lnTo>
                  <a:lnTo>
                    <a:pt x="188" y="1640"/>
                  </a:lnTo>
                  <a:lnTo>
                    <a:pt x="188" y="1646"/>
                  </a:lnTo>
                  <a:lnTo>
                    <a:pt x="190" y="1650"/>
                  </a:lnTo>
                  <a:lnTo>
                    <a:pt x="190" y="1654"/>
                  </a:lnTo>
                  <a:lnTo>
                    <a:pt x="188" y="1660"/>
                  </a:lnTo>
                  <a:lnTo>
                    <a:pt x="188" y="1668"/>
                  </a:lnTo>
                  <a:lnTo>
                    <a:pt x="188" y="1672"/>
                  </a:lnTo>
                  <a:lnTo>
                    <a:pt x="190" y="1674"/>
                  </a:lnTo>
                  <a:lnTo>
                    <a:pt x="194" y="1674"/>
                  </a:lnTo>
                  <a:lnTo>
                    <a:pt x="196" y="1676"/>
                  </a:lnTo>
                  <a:lnTo>
                    <a:pt x="194" y="1682"/>
                  </a:lnTo>
                  <a:lnTo>
                    <a:pt x="192" y="1686"/>
                  </a:lnTo>
                  <a:lnTo>
                    <a:pt x="190" y="1690"/>
                  </a:lnTo>
                  <a:lnTo>
                    <a:pt x="188" y="1690"/>
                  </a:lnTo>
                  <a:lnTo>
                    <a:pt x="190" y="1692"/>
                  </a:lnTo>
                  <a:lnTo>
                    <a:pt x="190" y="1694"/>
                  </a:lnTo>
                  <a:lnTo>
                    <a:pt x="190" y="1696"/>
                  </a:lnTo>
                  <a:lnTo>
                    <a:pt x="186" y="1698"/>
                  </a:lnTo>
                  <a:lnTo>
                    <a:pt x="184" y="1700"/>
                  </a:lnTo>
                  <a:lnTo>
                    <a:pt x="188" y="1702"/>
                  </a:lnTo>
                  <a:lnTo>
                    <a:pt x="188" y="1704"/>
                  </a:lnTo>
                  <a:lnTo>
                    <a:pt x="186" y="1706"/>
                  </a:lnTo>
                  <a:lnTo>
                    <a:pt x="182" y="1708"/>
                  </a:lnTo>
                  <a:lnTo>
                    <a:pt x="178" y="1708"/>
                  </a:lnTo>
                  <a:lnTo>
                    <a:pt x="174" y="1708"/>
                  </a:lnTo>
                  <a:lnTo>
                    <a:pt x="172" y="1710"/>
                  </a:lnTo>
                  <a:lnTo>
                    <a:pt x="172" y="1712"/>
                  </a:lnTo>
                  <a:lnTo>
                    <a:pt x="174" y="1714"/>
                  </a:lnTo>
                  <a:lnTo>
                    <a:pt x="182" y="1714"/>
                  </a:lnTo>
                  <a:lnTo>
                    <a:pt x="190" y="1712"/>
                  </a:lnTo>
                  <a:lnTo>
                    <a:pt x="192" y="1714"/>
                  </a:lnTo>
                  <a:lnTo>
                    <a:pt x="184" y="1716"/>
                  </a:lnTo>
                  <a:lnTo>
                    <a:pt x="180" y="1718"/>
                  </a:lnTo>
                  <a:lnTo>
                    <a:pt x="180" y="1720"/>
                  </a:lnTo>
                  <a:lnTo>
                    <a:pt x="184" y="1722"/>
                  </a:lnTo>
                  <a:lnTo>
                    <a:pt x="188" y="1722"/>
                  </a:lnTo>
                  <a:lnTo>
                    <a:pt x="190" y="1722"/>
                  </a:lnTo>
                  <a:lnTo>
                    <a:pt x="192" y="1724"/>
                  </a:lnTo>
                  <a:lnTo>
                    <a:pt x="196" y="1724"/>
                  </a:lnTo>
                  <a:lnTo>
                    <a:pt x="200" y="1720"/>
                  </a:lnTo>
                  <a:lnTo>
                    <a:pt x="208" y="1714"/>
                  </a:lnTo>
                  <a:lnTo>
                    <a:pt x="206" y="1720"/>
                  </a:lnTo>
                  <a:lnTo>
                    <a:pt x="202" y="1726"/>
                  </a:lnTo>
                  <a:lnTo>
                    <a:pt x="202" y="1730"/>
                  </a:lnTo>
                  <a:lnTo>
                    <a:pt x="202" y="1734"/>
                  </a:lnTo>
                  <a:lnTo>
                    <a:pt x="198" y="1738"/>
                  </a:lnTo>
                  <a:lnTo>
                    <a:pt x="196" y="1740"/>
                  </a:lnTo>
                  <a:lnTo>
                    <a:pt x="196" y="1744"/>
                  </a:lnTo>
                  <a:lnTo>
                    <a:pt x="198" y="1748"/>
                  </a:lnTo>
                  <a:lnTo>
                    <a:pt x="194" y="1754"/>
                  </a:lnTo>
                  <a:lnTo>
                    <a:pt x="192" y="1758"/>
                  </a:lnTo>
                  <a:lnTo>
                    <a:pt x="192" y="1762"/>
                  </a:lnTo>
                  <a:lnTo>
                    <a:pt x="194" y="1764"/>
                  </a:lnTo>
                  <a:lnTo>
                    <a:pt x="194" y="1768"/>
                  </a:lnTo>
                  <a:lnTo>
                    <a:pt x="194" y="1772"/>
                  </a:lnTo>
                  <a:lnTo>
                    <a:pt x="194" y="1774"/>
                  </a:lnTo>
                  <a:lnTo>
                    <a:pt x="200" y="1770"/>
                  </a:lnTo>
                  <a:lnTo>
                    <a:pt x="198" y="1774"/>
                  </a:lnTo>
                  <a:lnTo>
                    <a:pt x="194" y="1784"/>
                  </a:lnTo>
                  <a:lnTo>
                    <a:pt x="188" y="1794"/>
                  </a:lnTo>
                  <a:lnTo>
                    <a:pt x="188" y="1800"/>
                  </a:lnTo>
                  <a:lnTo>
                    <a:pt x="192" y="1802"/>
                  </a:lnTo>
                  <a:lnTo>
                    <a:pt x="194" y="1802"/>
                  </a:lnTo>
                  <a:lnTo>
                    <a:pt x="196" y="1800"/>
                  </a:lnTo>
                  <a:lnTo>
                    <a:pt x="198" y="1792"/>
                  </a:lnTo>
                  <a:lnTo>
                    <a:pt x="202" y="1780"/>
                  </a:lnTo>
                  <a:lnTo>
                    <a:pt x="204" y="1776"/>
                  </a:lnTo>
                  <a:lnTo>
                    <a:pt x="206" y="1772"/>
                  </a:lnTo>
                  <a:lnTo>
                    <a:pt x="208" y="1770"/>
                  </a:lnTo>
                  <a:lnTo>
                    <a:pt x="208" y="1768"/>
                  </a:lnTo>
                  <a:lnTo>
                    <a:pt x="204" y="1764"/>
                  </a:lnTo>
                  <a:lnTo>
                    <a:pt x="202" y="1760"/>
                  </a:lnTo>
                  <a:lnTo>
                    <a:pt x="204" y="1758"/>
                  </a:lnTo>
                  <a:lnTo>
                    <a:pt x="206" y="1756"/>
                  </a:lnTo>
                  <a:lnTo>
                    <a:pt x="210" y="1754"/>
                  </a:lnTo>
                  <a:lnTo>
                    <a:pt x="208" y="1756"/>
                  </a:lnTo>
                  <a:lnTo>
                    <a:pt x="208" y="1762"/>
                  </a:lnTo>
                  <a:lnTo>
                    <a:pt x="208" y="1764"/>
                  </a:lnTo>
                  <a:lnTo>
                    <a:pt x="210" y="1766"/>
                  </a:lnTo>
                  <a:lnTo>
                    <a:pt x="214" y="1766"/>
                  </a:lnTo>
                  <a:lnTo>
                    <a:pt x="216" y="1764"/>
                  </a:lnTo>
                  <a:lnTo>
                    <a:pt x="216" y="1762"/>
                  </a:lnTo>
                  <a:lnTo>
                    <a:pt x="220" y="1764"/>
                  </a:lnTo>
                  <a:lnTo>
                    <a:pt x="222" y="1764"/>
                  </a:lnTo>
                  <a:lnTo>
                    <a:pt x="224" y="1758"/>
                  </a:lnTo>
                  <a:lnTo>
                    <a:pt x="224" y="1756"/>
                  </a:lnTo>
                  <a:lnTo>
                    <a:pt x="228" y="1756"/>
                  </a:lnTo>
                  <a:lnTo>
                    <a:pt x="232" y="1758"/>
                  </a:lnTo>
                  <a:lnTo>
                    <a:pt x="238" y="1762"/>
                  </a:lnTo>
                  <a:lnTo>
                    <a:pt x="230" y="1764"/>
                  </a:lnTo>
                  <a:lnTo>
                    <a:pt x="224" y="1766"/>
                  </a:lnTo>
                  <a:lnTo>
                    <a:pt x="224" y="1768"/>
                  </a:lnTo>
                  <a:lnTo>
                    <a:pt x="224" y="1772"/>
                  </a:lnTo>
                  <a:lnTo>
                    <a:pt x="230" y="1780"/>
                  </a:lnTo>
                  <a:lnTo>
                    <a:pt x="234" y="1786"/>
                  </a:lnTo>
                  <a:lnTo>
                    <a:pt x="234" y="1790"/>
                  </a:lnTo>
                  <a:lnTo>
                    <a:pt x="234" y="1794"/>
                  </a:lnTo>
                  <a:lnTo>
                    <a:pt x="230" y="1798"/>
                  </a:lnTo>
                  <a:lnTo>
                    <a:pt x="224" y="1806"/>
                  </a:lnTo>
                  <a:lnTo>
                    <a:pt x="222" y="1810"/>
                  </a:lnTo>
                  <a:lnTo>
                    <a:pt x="220" y="1816"/>
                  </a:lnTo>
                  <a:lnTo>
                    <a:pt x="222" y="1822"/>
                  </a:lnTo>
                  <a:lnTo>
                    <a:pt x="220" y="1822"/>
                  </a:lnTo>
                  <a:lnTo>
                    <a:pt x="216" y="1818"/>
                  </a:lnTo>
                  <a:lnTo>
                    <a:pt x="214" y="1820"/>
                  </a:lnTo>
                  <a:lnTo>
                    <a:pt x="214" y="1822"/>
                  </a:lnTo>
                  <a:lnTo>
                    <a:pt x="214" y="1826"/>
                  </a:lnTo>
                  <a:lnTo>
                    <a:pt x="220" y="1834"/>
                  </a:lnTo>
                  <a:lnTo>
                    <a:pt x="224" y="1840"/>
                  </a:lnTo>
                  <a:lnTo>
                    <a:pt x="224" y="1838"/>
                  </a:lnTo>
                  <a:lnTo>
                    <a:pt x="224" y="1836"/>
                  </a:lnTo>
                  <a:lnTo>
                    <a:pt x="222" y="1830"/>
                  </a:lnTo>
                  <a:lnTo>
                    <a:pt x="224" y="1828"/>
                  </a:lnTo>
                  <a:lnTo>
                    <a:pt x="228" y="1828"/>
                  </a:lnTo>
                  <a:lnTo>
                    <a:pt x="234" y="1832"/>
                  </a:lnTo>
                  <a:lnTo>
                    <a:pt x="240" y="1838"/>
                  </a:lnTo>
                  <a:lnTo>
                    <a:pt x="244" y="1840"/>
                  </a:lnTo>
                  <a:lnTo>
                    <a:pt x="246" y="1838"/>
                  </a:lnTo>
                  <a:lnTo>
                    <a:pt x="246" y="1834"/>
                  </a:lnTo>
                  <a:lnTo>
                    <a:pt x="246" y="1828"/>
                  </a:lnTo>
                  <a:lnTo>
                    <a:pt x="246" y="1826"/>
                  </a:lnTo>
                  <a:lnTo>
                    <a:pt x="246" y="1828"/>
                  </a:lnTo>
                  <a:lnTo>
                    <a:pt x="252" y="1830"/>
                  </a:lnTo>
                  <a:lnTo>
                    <a:pt x="260" y="1834"/>
                  </a:lnTo>
                  <a:lnTo>
                    <a:pt x="264" y="1834"/>
                  </a:lnTo>
                  <a:lnTo>
                    <a:pt x="266" y="1830"/>
                  </a:lnTo>
                  <a:lnTo>
                    <a:pt x="270" y="1826"/>
                  </a:lnTo>
                  <a:lnTo>
                    <a:pt x="274" y="1826"/>
                  </a:lnTo>
                  <a:lnTo>
                    <a:pt x="276" y="1828"/>
                  </a:lnTo>
                  <a:lnTo>
                    <a:pt x="278" y="1824"/>
                  </a:lnTo>
                  <a:lnTo>
                    <a:pt x="282" y="1822"/>
                  </a:lnTo>
                  <a:lnTo>
                    <a:pt x="286" y="1820"/>
                  </a:lnTo>
                  <a:lnTo>
                    <a:pt x="292" y="1820"/>
                  </a:lnTo>
                  <a:lnTo>
                    <a:pt x="292" y="1822"/>
                  </a:lnTo>
                  <a:lnTo>
                    <a:pt x="288" y="1826"/>
                  </a:lnTo>
                  <a:lnTo>
                    <a:pt x="280" y="1838"/>
                  </a:lnTo>
                  <a:lnTo>
                    <a:pt x="276" y="1844"/>
                  </a:lnTo>
                  <a:lnTo>
                    <a:pt x="276" y="1850"/>
                  </a:lnTo>
                  <a:lnTo>
                    <a:pt x="276" y="1854"/>
                  </a:lnTo>
                  <a:lnTo>
                    <a:pt x="278" y="1858"/>
                  </a:lnTo>
                  <a:lnTo>
                    <a:pt x="286" y="1866"/>
                  </a:lnTo>
                  <a:lnTo>
                    <a:pt x="292" y="1872"/>
                  </a:lnTo>
                  <a:lnTo>
                    <a:pt x="294" y="1876"/>
                  </a:lnTo>
                  <a:lnTo>
                    <a:pt x="296" y="1874"/>
                  </a:lnTo>
                  <a:lnTo>
                    <a:pt x="300" y="1872"/>
                  </a:lnTo>
                  <a:lnTo>
                    <a:pt x="302" y="1870"/>
                  </a:lnTo>
                  <a:lnTo>
                    <a:pt x="304" y="1870"/>
                  </a:lnTo>
                  <a:lnTo>
                    <a:pt x="308" y="1870"/>
                  </a:lnTo>
                  <a:lnTo>
                    <a:pt x="308" y="1872"/>
                  </a:lnTo>
                  <a:lnTo>
                    <a:pt x="308" y="1874"/>
                  </a:lnTo>
                  <a:lnTo>
                    <a:pt x="306" y="1878"/>
                  </a:lnTo>
                  <a:lnTo>
                    <a:pt x="306" y="1880"/>
                  </a:lnTo>
                  <a:lnTo>
                    <a:pt x="306" y="1882"/>
                  </a:lnTo>
                  <a:lnTo>
                    <a:pt x="308" y="1882"/>
                  </a:lnTo>
                  <a:lnTo>
                    <a:pt x="306" y="1884"/>
                  </a:lnTo>
                  <a:lnTo>
                    <a:pt x="300" y="1888"/>
                  </a:lnTo>
                  <a:lnTo>
                    <a:pt x="298" y="1890"/>
                  </a:lnTo>
                  <a:lnTo>
                    <a:pt x="298" y="1892"/>
                  </a:lnTo>
                  <a:lnTo>
                    <a:pt x="298" y="1894"/>
                  </a:lnTo>
                  <a:lnTo>
                    <a:pt x="302" y="1896"/>
                  </a:lnTo>
                  <a:lnTo>
                    <a:pt x="304" y="1898"/>
                  </a:lnTo>
                  <a:lnTo>
                    <a:pt x="302" y="1900"/>
                  </a:lnTo>
                  <a:lnTo>
                    <a:pt x="300" y="1902"/>
                  </a:lnTo>
                  <a:lnTo>
                    <a:pt x="300" y="1906"/>
                  </a:lnTo>
                  <a:lnTo>
                    <a:pt x="300" y="1910"/>
                  </a:lnTo>
                  <a:lnTo>
                    <a:pt x="302" y="1916"/>
                  </a:lnTo>
                  <a:lnTo>
                    <a:pt x="308" y="1924"/>
                  </a:lnTo>
                  <a:lnTo>
                    <a:pt x="304" y="1922"/>
                  </a:lnTo>
                  <a:lnTo>
                    <a:pt x="300" y="1918"/>
                  </a:lnTo>
                  <a:lnTo>
                    <a:pt x="296" y="1916"/>
                  </a:lnTo>
                  <a:lnTo>
                    <a:pt x="294" y="1918"/>
                  </a:lnTo>
                  <a:lnTo>
                    <a:pt x="296" y="1922"/>
                  </a:lnTo>
                  <a:lnTo>
                    <a:pt x="298" y="1926"/>
                  </a:lnTo>
                  <a:lnTo>
                    <a:pt x="294" y="1924"/>
                  </a:lnTo>
                  <a:lnTo>
                    <a:pt x="290" y="1922"/>
                  </a:lnTo>
                  <a:lnTo>
                    <a:pt x="286" y="1922"/>
                  </a:lnTo>
                  <a:lnTo>
                    <a:pt x="282" y="1922"/>
                  </a:lnTo>
                  <a:lnTo>
                    <a:pt x="276" y="1924"/>
                  </a:lnTo>
                  <a:lnTo>
                    <a:pt x="272" y="1924"/>
                  </a:lnTo>
                  <a:lnTo>
                    <a:pt x="270" y="1922"/>
                  </a:lnTo>
                  <a:lnTo>
                    <a:pt x="266" y="1924"/>
                  </a:lnTo>
                  <a:lnTo>
                    <a:pt x="264" y="1926"/>
                  </a:lnTo>
                  <a:lnTo>
                    <a:pt x="260" y="1926"/>
                  </a:lnTo>
                  <a:lnTo>
                    <a:pt x="256" y="1928"/>
                  </a:lnTo>
                  <a:lnTo>
                    <a:pt x="252" y="1932"/>
                  </a:lnTo>
                  <a:lnTo>
                    <a:pt x="246" y="1940"/>
                  </a:lnTo>
                  <a:lnTo>
                    <a:pt x="240" y="1944"/>
                  </a:lnTo>
                  <a:lnTo>
                    <a:pt x="236" y="1946"/>
                  </a:lnTo>
                  <a:lnTo>
                    <a:pt x="232" y="1950"/>
                  </a:lnTo>
                  <a:lnTo>
                    <a:pt x="230" y="1956"/>
                  </a:lnTo>
                  <a:lnTo>
                    <a:pt x="234" y="1954"/>
                  </a:lnTo>
                  <a:lnTo>
                    <a:pt x="238" y="1954"/>
                  </a:lnTo>
                  <a:lnTo>
                    <a:pt x="240" y="1954"/>
                  </a:lnTo>
                  <a:lnTo>
                    <a:pt x="244" y="1952"/>
                  </a:lnTo>
                  <a:lnTo>
                    <a:pt x="252" y="1948"/>
                  </a:lnTo>
                  <a:lnTo>
                    <a:pt x="256" y="1946"/>
                  </a:lnTo>
                  <a:lnTo>
                    <a:pt x="258" y="1946"/>
                  </a:lnTo>
                  <a:lnTo>
                    <a:pt x="256" y="1948"/>
                  </a:lnTo>
                  <a:lnTo>
                    <a:pt x="256" y="1954"/>
                  </a:lnTo>
                  <a:lnTo>
                    <a:pt x="258" y="1954"/>
                  </a:lnTo>
                  <a:lnTo>
                    <a:pt x="260" y="1956"/>
                  </a:lnTo>
                  <a:lnTo>
                    <a:pt x="258" y="1960"/>
                  </a:lnTo>
                  <a:lnTo>
                    <a:pt x="256" y="1964"/>
                  </a:lnTo>
                  <a:lnTo>
                    <a:pt x="256" y="1968"/>
                  </a:lnTo>
                  <a:lnTo>
                    <a:pt x="258" y="1974"/>
                  </a:lnTo>
                  <a:lnTo>
                    <a:pt x="258" y="1978"/>
                  </a:lnTo>
                  <a:lnTo>
                    <a:pt x="256" y="1982"/>
                  </a:lnTo>
                  <a:lnTo>
                    <a:pt x="252" y="1986"/>
                  </a:lnTo>
                  <a:lnTo>
                    <a:pt x="246" y="1990"/>
                  </a:lnTo>
                  <a:lnTo>
                    <a:pt x="232" y="1998"/>
                  </a:lnTo>
                  <a:lnTo>
                    <a:pt x="222" y="2000"/>
                  </a:lnTo>
                  <a:lnTo>
                    <a:pt x="216" y="2000"/>
                  </a:lnTo>
                  <a:lnTo>
                    <a:pt x="210" y="2006"/>
                  </a:lnTo>
                  <a:lnTo>
                    <a:pt x="208" y="2008"/>
                  </a:lnTo>
                  <a:lnTo>
                    <a:pt x="208" y="2010"/>
                  </a:lnTo>
                  <a:lnTo>
                    <a:pt x="212" y="2012"/>
                  </a:lnTo>
                  <a:lnTo>
                    <a:pt x="216" y="2012"/>
                  </a:lnTo>
                  <a:lnTo>
                    <a:pt x="216" y="2014"/>
                  </a:lnTo>
                  <a:lnTo>
                    <a:pt x="214" y="2016"/>
                  </a:lnTo>
                  <a:lnTo>
                    <a:pt x="214" y="2020"/>
                  </a:lnTo>
                  <a:lnTo>
                    <a:pt x="216" y="2024"/>
                  </a:lnTo>
                  <a:lnTo>
                    <a:pt x="224" y="2024"/>
                  </a:lnTo>
                  <a:lnTo>
                    <a:pt x="232" y="2022"/>
                  </a:lnTo>
                  <a:lnTo>
                    <a:pt x="240" y="2018"/>
                  </a:lnTo>
                  <a:lnTo>
                    <a:pt x="246" y="2018"/>
                  </a:lnTo>
                  <a:lnTo>
                    <a:pt x="250" y="2022"/>
                  </a:lnTo>
                  <a:lnTo>
                    <a:pt x="250" y="2026"/>
                  </a:lnTo>
                  <a:lnTo>
                    <a:pt x="248" y="2028"/>
                  </a:lnTo>
                  <a:lnTo>
                    <a:pt x="250" y="2030"/>
                  </a:lnTo>
                  <a:lnTo>
                    <a:pt x="256" y="2028"/>
                  </a:lnTo>
                  <a:lnTo>
                    <a:pt x="260" y="2028"/>
                  </a:lnTo>
                  <a:lnTo>
                    <a:pt x="264" y="2028"/>
                  </a:lnTo>
                  <a:lnTo>
                    <a:pt x="270" y="2030"/>
                  </a:lnTo>
                  <a:lnTo>
                    <a:pt x="274" y="2034"/>
                  </a:lnTo>
                  <a:lnTo>
                    <a:pt x="280" y="2038"/>
                  </a:lnTo>
                  <a:lnTo>
                    <a:pt x="284" y="2040"/>
                  </a:lnTo>
                  <a:lnTo>
                    <a:pt x="288" y="2040"/>
                  </a:lnTo>
                  <a:lnTo>
                    <a:pt x="292" y="2038"/>
                  </a:lnTo>
                  <a:lnTo>
                    <a:pt x="298" y="2032"/>
                  </a:lnTo>
                  <a:lnTo>
                    <a:pt x="302" y="2030"/>
                  </a:lnTo>
                  <a:lnTo>
                    <a:pt x="304" y="2028"/>
                  </a:lnTo>
                  <a:lnTo>
                    <a:pt x="310" y="2026"/>
                  </a:lnTo>
                  <a:lnTo>
                    <a:pt x="314" y="2024"/>
                  </a:lnTo>
                  <a:lnTo>
                    <a:pt x="320" y="2020"/>
                  </a:lnTo>
                  <a:lnTo>
                    <a:pt x="326" y="2016"/>
                  </a:lnTo>
                  <a:lnTo>
                    <a:pt x="322" y="2022"/>
                  </a:lnTo>
                  <a:lnTo>
                    <a:pt x="318" y="2026"/>
                  </a:lnTo>
                  <a:lnTo>
                    <a:pt x="312" y="2032"/>
                  </a:lnTo>
                  <a:lnTo>
                    <a:pt x="306" y="2036"/>
                  </a:lnTo>
                  <a:lnTo>
                    <a:pt x="304" y="2044"/>
                  </a:lnTo>
                  <a:lnTo>
                    <a:pt x="302" y="2048"/>
                  </a:lnTo>
                  <a:lnTo>
                    <a:pt x="294" y="2050"/>
                  </a:lnTo>
                  <a:lnTo>
                    <a:pt x="284" y="2050"/>
                  </a:lnTo>
                  <a:lnTo>
                    <a:pt x="280" y="2050"/>
                  </a:lnTo>
                  <a:lnTo>
                    <a:pt x="274" y="2048"/>
                  </a:lnTo>
                  <a:lnTo>
                    <a:pt x="262" y="2048"/>
                  </a:lnTo>
                  <a:lnTo>
                    <a:pt x="256" y="2048"/>
                  </a:lnTo>
                  <a:lnTo>
                    <a:pt x="252" y="2050"/>
                  </a:lnTo>
                  <a:lnTo>
                    <a:pt x="252" y="2052"/>
                  </a:lnTo>
                  <a:lnTo>
                    <a:pt x="252" y="2054"/>
                  </a:lnTo>
                  <a:lnTo>
                    <a:pt x="252" y="2058"/>
                  </a:lnTo>
                  <a:lnTo>
                    <a:pt x="250" y="2058"/>
                  </a:lnTo>
                  <a:lnTo>
                    <a:pt x="246" y="2060"/>
                  </a:lnTo>
                  <a:lnTo>
                    <a:pt x="242" y="2060"/>
                  </a:lnTo>
                  <a:lnTo>
                    <a:pt x="238" y="2062"/>
                  </a:lnTo>
                  <a:lnTo>
                    <a:pt x="238" y="2066"/>
                  </a:lnTo>
                  <a:lnTo>
                    <a:pt x="238" y="2070"/>
                  </a:lnTo>
                  <a:lnTo>
                    <a:pt x="238" y="2074"/>
                  </a:lnTo>
                  <a:lnTo>
                    <a:pt x="236" y="2076"/>
                  </a:lnTo>
                  <a:lnTo>
                    <a:pt x="232" y="2078"/>
                  </a:lnTo>
                  <a:lnTo>
                    <a:pt x="230" y="2082"/>
                  </a:lnTo>
                  <a:lnTo>
                    <a:pt x="230" y="2084"/>
                  </a:lnTo>
                  <a:lnTo>
                    <a:pt x="226" y="2086"/>
                  </a:lnTo>
                  <a:lnTo>
                    <a:pt x="220" y="2092"/>
                  </a:lnTo>
                  <a:lnTo>
                    <a:pt x="214" y="2100"/>
                  </a:lnTo>
                  <a:lnTo>
                    <a:pt x="210" y="2106"/>
                  </a:lnTo>
                  <a:lnTo>
                    <a:pt x="206" y="2106"/>
                  </a:lnTo>
                  <a:lnTo>
                    <a:pt x="202" y="2108"/>
                  </a:lnTo>
                  <a:lnTo>
                    <a:pt x="198" y="2108"/>
                  </a:lnTo>
                  <a:lnTo>
                    <a:pt x="194" y="2108"/>
                  </a:lnTo>
                  <a:lnTo>
                    <a:pt x="192" y="2112"/>
                  </a:lnTo>
                  <a:lnTo>
                    <a:pt x="192" y="2114"/>
                  </a:lnTo>
                  <a:lnTo>
                    <a:pt x="192" y="2118"/>
                  </a:lnTo>
                  <a:lnTo>
                    <a:pt x="194" y="2118"/>
                  </a:lnTo>
                  <a:lnTo>
                    <a:pt x="196" y="2118"/>
                  </a:lnTo>
                  <a:lnTo>
                    <a:pt x="200" y="2116"/>
                  </a:lnTo>
                  <a:lnTo>
                    <a:pt x="202" y="2116"/>
                  </a:lnTo>
                  <a:lnTo>
                    <a:pt x="206" y="2118"/>
                  </a:lnTo>
                  <a:lnTo>
                    <a:pt x="210" y="2122"/>
                  </a:lnTo>
                  <a:lnTo>
                    <a:pt x="212" y="2122"/>
                  </a:lnTo>
                  <a:lnTo>
                    <a:pt x="214" y="2122"/>
                  </a:lnTo>
                  <a:lnTo>
                    <a:pt x="216" y="2120"/>
                  </a:lnTo>
                  <a:lnTo>
                    <a:pt x="216" y="2118"/>
                  </a:lnTo>
                  <a:lnTo>
                    <a:pt x="218" y="2116"/>
                  </a:lnTo>
                  <a:lnTo>
                    <a:pt x="222" y="2112"/>
                  </a:lnTo>
                  <a:lnTo>
                    <a:pt x="226" y="2110"/>
                  </a:lnTo>
                  <a:lnTo>
                    <a:pt x="230" y="2106"/>
                  </a:lnTo>
                  <a:lnTo>
                    <a:pt x="234" y="2102"/>
                  </a:lnTo>
                  <a:lnTo>
                    <a:pt x="244" y="2100"/>
                  </a:lnTo>
                  <a:lnTo>
                    <a:pt x="252" y="2100"/>
                  </a:lnTo>
                  <a:lnTo>
                    <a:pt x="258" y="2102"/>
                  </a:lnTo>
                  <a:lnTo>
                    <a:pt x="270" y="2108"/>
                  </a:lnTo>
                  <a:lnTo>
                    <a:pt x="274" y="2110"/>
                  </a:lnTo>
                  <a:lnTo>
                    <a:pt x="276" y="2108"/>
                  </a:lnTo>
                  <a:lnTo>
                    <a:pt x="280" y="2098"/>
                  </a:lnTo>
                  <a:lnTo>
                    <a:pt x="282" y="2088"/>
                  </a:lnTo>
                  <a:lnTo>
                    <a:pt x="284" y="2086"/>
                  </a:lnTo>
                  <a:lnTo>
                    <a:pt x="286" y="2084"/>
                  </a:lnTo>
                  <a:lnTo>
                    <a:pt x="288" y="2086"/>
                  </a:lnTo>
                  <a:lnTo>
                    <a:pt x="290" y="2084"/>
                  </a:lnTo>
                  <a:lnTo>
                    <a:pt x="298" y="2080"/>
                  </a:lnTo>
                  <a:lnTo>
                    <a:pt x="302" y="2078"/>
                  </a:lnTo>
                  <a:lnTo>
                    <a:pt x="306" y="2078"/>
                  </a:lnTo>
                  <a:lnTo>
                    <a:pt x="312" y="2080"/>
                  </a:lnTo>
                  <a:lnTo>
                    <a:pt x="316" y="2084"/>
                  </a:lnTo>
                  <a:lnTo>
                    <a:pt x="322" y="2088"/>
                  </a:lnTo>
                  <a:lnTo>
                    <a:pt x="324" y="2088"/>
                  </a:lnTo>
                  <a:lnTo>
                    <a:pt x="328" y="2086"/>
                  </a:lnTo>
                  <a:lnTo>
                    <a:pt x="330" y="2086"/>
                  </a:lnTo>
                  <a:lnTo>
                    <a:pt x="334" y="2086"/>
                  </a:lnTo>
                  <a:lnTo>
                    <a:pt x="342" y="2086"/>
                  </a:lnTo>
                  <a:lnTo>
                    <a:pt x="344" y="2084"/>
                  </a:lnTo>
                  <a:lnTo>
                    <a:pt x="346" y="2082"/>
                  </a:lnTo>
                  <a:lnTo>
                    <a:pt x="356" y="2078"/>
                  </a:lnTo>
                  <a:lnTo>
                    <a:pt x="366" y="2076"/>
                  </a:lnTo>
                  <a:lnTo>
                    <a:pt x="368" y="2074"/>
                  </a:lnTo>
                  <a:lnTo>
                    <a:pt x="368" y="2072"/>
                  </a:lnTo>
                  <a:lnTo>
                    <a:pt x="374" y="2074"/>
                  </a:lnTo>
                  <a:lnTo>
                    <a:pt x="380" y="2076"/>
                  </a:lnTo>
                  <a:lnTo>
                    <a:pt x="382" y="2076"/>
                  </a:lnTo>
                  <a:lnTo>
                    <a:pt x="384" y="2074"/>
                  </a:lnTo>
                  <a:lnTo>
                    <a:pt x="386" y="2076"/>
                  </a:lnTo>
                  <a:lnTo>
                    <a:pt x="388" y="2078"/>
                  </a:lnTo>
                  <a:lnTo>
                    <a:pt x="392" y="2078"/>
                  </a:lnTo>
                  <a:lnTo>
                    <a:pt x="400" y="2074"/>
                  </a:lnTo>
                  <a:lnTo>
                    <a:pt x="410" y="2072"/>
                  </a:lnTo>
                  <a:lnTo>
                    <a:pt x="416" y="2074"/>
                  </a:lnTo>
                  <a:lnTo>
                    <a:pt x="422" y="2074"/>
                  </a:lnTo>
                  <a:lnTo>
                    <a:pt x="428" y="2076"/>
                  </a:lnTo>
                  <a:lnTo>
                    <a:pt x="432" y="2076"/>
                  </a:lnTo>
                  <a:lnTo>
                    <a:pt x="440" y="2074"/>
                  </a:lnTo>
                  <a:lnTo>
                    <a:pt x="448" y="2070"/>
                  </a:lnTo>
                  <a:lnTo>
                    <a:pt x="456" y="2068"/>
                  </a:lnTo>
                  <a:lnTo>
                    <a:pt x="460" y="2068"/>
                  </a:lnTo>
                  <a:lnTo>
                    <a:pt x="462" y="2064"/>
                  </a:lnTo>
                  <a:lnTo>
                    <a:pt x="464" y="2060"/>
                  </a:lnTo>
                  <a:lnTo>
                    <a:pt x="470" y="2056"/>
                  </a:lnTo>
                  <a:lnTo>
                    <a:pt x="478" y="2052"/>
                  </a:lnTo>
                  <a:lnTo>
                    <a:pt x="480" y="2048"/>
                  </a:lnTo>
                  <a:lnTo>
                    <a:pt x="480" y="2044"/>
                  </a:lnTo>
                  <a:lnTo>
                    <a:pt x="480" y="2040"/>
                  </a:lnTo>
                  <a:lnTo>
                    <a:pt x="480" y="2038"/>
                  </a:lnTo>
                  <a:lnTo>
                    <a:pt x="478" y="2038"/>
                  </a:lnTo>
                  <a:lnTo>
                    <a:pt x="472" y="2038"/>
                  </a:lnTo>
                  <a:lnTo>
                    <a:pt x="462" y="2040"/>
                  </a:lnTo>
                  <a:lnTo>
                    <a:pt x="456" y="2040"/>
                  </a:lnTo>
                  <a:lnTo>
                    <a:pt x="450" y="2038"/>
                  </a:lnTo>
                  <a:lnTo>
                    <a:pt x="448" y="2036"/>
                  </a:lnTo>
                  <a:lnTo>
                    <a:pt x="450" y="2036"/>
                  </a:lnTo>
                  <a:lnTo>
                    <a:pt x="446" y="2034"/>
                  </a:lnTo>
                  <a:lnTo>
                    <a:pt x="444" y="2032"/>
                  </a:lnTo>
                  <a:lnTo>
                    <a:pt x="448" y="2030"/>
                  </a:lnTo>
                  <a:lnTo>
                    <a:pt x="456" y="2030"/>
                  </a:lnTo>
                  <a:lnTo>
                    <a:pt x="458" y="2028"/>
                  </a:lnTo>
                  <a:lnTo>
                    <a:pt x="460" y="2026"/>
                  </a:lnTo>
                  <a:lnTo>
                    <a:pt x="460" y="2020"/>
                  </a:lnTo>
                  <a:lnTo>
                    <a:pt x="458" y="2020"/>
                  </a:lnTo>
                  <a:lnTo>
                    <a:pt x="456" y="2020"/>
                  </a:lnTo>
                  <a:lnTo>
                    <a:pt x="458" y="2016"/>
                  </a:lnTo>
                  <a:lnTo>
                    <a:pt x="462" y="2014"/>
                  </a:lnTo>
                  <a:lnTo>
                    <a:pt x="464" y="2014"/>
                  </a:lnTo>
                  <a:lnTo>
                    <a:pt x="472" y="2014"/>
                  </a:lnTo>
                  <a:lnTo>
                    <a:pt x="476" y="2014"/>
                  </a:lnTo>
                  <a:lnTo>
                    <a:pt x="476" y="2012"/>
                  </a:lnTo>
                  <a:lnTo>
                    <a:pt x="474" y="2010"/>
                  </a:lnTo>
                  <a:lnTo>
                    <a:pt x="474" y="2008"/>
                  </a:lnTo>
                  <a:lnTo>
                    <a:pt x="474" y="2006"/>
                  </a:lnTo>
                  <a:lnTo>
                    <a:pt x="482" y="2000"/>
                  </a:lnTo>
                  <a:lnTo>
                    <a:pt x="486" y="1996"/>
                  </a:lnTo>
                  <a:lnTo>
                    <a:pt x="490" y="1990"/>
                  </a:lnTo>
                  <a:lnTo>
                    <a:pt x="494" y="1982"/>
                  </a:lnTo>
                  <a:lnTo>
                    <a:pt x="494" y="1970"/>
                  </a:lnTo>
                  <a:close/>
                  <a:moveTo>
                    <a:pt x="662" y="1344"/>
                  </a:moveTo>
                  <a:lnTo>
                    <a:pt x="662" y="1344"/>
                  </a:lnTo>
                  <a:lnTo>
                    <a:pt x="660" y="1344"/>
                  </a:lnTo>
                  <a:lnTo>
                    <a:pt x="656" y="1346"/>
                  </a:lnTo>
                  <a:lnTo>
                    <a:pt x="656" y="1350"/>
                  </a:lnTo>
                  <a:lnTo>
                    <a:pt x="656" y="1354"/>
                  </a:lnTo>
                  <a:lnTo>
                    <a:pt x="660" y="1354"/>
                  </a:lnTo>
                  <a:lnTo>
                    <a:pt x="662" y="1352"/>
                  </a:lnTo>
                  <a:lnTo>
                    <a:pt x="664" y="1348"/>
                  </a:lnTo>
                  <a:lnTo>
                    <a:pt x="664" y="1346"/>
                  </a:lnTo>
                  <a:lnTo>
                    <a:pt x="662" y="1344"/>
                  </a:lnTo>
                  <a:close/>
                  <a:moveTo>
                    <a:pt x="652" y="1354"/>
                  </a:moveTo>
                  <a:lnTo>
                    <a:pt x="652" y="1354"/>
                  </a:lnTo>
                  <a:lnTo>
                    <a:pt x="650" y="1352"/>
                  </a:lnTo>
                  <a:lnTo>
                    <a:pt x="648" y="1352"/>
                  </a:lnTo>
                  <a:lnTo>
                    <a:pt x="646" y="1352"/>
                  </a:lnTo>
                  <a:lnTo>
                    <a:pt x="644" y="1356"/>
                  </a:lnTo>
                  <a:lnTo>
                    <a:pt x="646" y="1358"/>
                  </a:lnTo>
                  <a:lnTo>
                    <a:pt x="648" y="1358"/>
                  </a:lnTo>
                  <a:lnTo>
                    <a:pt x="652" y="1356"/>
                  </a:lnTo>
                  <a:lnTo>
                    <a:pt x="652" y="1354"/>
                  </a:lnTo>
                  <a:close/>
                  <a:moveTo>
                    <a:pt x="150" y="1398"/>
                  </a:moveTo>
                  <a:lnTo>
                    <a:pt x="150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6"/>
                  </a:lnTo>
                  <a:lnTo>
                    <a:pt x="144" y="1398"/>
                  </a:lnTo>
                  <a:lnTo>
                    <a:pt x="146" y="1402"/>
                  </a:lnTo>
                  <a:lnTo>
                    <a:pt x="152" y="1410"/>
                  </a:lnTo>
                  <a:lnTo>
                    <a:pt x="154" y="1412"/>
                  </a:lnTo>
                  <a:lnTo>
                    <a:pt x="156" y="1412"/>
                  </a:lnTo>
                  <a:lnTo>
                    <a:pt x="158" y="1412"/>
                  </a:lnTo>
                  <a:lnTo>
                    <a:pt x="156" y="1410"/>
                  </a:lnTo>
                  <a:lnTo>
                    <a:pt x="154" y="1404"/>
                  </a:lnTo>
                  <a:lnTo>
                    <a:pt x="154" y="1400"/>
                  </a:lnTo>
                  <a:lnTo>
                    <a:pt x="150" y="1398"/>
                  </a:lnTo>
                  <a:close/>
                  <a:moveTo>
                    <a:pt x="732" y="1304"/>
                  </a:moveTo>
                  <a:lnTo>
                    <a:pt x="732" y="1304"/>
                  </a:lnTo>
                  <a:lnTo>
                    <a:pt x="734" y="1302"/>
                  </a:lnTo>
                  <a:lnTo>
                    <a:pt x="732" y="1300"/>
                  </a:lnTo>
                  <a:lnTo>
                    <a:pt x="730" y="1298"/>
                  </a:lnTo>
                  <a:lnTo>
                    <a:pt x="728" y="1300"/>
                  </a:lnTo>
                  <a:lnTo>
                    <a:pt x="726" y="1302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0" y="1302"/>
                  </a:lnTo>
                  <a:lnTo>
                    <a:pt x="720" y="1304"/>
                  </a:lnTo>
                  <a:lnTo>
                    <a:pt x="724" y="1306"/>
                  </a:lnTo>
                  <a:lnTo>
                    <a:pt x="732" y="1304"/>
                  </a:lnTo>
                  <a:close/>
                  <a:moveTo>
                    <a:pt x="618" y="1384"/>
                  </a:moveTo>
                  <a:lnTo>
                    <a:pt x="618" y="1384"/>
                  </a:lnTo>
                  <a:lnTo>
                    <a:pt x="622" y="1384"/>
                  </a:lnTo>
                  <a:lnTo>
                    <a:pt x="626" y="1382"/>
                  </a:lnTo>
                  <a:lnTo>
                    <a:pt x="628" y="1380"/>
                  </a:lnTo>
                  <a:lnTo>
                    <a:pt x="628" y="1378"/>
                  </a:lnTo>
                  <a:lnTo>
                    <a:pt x="622" y="1378"/>
                  </a:lnTo>
                  <a:lnTo>
                    <a:pt x="618" y="1378"/>
                  </a:lnTo>
                  <a:lnTo>
                    <a:pt x="616" y="1380"/>
                  </a:lnTo>
                  <a:lnTo>
                    <a:pt x="618" y="1384"/>
                  </a:lnTo>
                  <a:close/>
                  <a:moveTo>
                    <a:pt x="620" y="1456"/>
                  </a:moveTo>
                  <a:lnTo>
                    <a:pt x="620" y="1456"/>
                  </a:lnTo>
                  <a:lnTo>
                    <a:pt x="616" y="1454"/>
                  </a:lnTo>
                  <a:lnTo>
                    <a:pt x="618" y="1456"/>
                  </a:lnTo>
                  <a:lnTo>
                    <a:pt x="622" y="1462"/>
                  </a:lnTo>
                  <a:lnTo>
                    <a:pt x="624" y="1462"/>
                  </a:lnTo>
                  <a:lnTo>
                    <a:pt x="626" y="1464"/>
                  </a:lnTo>
                  <a:lnTo>
                    <a:pt x="624" y="1462"/>
                  </a:lnTo>
                  <a:lnTo>
                    <a:pt x="622" y="1458"/>
                  </a:lnTo>
                  <a:lnTo>
                    <a:pt x="620" y="1456"/>
                  </a:lnTo>
                  <a:close/>
                  <a:moveTo>
                    <a:pt x="630" y="1474"/>
                  </a:moveTo>
                  <a:lnTo>
                    <a:pt x="630" y="1474"/>
                  </a:lnTo>
                  <a:lnTo>
                    <a:pt x="626" y="1468"/>
                  </a:lnTo>
                  <a:lnTo>
                    <a:pt x="622" y="1466"/>
                  </a:lnTo>
                  <a:lnTo>
                    <a:pt x="622" y="1468"/>
                  </a:lnTo>
                  <a:lnTo>
                    <a:pt x="626" y="1474"/>
                  </a:lnTo>
                  <a:lnTo>
                    <a:pt x="628" y="1476"/>
                  </a:lnTo>
                  <a:lnTo>
                    <a:pt x="630" y="1474"/>
                  </a:lnTo>
                  <a:close/>
                  <a:moveTo>
                    <a:pt x="624" y="1490"/>
                  </a:moveTo>
                  <a:lnTo>
                    <a:pt x="624" y="1490"/>
                  </a:lnTo>
                  <a:lnTo>
                    <a:pt x="626" y="1490"/>
                  </a:lnTo>
                  <a:lnTo>
                    <a:pt x="626" y="1486"/>
                  </a:lnTo>
                  <a:lnTo>
                    <a:pt x="624" y="1476"/>
                  </a:lnTo>
                  <a:lnTo>
                    <a:pt x="622" y="1474"/>
                  </a:lnTo>
                  <a:lnTo>
                    <a:pt x="622" y="1476"/>
                  </a:lnTo>
                  <a:lnTo>
                    <a:pt x="622" y="1480"/>
                  </a:lnTo>
                  <a:lnTo>
                    <a:pt x="622" y="1486"/>
                  </a:lnTo>
                  <a:lnTo>
                    <a:pt x="622" y="1490"/>
                  </a:lnTo>
                  <a:lnTo>
                    <a:pt x="624" y="1490"/>
                  </a:lnTo>
                  <a:close/>
                  <a:moveTo>
                    <a:pt x="302" y="1578"/>
                  </a:moveTo>
                  <a:lnTo>
                    <a:pt x="302" y="1578"/>
                  </a:lnTo>
                  <a:lnTo>
                    <a:pt x="300" y="1580"/>
                  </a:lnTo>
                  <a:lnTo>
                    <a:pt x="300" y="1582"/>
                  </a:lnTo>
                  <a:lnTo>
                    <a:pt x="302" y="1582"/>
                  </a:lnTo>
                  <a:lnTo>
                    <a:pt x="304" y="1584"/>
                  </a:lnTo>
                  <a:lnTo>
                    <a:pt x="306" y="1582"/>
                  </a:lnTo>
                  <a:lnTo>
                    <a:pt x="306" y="1580"/>
                  </a:lnTo>
                  <a:lnTo>
                    <a:pt x="304" y="1578"/>
                  </a:lnTo>
                  <a:lnTo>
                    <a:pt x="302" y="1578"/>
                  </a:lnTo>
                  <a:close/>
                  <a:moveTo>
                    <a:pt x="160" y="1386"/>
                  </a:moveTo>
                  <a:lnTo>
                    <a:pt x="160" y="1386"/>
                  </a:lnTo>
                  <a:lnTo>
                    <a:pt x="158" y="1382"/>
                  </a:lnTo>
                  <a:lnTo>
                    <a:pt x="154" y="1378"/>
                  </a:lnTo>
                  <a:lnTo>
                    <a:pt x="150" y="1378"/>
                  </a:lnTo>
                  <a:lnTo>
                    <a:pt x="148" y="1378"/>
                  </a:lnTo>
                  <a:lnTo>
                    <a:pt x="148" y="1380"/>
                  </a:lnTo>
                  <a:lnTo>
                    <a:pt x="148" y="1382"/>
                  </a:lnTo>
                  <a:lnTo>
                    <a:pt x="152" y="1384"/>
                  </a:lnTo>
                  <a:lnTo>
                    <a:pt x="156" y="1386"/>
                  </a:lnTo>
                  <a:lnTo>
                    <a:pt x="160" y="1386"/>
                  </a:lnTo>
                  <a:close/>
                  <a:moveTo>
                    <a:pt x="320" y="1546"/>
                  </a:moveTo>
                  <a:lnTo>
                    <a:pt x="320" y="1546"/>
                  </a:lnTo>
                  <a:lnTo>
                    <a:pt x="318" y="1546"/>
                  </a:lnTo>
                  <a:lnTo>
                    <a:pt x="316" y="1546"/>
                  </a:lnTo>
                  <a:lnTo>
                    <a:pt x="314" y="1548"/>
                  </a:lnTo>
                  <a:lnTo>
                    <a:pt x="312" y="1552"/>
                  </a:lnTo>
                  <a:lnTo>
                    <a:pt x="314" y="1552"/>
                  </a:lnTo>
                  <a:lnTo>
                    <a:pt x="318" y="1552"/>
                  </a:lnTo>
                  <a:lnTo>
                    <a:pt x="318" y="1550"/>
                  </a:lnTo>
                  <a:lnTo>
                    <a:pt x="320" y="1548"/>
                  </a:lnTo>
                  <a:lnTo>
                    <a:pt x="322" y="1546"/>
                  </a:lnTo>
                  <a:lnTo>
                    <a:pt x="320" y="1546"/>
                  </a:lnTo>
                  <a:close/>
                  <a:moveTo>
                    <a:pt x="354" y="1486"/>
                  </a:moveTo>
                  <a:lnTo>
                    <a:pt x="354" y="1486"/>
                  </a:lnTo>
                  <a:lnTo>
                    <a:pt x="356" y="1488"/>
                  </a:lnTo>
                  <a:lnTo>
                    <a:pt x="356" y="1490"/>
                  </a:lnTo>
                  <a:lnTo>
                    <a:pt x="358" y="1488"/>
                  </a:lnTo>
                  <a:lnTo>
                    <a:pt x="362" y="1490"/>
                  </a:lnTo>
                  <a:lnTo>
                    <a:pt x="364" y="1492"/>
                  </a:lnTo>
                  <a:lnTo>
                    <a:pt x="364" y="1490"/>
                  </a:lnTo>
                  <a:lnTo>
                    <a:pt x="366" y="1488"/>
                  </a:lnTo>
                  <a:lnTo>
                    <a:pt x="370" y="1490"/>
                  </a:lnTo>
                  <a:lnTo>
                    <a:pt x="372" y="1492"/>
                  </a:lnTo>
                  <a:lnTo>
                    <a:pt x="372" y="1494"/>
                  </a:lnTo>
                  <a:lnTo>
                    <a:pt x="370" y="1500"/>
                  </a:lnTo>
                  <a:lnTo>
                    <a:pt x="368" y="1506"/>
                  </a:lnTo>
                  <a:lnTo>
                    <a:pt x="368" y="1508"/>
                  </a:lnTo>
                  <a:lnTo>
                    <a:pt x="370" y="1512"/>
                  </a:lnTo>
                  <a:lnTo>
                    <a:pt x="372" y="1512"/>
                  </a:lnTo>
                  <a:lnTo>
                    <a:pt x="372" y="1510"/>
                  </a:lnTo>
                  <a:lnTo>
                    <a:pt x="374" y="1502"/>
                  </a:lnTo>
                  <a:lnTo>
                    <a:pt x="376" y="1496"/>
                  </a:lnTo>
                  <a:lnTo>
                    <a:pt x="374" y="1490"/>
                  </a:lnTo>
                  <a:lnTo>
                    <a:pt x="374" y="1488"/>
                  </a:lnTo>
                  <a:lnTo>
                    <a:pt x="376" y="1484"/>
                  </a:lnTo>
                  <a:lnTo>
                    <a:pt x="380" y="1476"/>
                  </a:lnTo>
                  <a:lnTo>
                    <a:pt x="380" y="1472"/>
                  </a:lnTo>
                  <a:lnTo>
                    <a:pt x="378" y="1474"/>
                  </a:lnTo>
                  <a:lnTo>
                    <a:pt x="376" y="1476"/>
                  </a:lnTo>
                  <a:lnTo>
                    <a:pt x="376" y="1474"/>
                  </a:lnTo>
                  <a:lnTo>
                    <a:pt x="376" y="1472"/>
                  </a:lnTo>
                  <a:lnTo>
                    <a:pt x="374" y="1470"/>
                  </a:lnTo>
                  <a:lnTo>
                    <a:pt x="372" y="1470"/>
                  </a:lnTo>
                  <a:lnTo>
                    <a:pt x="372" y="1472"/>
                  </a:lnTo>
                  <a:lnTo>
                    <a:pt x="370" y="1474"/>
                  </a:lnTo>
                  <a:lnTo>
                    <a:pt x="370" y="1472"/>
                  </a:lnTo>
                  <a:lnTo>
                    <a:pt x="370" y="1462"/>
                  </a:lnTo>
                  <a:lnTo>
                    <a:pt x="370" y="1460"/>
                  </a:lnTo>
                  <a:lnTo>
                    <a:pt x="368" y="1460"/>
                  </a:lnTo>
                  <a:lnTo>
                    <a:pt x="364" y="1464"/>
                  </a:lnTo>
                  <a:lnTo>
                    <a:pt x="358" y="1468"/>
                  </a:lnTo>
                  <a:lnTo>
                    <a:pt x="358" y="1470"/>
                  </a:lnTo>
                  <a:lnTo>
                    <a:pt x="364" y="1474"/>
                  </a:lnTo>
                  <a:lnTo>
                    <a:pt x="368" y="1476"/>
                  </a:lnTo>
                  <a:lnTo>
                    <a:pt x="368" y="1480"/>
                  </a:lnTo>
                  <a:lnTo>
                    <a:pt x="366" y="1482"/>
                  </a:lnTo>
                  <a:lnTo>
                    <a:pt x="360" y="1482"/>
                  </a:lnTo>
                  <a:lnTo>
                    <a:pt x="356" y="1482"/>
                  </a:lnTo>
                  <a:lnTo>
                    <a:pt x="356" y="1484"/>
                  </a:lnTo>
                  <a:lnTo>
                    <a:pt x="354" y="1486"/>
                  </a:lnTo>
                  <a:close/>
                  <a:moveTo>
                    <a:pt x="312" y="1560"/>
                  </a:moveTo>
                  <a:lnTo>
                    <a:pt x="312" y="1560"/>
                  </a:lnTo>
                  <a:lnTo>
                    <a:pt x="312" y="1562"/>
                  </a:lnTo>
                  <a:lnTo>
                    <a:pt x="314" y="1562"/>
                  </a:lnTo>
                  <a:lnTo>
                    <a:pt x="318" y="1560"/>
                  </a:lnTo>
                  <a:lnTo>
                    <a:pt x="316" y="1558"/>
                  </a:lnTo>
                  <a:lnTo>
                    <a:pt x="314" y="1556"/>
                  </a:lnTo>
                  <a:lnTo>
                    <a:pt x="312" y="1560"/>
                  </a:lnTo>
                  <a:close/>
                  <a:moveTo>
                    <a:pt x="744" y="1294"/>
                  </a:moveTo>
                  <a:lnTo>
                    <a:pt x="744" y="1294"/>
                  </a:lnTo>
                  <a:lnTo>
                    <a:pt x="746" y="1296"/>
                  </a:lnTo>
                  <a:lnTo>
                    <a:pt x="748" y="1296"/>
                  </a:lnTo>
                  <a:lnTo>
                    <a:pt x="750" y="1294"/>
                  </a:lnTo>
                  <a:lnTo>
                    <a:pt x="752" y="1292"/>
                  </a:lnTo>
                  <a:lnTo>
                    <a:pt x="748" y="1288"/>
                  </a:lnTo>
                  <a:lnTo>
                    <a:pt x="746" y="1288"/>
                  </a:lnTo>
                  <a:lnTo>
                    <a:pt x="744" y="1290"/>
                  </a:lnTo>
                  <a:lnTo>
                    <a:pt x="744" y="1294"/>
                  </a:lnTo>
                  <a:close/>
                  <a:moveTo>
                    <a:pt x="380" y="1462"/>
                  </a:moveTo>
                  <a:lnTo>
                    <a:pt x="380" y="1462"/>
                  </a:lnTo>
                  <a:lnTo>
                    <a:pt x="382" y="1460"/>
                  </a:lnTo>
                  <a:lnTo>
                    <a:pt x="382" y="1456"/>
                  </a:lnTo>
                  <a:lnTo>
                    <a:pt x="382" y="1454"/>
                  </a:lnTo>
                  <a:lnTo>
                    <a:pt x="380" y="1454"/>
                  </a:lnTo>
                  <a:lnTo>
                    <a:pt x="378" y="1454"/>
                  </a:lnTo>
                  <a:lnTo>
                    <a:pt x="378" y="1456"/>
                  </a:lnTo>
                  <a:lnTo>
                    <a:pt x="376" y="1460"/>
                  </a:lnTo>
                  <a:lnTo>
                    <a:pt x="374" y="1462"/>
                  </a:lnTo>
                  <a:lnTo>
                    <a:pt x="376" y="1468"/>
                  </a:lnTo>
                  <a:lnTo>
                    <a:pt x="378" y="1468"/>
                  </a:lnTo>
                  <a:lnTo>
                    <a:pt x="378" y="1466"/>
                  </a:lnTo>
                  <a:lnTo>
                    <a:pt x="380" y="1464"/>
                  </a:lnTo>
                  <a:lnTo>
                    <a:pt x="380" y="1462"/>
                  </a:lnTo>
                  <a:close/>
                  <a:moveTo>
                    <a:pt x="134" y="1090"/>
                  </a:moveTo>
                  <a:lnTo>
                    <a:pt x="134" y="1090"/>
                  </a:lnTo>
                  <a:lnTo>
                    <a:pt x="148" y="1086"/>
                  </a:lnTo>
                  <a:lnTo>
                    <a:pt x="158" y="1086"/>
                  </a:lnTo>
                  <a:lnTo>
                    <a:pt x="190" y="1088"/>
                  </a:lnTo>
                  <a:lnTo>
                    <a:pt x="200" y="1088"/>
                  </a:lnTo>
                  <a:lnTo>
                    <a:pt x="202" y="1090"/>
                  </a:lnTo>
                  <a:lnTo>
                    <a:pt x="202" y="1092"/>
                  </a:lnTo>
                  <a:lnTo>
                    <a:pt x="198" y="1094"/>
                  </a:lnTo>
                  <a:lnTo>
                    <a:pt x="186" y="1100"/>
                  </a:lnTo>
                  <a:lnTo>
                    <a:pt x="182" y="1104"/>
                  </a:lnTo>
                  <a:lnTo>
                    <a:pt x="180" y="1108"/>
                  </a:lnTo>
                  <a:lnTo>
                    <a:pt x="182" y="1110"/>
                  </a:lnTo>
                  <a:lnTo>
                    <a:pt x="186" y="1112"/>
                  </a:lnTo>
                  <a:lnTo>
                    <a:pt x="196" y="1112"/>
                  </a:lnTo>
                  <a:lnTo>
                    <a:pt x="204" y="1114"/>
                  </a:lnTo>
                  <a:lnTo>
                    <a:pt x="198" y="1118"/>
                  </a:lnTo>
                  <a:lnTo>
                    <a:pt x="190" y="1120"/>
                  </a:lnTo>
                  <a:lnTo>
                    <a:pt x="182" y="1120"/>
                  </a:lnTo>
                  <a:lnTo>
                    <a:pt x="174" y="1118"/>
                  </a:lnTo>
                  <a:lnTo>
                    <a:pt x="166" y="1116"/>
                  </a:lnTo>
                  <a:lnTo>
                    <a:pt x="162" y="1116"/>
                  </a:lnTo>
                  <a:lnTo>
                    <a:pt x="156" y="1120"/>
                  </a:lnTo>
                  <a:lnTo>
                    <a:pt x="150" y="1122"/>
                  </a:lnTo>
                  <a:lnTo>
                    <a:pt x="144" y="1124"/>
                  </a:lnTo>
                  <a:lnTo>
                    <a:pt x="132" y="1124"/>
                  </a:lnTo>
                  <a:lnTo>
                    <a:pt x="122" y="1126"/>
                  </a:lnTo>
                  <a:lnTo>
                    <a:pt x="120" y="1130"/>
                  </a:lnTo>
                  <a:lnTo>
                    <a:pt x="120" y="1132"/>
                  </a:lnTo>
                  <a:lnTo>
                    <a:pt x="122" y="1136"/>
                  </a:lnTo>
                  <a:lnTo>
                    <a:pt x="124" y="1138"/>
                  </a:lnTo>
                  <a:lnTo>
                    <a:pt x="134" y="1136"/>
                  </a:lnTo>
                  <a:lnTo>
                    <a:pt x="152" y="1134"/>
                  </a:lnTo>
                  <a:lnTo>
                    <a:pt x="162" y="1134"/>
                  </a:lnTo>
                  <a:lnTo>
                    <a:pt x="174" y="1136"/>
                  </a:lnTo>
                  <a:lnTo>
                    <a:pt x="180" y="1138"/>
                  </a:lnTo>
                  <a:lnTo>
                    <a:pt x="184" y="1140"/>
                  </a:lnTo>
                  <a:lnTo>
                    <a:pt x="186" y="1142"/>
                  </a:lnTo>
                  <a:lnTo>
                    <a:pt x="186" y="1146"/>
                  </a:lnTo>
                  <a:lnTo>
                    <a:pt x="186" y="1152"/>
                  </a:lnTo>
                  <a:lnTo>
                    <a:pt x="188" y="1154"/>
                  </a:lnTo>
                  <a:lnTo>
                    <a:pt x="190" y="1156"/>
                  </a:lnTo>
                  <a:lnTo>
                    <a:pt x="198" y="1160"/>
                  </a:lnTo>
                  <a:lnTo>
                    <a:pt x="202" y="1166"/>
                  </a:lnTo>
                  <a:lnTo>
                    <a:pt x="202" y="1174"/>
                  </a:lnTo>
                  <a:lnTo>
                    <a:pt x="198" y="1184"/>
                  </a:lnTo>
                  <a:lnTo>
                    <a:pt x="196" y="1186"/>
                  </a:lnTo>
                  <a:lnTo>
                    <a:pt x="190" y="1186"/>
                  </a:lnTo>
                  <a:lnTo>
                    <a:pt x="180" y="1184"/>
                  </a:lnTo>
                  <a:lnTo>
                    <a:pt x="172" y="1184"/>
                  </a:lnTo>
                  <a:lnTo>
                    <a:pt x="170" y="1186"/>
                  </a:lnTo>
                  <a:lnTo>
                    <a:pt x="170" y="1190"/>
                  </a:lnTo>
                  <a:lnTo>
                    <a:pt x="172" y="1196"/>
                  </a:lnTo>
                  <a:lnTo>
                    <a:pt x="174" y="1198"/>
                  </a:lnTo>
                  <a:lnTo>
                    <a:pt x="176" y="1200"/>
                  </a:lnTo>
                  <a:lnTo>
                    <a:pt x="182" y="1202"/>
                  </a:lnTo>
                  <a:lnTo>
                    <a:pt x="196" y="1202"/>
                  </a:lnTo>
                  <a:lnTo>
                    <a:pt x="220" y="1200"/>
                  </a:lnTo>
                  <a:lnTo>
                    <a:pt x="232" y="1200"/>
                  </a:lnTo>
                  <a:lnTo>
                    <a:pt x="242" y="1202"/>
                  </a:lnTo>
                  <a:lnTo>
                    <a:pt x="252" y="1206"/>
                  </a:lnTo>
                  <a:lnTo>
                    <a:pt x="260" y="1208"/>
                  </a:lnTo>
                  <a:lnTo>
                    <a:pt x="274" y="1216"/>
                  </a:lnTo>
                  <a:lnTo>
                    <a:pt x="282" y="1218"/>
                  </a:lnTo>
                  <a:lnTo>
                    <a:pt x="292" y="1220"/>
                  </a:lnTo>
                  <a:lnTo>
                    <a:pt x="300" y="1220"/>
                  </a:lnTo>
                  <a:lnTo>
                    <a:pt x="308" y="1224"/>
                  </a:lnTo>
                  <a:lnTo>
                    <a:pt x="318" y="1228"/>
                  </a:lnTo>
                  <a:lnTo>
                    <a:pt x="322" y="1230"/>
                  </a:lnTo>
                  <a:lnTo>
                    <a:pt x="328" y="1232"/>
                  </a:lnTo>
                  <a:lnTo>
                    <a:pt x="336" y="1232"/>
                  </a:lnTo>
                  <a:lnTo>
                    <a:pt x="346" y="1230"/>
                  </a:lnTo>
                  <a:lnTo>
                    <a:pt x="356" y="1226"/>
                  </a:lnTo>
                  <a:lnTo>
                    <a:pt x="362" y="1222"/>
                  </a:lnTo>
                  <a:lnTo>
                    <a:pt x="368" y="1214"/>
                  </a:lnTo>
                  <a:lnTo>
                    <a:pt x="370" y="1210"/>
                  </a:lnTo>
                  <a:lnTo>
                    <a:pt x="374" y="1206"/>
                  </a:lnTo>
                  <a:lnTo>
                    <a:pt x="380" y="1206"/>
                  </a:lnTo>
                  <a:lnTo>
                    <a:pt x="388" y="1206"/>
                  </a:lnTo>
                  <a:lnTo>
                    <a:pt x="396" y="1204"/>
                  </a:lnTo>
                  <a:lnTo>
                    <a:pt x="404" y="1204"/>
                  </a:lnTo>
                  <a:lnTo>
                    <a:pt x="418" y="1198"/>
                  </a:lnTo>
                  <a:lnTo>
                    <a:pt x="452" y="1176"/>
                  </a:lnTo>
                  <a:lnTo>
                    <a:pt x="462" y="1172"/>
                  </a:lnTo>
                  <a:lnTo>
                    <a:pt x="470" y="1170"/>
                  </a:lnTo>
                  <a:lnTo>
                    <a:pt x="484" y="1168"/>
                  </a:lnTo>
                  <a:lnTo>
                    <a:pt x="488" y="1166"/>
                  </a:lnTo>
                  <a:lnTo>
                    <a:pt x="494" y="1164"/>
                  </a:lnTo>
                  <a:lnTo>
                    <a:pt x="500" y="1160"/>
                  </a:lnTo>
                  <a:lnTo>
                    <a:pt x="504" y="1154"/>
                  </a:lnTo>
                  <a:lnTo>
                    <a:pt x="514" y="1142"/>
                  </a:lnTo>
                  <a:lnTo>
                    <a:pt x="522" y="1136"/>
                  </a:lnTo>
                  <a:lnTo>
                    <a:pt x="528" y="1134"/>
                  </a:lnTo>
                  <a:lnTo>
                    <a:pt x="534" y="1126"/>
                  </a:lnTo>
                  <a:lnTo>
                    <a:pt x="540" y="1112"/>
                  </a:lnTo>
                  <a:lnTo>
                    <a:pt x="542" y="1104"/>
                  </a:lnTo>
                  <a:lnTo>
                    <a:pt x="542" y="1098"/>
                  </a:lnTo>
                  <a:lnTo>
                    <a:pt x="542" y="1090"/>
                  </a:lnTo>
                  <a:lnTo>
                    <a:pt x="538" y="1086"/>
                  </a:lnTo>
                  <a:lnTo>
                    <a:pt x="532" y="1082"/>
                  </a:lnTo>
                  <a:lnTo>
                    <a:pt x="526" y="1080"/>
                  </a:lnTo>
                  <a:lnTo>
                    <a:pt x="518" y="1078"/>
                  </a:lnTo>
                  <a:lnTo>
                    <a:pt x="514" y="1076"/>
                  </a:lnTo>
                  <a:lnTo>
                    <a:pt x="510" y="1072"/>
                  </a:lnTo>
                  <a:lnTo>
                    <a:pt x="506" y="1068"/>
                  </a:lnTo>
                  <a:lnTo>
                    <a:pt x="502" y="1066"/>
                  </a:lnTo>
                  <a:lnTo>
                    <a:pt x="496" y="1068"/>
                  </a:lnTo>
                  <a:lnTo>
                    <a:pt x="494" y="1066"/>
                  </a:lnTo>
                  <a:lnTo>
                    <a:pt x="492" y="1064"/>
                  </a:lnTo>
                  <a:lnTo>
                    <a:pt x="496" y="1058"/>
                  </a:lnTo>
                  <a:lnTo>
                    <a:pt x="500" y="1052"/>
                  </a:lnTo>
                  <a:lnTo>
                    <a:pt x="500" y="1048"/>
                  </a:lnTo>
                  <a:lnTo>
                    <a:pt x="496" y="1046"/>
                  </a:lnTo>
                  <a:lnTo>
                    <a:pt x="492" y="1046"/>
                  </a:lnTo>
                  <a:lnTo>
                    <a:pt x="486" y="1044"/>
                  </a:lnTo>
                  <a:lnTo>
                    <a:pt x="484" y="1044"/>
                  </a:lnTo>
                  <a:lnTo>
                    <a:pt x="484" y="1040"/>
                  </a:lnTo>
                  <a:lnTo>
                    <a:pt x="488" y="1036"/>
                  </a:lnTo>
                  <a:lnTo>
                    <a:pt x="500" y="1028"/>
                  </a:lnTo>
                  <a:lnTo>
                    <a:pt x="500" y="1024"/>
                  </a:lnTo>
                  <a:lnTo>
                    <a:pt x="500" y="1022"/>
                  </a:lnTo>
                  <a:lnTo>
                    <a:pt x="494" y="1022"/>
                  </a:lnTo>
                  <a:lnTo>
                    <a:pt x="484" y="1026"/>
                  </a:lnTo>
                  <a:lnTo>
                    <a:pt x="474" y="1032"/>
                  </a:lnTo>
                  <a:lnTo>
                    <a:pt x="466" y="1036"/>
                  </a:lnTo>
                  <a:lnTo>
                    <a:pt x="462" y="1036"/>
                  </a:lnTo>
                  <a:lnTo>
                    <a:pt x="460" y="1034"/>
                  </a:lnTo>
                  <a:lnTo>
                    <a:pt x="456" y="1028"/>
                  </a:lnTo>
                  <a:lnTo>
                    <a:pt x="450" y="1020"/>
                  </a:lnTo>
                  <a:lnTo>
                    <a:pt x="446" y="1016"/>
                  </a:lnTo>
                  <a:lnTo>
                    <a:pt x="442" y="1012"/>
                  </a:lnTo>
                  <a:lnTo>
                    <a:pt x="436" y="1012"/>
                  </a:lnTo>
                  <a:lnTo>
                    <a:pt x="430" y="1012"/>
                  </a:lnTo>
                  <a:lnTo>
                    <a:pt x="424" y="1014"/>
                  </a:lnTo>
                  <a:lnTo>
                    <a:pt x="420" y="1018"/>
                  </a:lnTo>
                  <a:lnTo>
                    <a:pt x="418" y="1022"/>
                  </a:lnTo>
                  <a:lnTo>
                    <a:pt x="420" y="1026"/>
                  </a:lnTo>
                  <a:lnTo>
                    <a:pt x="424" y="1034"/>
                  </a:lnTo>
                  <a:lnTo>
                    <a:pt x="424" y="1038"/>
                  </a:lnTo>
                  <a:lnTo>
                    <a:pt x="424" y="1040"/>
                  </a:lnTo>
                  <a:lnTo>
                    <a:pt x="420" y="1042"/>
                  </a:lnTo>
                  <a:lnTo>
                    <a:pt x="418" y="1042"/>
                  </a:lnTo>
                  <a:lnTo>
                    <a:pt x="406" y="1038"/>
                  </a:lnTo>
                  <a:lnTo>
                    <a:pt x="402" y="1036"/>
                  </a:lnTo>
                  <a:lnTo>
                    <a:pt x="396" y="1038"/>
                  </a:lnTo>
                  <a:lnTo>
                    <a:pt x="390" y="1046"/>
                  </a:lnTo>
                  <a:lnTo>
                    <a:pt x="386" y="1050"/>
                  </a:lnTo>
                  <a:lnTo>
                    <a:pt x="382" y="1052"/>
                  </a:lnTo>
                  <a:lnTo>
                    <a:pt x="378" y="1052"/>
                  </a:lnTo>
                  <a:lnTo>
                    <a:pt x="374" y="1048"/>
                  </a:lnTo>
                  <a:lnTo>
                    <a:pt x="362" y="1038"/>
                  </a:lnTo>
                  <a:lnTo>
                    <a:pt x="358" y="1038"/>
                  </a:lnTo>
                  <a:lnTo>
                    <a:pt x="356" y="1038"/>
                  </a:lnTo>
                  <a:lnTo>
                    <a:pt x="354" y="1038"/>
                  </a:lnTo>
                  <a:lnTo>
                    <a:pt x="352" y="1042"/>
                  </a:lnTo>
                  <a:lnTo>
                    <a:pt x="352" y="1052"/>
                  </a:lnTo>
                  <a:lnTo>
                    <a:pt x="352" y="1056"/>
                  </a:lnTo>
                  <a:lnTo>
                    <a:pt x="350" y="1058"/>
                  </a:lnTo>
                  <a:lnTo>
                    <a:pt x="350" y="1060"/>
                  </a:lnTo>
                  <a:lnTo>
                    <a:pt x="346" y="1058"/>
                  </a:lnTo>
                  <a:lnTo>
                    <a:pt x="342" y="1052"/>
                  </a:lnTo>
                  <a:lnTo>
                    <a:pt x="338" y="1042"/>
                  </a:lnTo>
                  <a:lnTo>
                    <a:pt x="336" y="1038"/>
                  </a:lnTo>
                  <a:lnTo>
                    <a:pt x="330" y="1036"/>
                  </a:lnTo>
                  <a:lnTo>
                    <a:pt x="326" y="1036"/>
                  </a:lnTo>
                  <a:lnTo>
                    <a:pt x="320" y="1038"/>
                  </a:lnTo>
                  <a:lnTo>
                    <a:pt x="314" y="1042"/>
                  </a:lnTo>
                  <a:lnTo>
                    <a:pt x="308" y="1048"/>
                  </a:lnTo>
                  <a:lnTo>
                    <a:pt x="306" y="1054"/>
                  </a:lnTo>
                  <a:lnTo>
                    <a:pt x="306" y="1060"/>
                  </a:lnTo>
                  <a:lnTo>
                    <a:pt x="304" y="1070"/>
                  </a:lnTo>
                  <a:lnTo>
                    <a:pt x="304" y="1072"/>
                  </a:lnTo>
                  <a:lnTo>
                    <a:pt x="302" y="1072"/>
                  </a:lnTo>
                  <a:lnTo>
                    <a:pt x="294" y="1066"/>
                  </a:lnTo>
                  <a:lnTo>
                    <a:pt x="286" y="1052"/>
                  </a:lnTo>
                  <a:lnTo>
                    <a:pt x="280" y="1044"/>
                  </a:lnTo>
                  <a:lnTo>
                    <a:pt x="276" y="1042"/>
                  </a:lnTo>
                  <a:lnTo>
                    <a:pt x="272" y="1040"/>
                  </a:lnTo>
                  <a:lnTo>
                    <a:pt x="268" y="1042"/>
                  </a:lnTo>
                  <a:lnTo>
                    <a:pt x="266" y="1046"/>
                  </a:lnTo>
                  <a:lnTo>
                    <a:pt x="266" y="1052"/>
                  </a:lnTo>
                  <a:lnTo>
                    <a:pt x="266" y="1056"/>
                  </a:lnTo>
                  <a:lnTo>
                    <a:pt x="268" y="1062"/>
                  </a:lnTo>
                  <a:lnTo>
                    <a:pt x="270" y="1074"/>
                  </a:lnTo>
                  <a:lnTo>
                    <a:pt x="270" y="1078"/>
                  </a:lnTo>
                  <a:lnTo>
                    <a:pt x="270" y="1080"/>
                  </a:lnTo>
                  <a:lnTo>
                    <a:pt x="266" y="1082"/>
                  </a:lnTo>
                  <a:lnTo>
                    <a:pt x="264" y="1082"/>
                  </a:lnTo>
                  <a:lnTo>
                    <a:pt x="260" y="1080"/>
                  </a:lnTo>
                  <a:lnTo>
                    <a:pt x="256" y="1074"/>
                  </a:lnTo>
                  <a:lnTo>
                    <a:pt x="252" y="1070"/>
                  </a:lnTo>
                  <a:lnTo>
                    <a:pt x="248" y="1072"/>
                  </a:lnTo>
                  <a:lnTo>
                    <a:pt x="246" y="1076"/>
                  </a:lnTo>
                  <a:lnTo>
                    <a:pt x="242" y="1082"/>
                  </a:lnTo>
                  <a:lnTo>
                    <a:pt x="240" y="1088"/>
                  </a:lnTo>
                  <a:lnTo>
                    <a:pt x="236" y="1090"/>
                  </a:lnTo>
                  <a:lnTo>
                    <a:pt x="234" y="1092"/>
                  </a:lnTo>
                  <a:lnTo>
                    <a:pt x="232" y="1090"/>
                  </a:lnTo>
                  <a:lnTo>
                    <a:pt x="228" y="1084"/>
                  </a:lnTo>
                  <a:lnTo>
                    <a:pt x="226" y="1076"/>
                  </a:lnTo>
                  <a:lnTo>
                    <a:pt x="226" y="1070"/>
                  </a:lnTo>
                  <a:lnTo>
                    <a:pt x="228" y="1060"/>
                  </a:lnTo>
                  <a:lnTo>
                    <a:pt x="228" y="1058"/>
                  </a:lnTo>
                  <a:lnTo>
                    <a:pt x="228" y="1054"/>
                  </a:lnTo>
                  <a:lnTo>
                    <a:pt x="224" y="1050"/>
                  </a:lnTo>
                  <a:lnTo>
                    <a:pt x="216" y="1046"/>
                  </a:lnTo>
                  <a:lnTo>
                    <a:pt x="204" y="1036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4" y="1020"/>
                  </a:lnTo>
                  <a:lnTo>
                    <a:pt x="174" y="1018"/>
                  </a:lnTo>
                  <a:lnTo>
                    <a:pt x="168" y="1018"/>
                  </a:lnTo>
                  <a:lnTo>
                    <a:pt x="162" y="1018"/>
                  </a:lnTo>
                  <a:lnTo>
                    <a:pt x="158" y="1020"/>
                  </a:lnTo>
                  <a:lnTo>
                    <a:pt x="154" y="1024"/>
                  </a:lnTo>
                  <a:lnTo>
                    <a:pt x="152" y="1026"/>
                  </a:lnTo>
                  <a:lnTo>
                    <a:pt x="152" y="1030"/>
                  </a:lnTo>
                  <a:lnTo>
                    <a:pt x="154" y="1032"/>
                  </a:lnTo>
                  <a:lnTo>
                    <a:pt x="162" y="1038"/>
                  </a:lnTo>
                  <a:lnTo>
                    <a:pt x="170" y="1042"/>
                  </a:lnTo>
                  <a:lnTo>
                    <a:pt x="180" y="1048"/>
                  </a:lnTo>
                  <a:lnTo>
                    <a:pt x="186" y="1054"/>
                  </a:lnTo>
                  <a:lnTo>
                    <a:pt x="188" y="1058"/>
                  </a:lnTo>
                  <a:lnTo>
                    <a:pt x="186" y="1058"/>
                  </a:lnTo>
                  <a:lnTo>
                    <a:pt x="178" y="1056"/>
                  </a:lnTo>
                  <a:lnTo>
                    <a:pt x="166" y="1048"/>
                  </a:lnTo>
                  <a:lnTo>
                    <a:pt x="154" y="1040"/>
                  </a:lnTo>
                  <a:lnTo>
                    <a:pt x="148" y="1038"/>
                  </a:lnTo>
                  <a:lnTo>
                    <a:pt x="144" y="1036"/>
                  </a:lnTo>
                  <a:lnTo>
                    <a:pt x="140" y="1038"/>
                  </a:lnTo>
                  <a:lnTo>
                    <a:pt x="136" y="1040"/>
                  </a:lnTo>
                  <a:lnTo>
                    <a:pt x="130" y="1048"/>
                  </a:lnTo>
                  <a:lnTo>
                    <a:pt x="128" y="1058"/>
                  </a:lnTo>
                  <a:lnTo>
                    <a:pt x="128" y="1064"/>
                  </a:lnTo>
                  <a:lnTo>
                    <a:pt x="126" y="1066"/>
                  </a:lnTo>
                  <a:lnTo>
                    <a:pt x="122" y="1068"/>
                  </a:lnTo>
                  <a:lnTo>
                    <a:pt x="118" y="1068"/>
                  </a:lnTo>
                  <a:lnTo>
                    <a:pt x="116" y="1070"/>
                  </a:lnTo>
                  <a:lnTo>
                    <a:pt x="116" y="1074"/>
                  </a:lnTo>
                  <a:lnTo>
                    <a:pt x="114" y="1080"/>
                  </a:lnTo>
                  <a:lnTo>
                    <a:pt x="112" y="1080"/>
                  </a:lnTo>
                  <a:lnTo>
                    <a:pt x="106" y="1078"/>
                  </a:lnTo>
                  <a:lnTo>
                    <a:pt x="102" y="1078"/>
                  </a:lnTo>
                  <a:lnTo>
                    <a:pt x="98" y="1080"/>
                  </a:lnTo>
                  <a:lnTo>
                    <a:pt x="96" y="1082"/>
                  </a:lnTo>
                  <a:lnTo>
                    <a:pt x="96" y="1084"/>
                  </a:lnTo>
                  <a:lnTo>
                    <a:pt x="100" y="1086"/>
                  </a:lnTo>
                  <a:lnTo>
                    <a:pt x="104" y="1090"/>
                  </a:lnTo>
                  <a:lnTo>
                    <a:pt x="118" y="1092"/>
                  </a:lnTo>
                  <a:lnTo>
                    <a:pt x="126" y="1092"/>
                  </a:lnTo>
                  <a:lnTo>
                    <a:pt x="134" y="1090"/>
                  </a:lnTo>
                  <a:close/>
                  <a:moveTo>
                    <a:pt x="306" y="1550"/>
                  </a:moveTo>
                  <a:lnTo>
                    <a:pt x="306" y="1550"/>
                  </a:lnTo>
                  <a:lnTo>
                    <a:pt x="304" y="1546"/>
                  </a:lnTo>
                  <a:lnTo>
                    <a:pt x="302" y="1544"/>
                  </a:lnTo>
                  <a:lnTo>
                    <a:pt x="300" y="1544"/>
                  </a:lnTo>
                  <a:lnTo>
                    <a:pt x="300" y="1546"/>
                  </a:lnTo>
                  <a:lnTo>
                    <a:pt x="302" y="1548"/>
                  </a:lnTo>
                  <a:lnTo>
                    <a:pt x="306" y="1550"/>
                  </a:lnTo>
                  <a:close/>
                  <a:moveTo>
                    <a:pt x="294" y="1582"/>
                  </a:moveTo>
                  <a:lnTo>
                    <a:pt x="294" y="1582"/>
                  </a:lnTo>
                  <a:lnTo>
                    <a:pt x="296" y="1580"/>
                  </a:lnTo>
                  <a:lnTo>
                    <a:pt x="294" y="1576"/>
                  </a:lnTo>
                  <a:lnTo>
                    <a:pt x="290" y="1572"/>
                  </a:lnTo>
                  <a:lnTo>
                    <a:pt x="288" y="1572"/>
                  </a:lnTo>
                  <a:lnTo>
                    <a:pt x="286" y="1574"/>
                  </a:lnTo>
                  <a:lnTo>
                    <a:pt x="286" y="1576"/>
                  </a:lnTo>
                  <a:lnTo>
                    <a:pt x="290" y="1580"/>
                  </a:lnTo>
                  <a:lnTo>
                    <a:pt x="294" y="1582"/>
                  </a:lnTo>
                  <a:close/>
                  <a:moveTo>
                    <a:pt x="134" y="1350"/>
                  </a:moveTo>
                  <a:lnTo>
                    <a:pt x="134" y="1350"/>
                  </a:lnTo>
                  <a:lnTo>
                    <a:pt x="134" y="1354"/>
                  </a:lnTo>
                  <a:lnTo>
                    <a:pt x="134" y="1356"/>
                  </a:lnTo>
                  <a:lnTo>
                    <a:pt x="138" y="1360"/>
                  </a:lnTo>
                  <a:lnTo>
                    <a:pt x="140" y="1362"/>
                  </a:lnTo>
                  <a:lnTo>
                    <a:pt x="144" y="1364"/>
                  </a:lnTo>
                  <a:lnTo>
                    <a:pt x="150" y="1372"/>
                  </a:lnTo>
                  <a:lnTo>
                    <a:pt x="154" y="1374"/>
                  </a:lnTo>
                  <a:lnTo>
                    <a:pt x="154" y="1370"/>
                  </a:lnTo>
                  <a:lnTo>
                    <a:pt x="152" y="1364"/>
                  </a:lnTo>
                  <a:lnTo>
                    <a:pt x="148" y="1360"/>
                  </a:lnTo>
                  <a:lnTo>
                    <a:pt x="146" y="1358"/>
                  </a:lnTo>
                  <a:lnTo>
                    <a:pt x="144" y="1358"/>
                  </a:lnTo>
                  <a:lnTo>
                    <a:pt x="142" y="1354"/>
                  </a:lnTo>
                  <a:lnTo>
                    <a:pt x="140" y="1350"/>
                  </a:lnTo>
                  <a:lnTo>
                    <a:pt x="136" y="1348"/>
                  </a:lnTo>
                  <a:lnTo>
                    <a:pt x="134" y="1348"/>
                  </a:lnTo>
                  <a:lnTo>
                    <a:pt x="134" y="1350"/>
                  </a:lnTo>
                  <a:close/>
                  <a:moveTo>
                    <a:pt x="138" y="1658"/>
                  </a:moveTo>
                  <a:lnTo>
                    <a:pt x="138" y="1658"/>
                  </a:lnTo>
                  <a:lnTo>
                    <a:pt x="140" y="1652"/>
                  </a:lnTo>
                  <a:lnTo>
                    <a:pt x="138" y="1650"/>
                  </a:lnTo>
                  <a:lnTo>
                    <a:pt x="136" y="1650"/>
                  </a:lnTo>
                  <a:lnTo>
                    <a:pt x="132" y="1652"/>
                  </a:lnTo>
                  <a:lnTo>
                    <a:pt x="128" y="1652"/>
                  </a:lnTo>
                  <a:lnTo>
                    <a:pt x="124" y="1652"/>
                  </a:lnTo>
                  <a:lnTo>
                    <a:pt x="122" y="1654"/>
                  </a:lnTo>
                  <a:lnTo>
                    <a:pt x="120" y="1656"/>
                  </a:lnTo>
                  <a:lnTo>
                    <a:pt x="122" y="1656"/>
                  </a:lnTo>
                  <a:lnTo>
                    <a:pt x="126" y="1660"/>
                  </a:lnTo>
                  <a:lnTo>
                    <a:pt x="134" y="1660"/>
                  </a:lnTo>
                  <a:lnTo>
                    <a:pt x="136" y="1660"/>
                  </a:lnTo>
                  <a:lnTo>
                    <a:pt x="138" y="1658"/>
                  </a:lnTo>
                  <a:close/>
                  <a:moveTo>
                    <a:pt x="124" y="1360"/>
                  </a:moveTo>
                  <a:lnTo>
                    <a:pt x="124" y="1360"/>
                  </a:lnTo>
                  <a:lnTo>
                    <a:pt x="122" y="1360"/>
                  </a:lnTo>
                  <a:lnTo>
                    <a:pt x="124" y="1362"/>
                  </a:lnTo>
                  <a:lnTo>
                    <a:pt x="132" y="1368"/>
                  </a:lnTo>
                  <a:lnTo>
                    <a:pt x="134" y="1370"/>
                  </a:lnTo>
                  <a:lnTo>
                    <a:pt x="138" y="1368"/>
                  </a:lnTo>
                  <a:lnTo>
                    <a:pt x="138" y="1366"/>
                  </a:lnTo>
                  <a:lnTo>
                    <a:pt x="136" y="1362"/>
                  </a:lnTo>
                  <a:lnTo>
                    <a:pt x="132" y="1358"/>
                  </a:lnTo>
                  <a:lnTo>
                    <a:pt x="130" y="1358"/>
                  </a:lnTo>
                  <a:lnTo>
                    <a:pt x="124" y="1360"/>
                  </a:lnTo>
                  <a:close/>
                  <a:moveTo>
                    <a:pt x="162" y="1352"/>
                  </a:moveTo>
                  <a:lnTo>
                    <a:pt x="162" y="1352"/>
                  </a:lnTo>
                  <a:lnTo>
                    <a:pt x="162" y="1348"/>
                  </a:lnTo>
                  <a:lnTo>
                    <a:pt x="160" y="1344"/>
                  </a:lnTo>
                  <a:lnTo>
                    <a:pt x="160" y="1350"/>
                  </a:lnTo>
                  <a:lnTo>
                    <a:pt x="160" y="1352"/>
                  </a:lnTo>
                  <a:lnTo>
                    <a:pt x="162" y="1352"/>
                  </a:lnTo>
                  <a:close/>
                  <a:moveTo>
                    <a:pt x="128" y="1670"/>
                  </a:moveTo>
                  <a:lnTo>
                    <a:pt x="128" y="1670"/>
                  </a:lnTo>
                  <a:lnTo>
                    <a:pt x="126" y="1670"/>
                  </a:lnTo>
                  <a:lnTo>
                    <a:pt x="124" y="1672"/>
                  </a:lnTo>
                  <a:lnTo>
                    <a:pt x="122" y="1678"/>
                  </a:lnTo>
                  <a:lnTo>
                    <a:pt x="124" y="1686"/>
                  </a:lnTo>
                  <a:lnTo>
                    <a:pt x="126" y="1688"/>
                  </a:lnTo>
                  <a:lnTo>
                    <a:pt x="128" y="1688"/>
                  </a:lnTo>
                  <a:lnTo>
                    <a:pt x="130" y="1688"/>
                  </a:lnTo>
                  <a:lnTo>
                    <a:pt x="130" y="1684"/>
                  </a:lnTo>
                  <a:lnTo>
                    <a:pt x="128" y="1682"/>
                  </a:lnTo>
                  <a:lnTo>
                    <a:pt x="128" y="1680"/>
                  </a:lnTo>
                  <a:lnTo>
                    <a:pt x="130" y="1678"/>
                  </a:lnTo>
                  <a:lnTo>
                    <a:pt x="132" y="1674"/>
                  </a:lnTo>
                  <a:lnTo>
                    <a:pt x="130" y="1672"/>
                  </a:lnTo>
                  <a:lnTo>
                    <a:pt x="128" y="1670"/>
                  </a:lnTo>
                  <a:close/>
                  <a:moveTo>
                    <a:pt x="238" y="1920"/>
                  </a:moveTo>
                  <a:lnTo>
                    <a:pt x="238" y="1920"/>
                  </a:lnTo>
                  <a:lnTo>
                    <a:pt x="236" y="1924"/>
                  </a:lnTo>
                  <a:lnTo>
                    <a:pt x="238" y="1926"/>
                  </a:lnTo>
                  <a:lnTo>
                    <a:pt x="240" y="1930"/>
                  </a:lnTo>
                  <a:lnTo>
                    <a:pt x="246" y="1930"/>
                  </a:lnTo>
                  <a:lnTo>
                    <a:pt x="248" y="1930"/>
                  </a:lnTo>
                  <a:lnTo>
                    <a:pt x="252" y="1926"/>
                  </a:lnTo>
                  <a:lnTo>
                    <a:pt x="252" y="1924"/>
                  </a:lnTo>
                  <a:lnTo>
                    <a:pt x="254" y="1920"/>
                  </a:lnTo>
                  <a:lnTo>
                    <a:pt x="252" y="1918"/>
                  </a:lnTo>
                  <a:lnTo>
                    <a:pt x="250" y="1916"/>
                  </a:lnTo>
                  <a:lnTo>
                    <a:pt x="248" y="1914"/>
                  </a:lnTo>
                  <a:lnTo>
                    <a:pt x="244" y="1916"/>
                  </a:lnTo>
                  <a:lnTo>
                    <a:pt x="240" y="1916"/>
                  </a:lnTo>
                  <a:lnTo>
                    <a:pt x="238" y="1920"/>
                  </a:lnTo>
                  <a:close/>
                  <a:moveTo>
                    <a:pt x="232" y="1878"/>
                  </a:moveTo>
                  <a:lnTo>
                    <a:pt x="232" y="1878"/>
                  </a:lnTo>
                  <a:lnTo>
                    <a:pt x="236" y="1878"/>
                  </a:lnTo>
                  <a:lnTo>
                    <a:pt x="240" y="1876"/>
                  </a:lnTo>
                  <a:lnTo>
                    <a:pt x="246" y="1870"/>
                  </a:lnTo>
                  <a:lnTo>
                    <a:pt x="248" y="1862"/>
                  </a:lnTo>
                  <a:lnTo>
                    <a:pt x="246" y="1858"/>
                  </a:lnTo>
                  <a:lnTo>
                    <a:pt x="244" y="1856"/>
                  </a:lnTo>
                  <a:lnTo>
                    <a:pt x="240" y="1858"/>
                  </a:lnTo>
                  <a:lnTo>
                    <a:pt x="234" y="1866"/>
                  </a:lnTo>
                  <a:lnTo>
                    <a:pt x="230" y="1874"/>
                  </a:lnTo>
                  <a:lnTo>
                    <a:pt x="230" y="1876"/>
                  </a:lnTo>
                  <a:lnTo>
                    <a:pt x="232" y="1878"/>
                  </a:lnTo>
                  <a:close/>
                  <a:moveTo>
                    <a:pt x="290" y="1568"/>
                  </a:moveTo>
                  <a:lnTo>
                    <a:pt x="290" y="1568"/>
                  </a:lnTo>
                  <a:lnTo>
                    <a:pt x="294" y="1572"/>
                  </a:lnTo>
                  <a:lnTo>
                    <a:pt x="298" y="1572"/>
                  </a:lnTo>
                  <a:lnTo>
                    <a:pt x="302" y="1572"/>
                  </a:lnTo>
                  <a:lnTo>
                    <a:pt x="304" y="1572"/>
                  </a:lnTo>
                  <a:lnTo>
                    <a:pt x="306" y="1574"/>
                  </a:lnTo>
                  <a:lnTo>
                    <a:pt x="310" y="1574"/>
                  </a:lnTo>
                  <a:lnTo>
                    <a:pt x="312" y="1572"/>
                  </a:lnTo>
                  <a:lnTo>
                    <a:pt x="312" y="1570"/>
                  </a:lnTo>
                  <a:lnTo>
                    <a:pt x="310" y="1568"/>
                  </a:lnTo>
                  <a:lnTo>
                    <a:pt x="310" y="1570"/>
                  </a:lnTo>
                  <a:lnTo>
                    <a:pt x="308" y="1570"/>
                  </a:lnTo>
                  <a:lnTo>
                    <a:pt x="308" y="1568"/>
                  </a:lnTo>
                  <a:lnTo>
                    <a:pt x="304" y="1566"/>
                  </a:lnTo>
                  <a:lnTo>
                    <a:pt x="302" y="1566"/>
                  </a:lnTo>
                  <a:lnTo>
                    <a:pt x="300" y="1566"/>
                  </a:lnTo>
                  <a:lnTo>
                    <a:pt x="300" y="1564"/>
                  </a:lnTo>
                  <a:lnTo>
                    <a:pt x="302" y="1560"/>
                  </a:lnTo>
                  <a:lnTo>
                    <a:pt x="300" y="1560"/>
                  </a:lnTo>
                  <a:lnTo>
                    <a:pt x="296" y="1556"/>
                  </a:lnTo>
                  <a:lnTo>
                    <a:pt x="292" y="1556"/>
                  </a:lnTo>
                  <a:lnTo>
                    <a:pt x="290" y="1560"/>
                  </a:lnTo>
                  <a:lnTo>
                    <a:pt x="288" y="1564"/>
                  </a:lnTo>
                  <a:lnTo>
                    <a:pt x="290" y="1568"/>
                  </a:lnTo>
                  <a:close/>
                  <a:moveTo>
                    <a:pt x="208" y="1778"/>
                  </a:moveTo>
                  <a:lnTo>
                    <a:pt x="208" y="1778"/>
                  </a:lnTo>
                  <a:lnTo>
                    <a:pt x="206" y="1784"/>
                  </a:lnTo>
                  <a:lnTo>
                    <a:pt x="206" y="1788"/>
                  </a:lnTo>
                  <a:lnTo>
                    <a:pt x="210" y="1792"/>
                  </a:lnTo>
                  <a:lnTo>
                    <a:pt x="214" y="1792"/>
                  </a:lnTo>
                  <a:lnTo>
                    <a:pt x="216" y="1792"/>
                  </a:lnTo>
                  <a:lnTo>
                    <a:pt x="218" y="1788"/>
                  </a:lnTo>
                  <a:lnTo>
                    <a:pt x="216" y="1782"/>
                  </a:lnTo>
                  <a:lnTo>
                    <a:pt x="212" y="1776"/>
                  </a:lnTo>
                  <a:lnTo>
                    <a:pt x="210" y="1776"/>
                  </a:lnTo>
                  <a:lnTo>
                    <a:pt x="208" y="1778"/>
                  </a:lnTo>
                  <a:close/>
                  <a:moveTo>
                    <a:pt x="618" y="1434"/>
                  </a:moveTo>
                  <a:lnTo>
                    <a:pt x="618" y="1434"/>
                  </a:lnTo>
                  <a:lnTo>
                    <a:pt x="620" y="1434"/>
                  </a:lnTo>
                  <a:lnTo>
                    <a:pt x="622" y="1430"/>
                  </a:lnTo>
                  <a:lnTo>
                    <a:pt x="622" y="1428"/>
                  </a:lnTo>
                  <a:lnTo>
                    <a:pt x="620" y="1426"/>
                  </a:lnTo>
                  <a:lnTo>
                    <a:pt x="616" y="1430"/>
                  </a:lnTo>
                  <a:lnTo>
                    <a:pt x="616" y="1432"/>
                  </a:lnTo>
                  <a:lnTo>
                    <a:pt x="618" y="1434"/>
                  </a:lnTo>
                  <a:close/>
                  <a:moveTo>
                    <a:pt x="882" y="1770"/>
                  </a:moveTo>
                  <a:lnTo>
                    <a:pt x="882" y="1770"/>
                  </a:lnTo>
                  <a:lnTo>
                    <a:pt x="876" y="1774"/>
                  </a:lnTo>
                  <a:lnTo>
                    <a:pt x="870" y="1774"/>
                  </a:lnTo>
                  <a:lnTo>
                    <a:pt x="866" y="1772"/>
                  </a:lnTo>
                  <a:lnTo>
                    <a:pt x="860" y="1774"/>
                  </a:lnTo>
                  <a:lnTo>
                    <a:pt x="860" y="1776"/>
                  </a:lnTo>
                  <a:lnTo>
                    <a:pt x="864" y="1778"/>
                  </a:lnTo>
                  <a:lnTo>
                    <a:pt x="870" y="1782"/>
                  </a:lnTo>
                  <a:lnTo>
                    <a:pt x="870" y="1784"/>
                  </a:lnTo>
                  <a:lnTo>
                    <a:pt x="870" y="1786"/>
                  </a:lnTo>
                  <a:lnTo>
                    <a:pt x="870" y="1788"/>
                  </a:lnTo>
                  <a:lnTo>
                    <a:pt x="872" y="1790"/>
                  </a:lnTo>
                  <a:lnTo>
                    <a:pt x="874" y="1792"/>
                  </a:lnTo>
                  <a:lnTo>
                    <a:pt x="872" y="1796"/>
                  </a:lnTo>
                  <a:lnTo>
                    <a:pt x="870" y="1798"/>
                  </a:lnTo>
                  <a:lnTo>
                    <a:pt x="872" y="1800"/>
                  </a:lnTo>
                  <a:lnTo>
                    <a:pt x="874" y="1800"/>
                  </a:lnTo>
                  <a:lnTo>
                    <a:pt x="876" y="1804"/>
                  </a:lnTo>
                  <a:lnTo>
                    <a:pt x="876" y="1806"/>
                  </a:lnTo>
                  <a:lnTo>
                    <a:pt x="878" y="1806"/>
                  </a:lnTo>
                  <a:lnTo>
                    <a:pt x="882" y="1806"/>
                  </a:lnTo>
                  <a:lnTo>
                    <a:pt x="886" y="1806"/>
                  </a:lnTo>
                  <a:lnTo>
                    <a:pt x="888" y="1808"/>
                  </a:lnTo>
                  <a:lnTo>
                    <a:pt x="892" y="1806"/>
                  </a:lnTo>
                  <a:lnTo>
                    <a:pt x="894" y="1808"/>
                  </a:lnTo>
                  <a:lnTo>
                    <a:pt x="896" y="1810"/>
                  </a:lnTo>
                  <a:lnTo>
                    <a:pt x="896" y="1814"/>
                  </a:lnTo>
                  <a:lnTo>
                    <a:pt x="894" y="1814"/>
                  </a:lnTo>
                  <a:lnTo>
                    <a:pt x="892" y="1814"/>
                  </a:lnTo>
                  <a:lnTo>
                    <a:pt x="890" y="1816"/>
                  </a:lnTo>
                  <a:lnTo>
                    <a:pt x="892" y="1816"/>
                  </a:lnTo>
                  <a:lnTo>
                    <a:pt x="894" y="1818"/>
                  </a:lnTo>
                  <a:lnTo>
                    <a:pt x="898" y="1820"/>
                  </a:lnTo>
                  <a:lnTo>
                    <a:pt x="898" y="1822"/>
                  </a:lnTo>
                  <a:lnTo>
                    <a:pt x="896" y="1824"/>
                  </a:lnTo>
                  <a:lnTo>
                    <a:pt x="896" y="1826"/>
                  </a:lnTo>
                  <a:lnTo>
                    <a:pt x="900" y="1832"/>
                  </a:lnTo>
                  <a:lnTo>
                    <a:pt x="902" y="1836"/>
                  </a:lnTo>
                  <a:lnTo>
                    <a:pt x="904" y="1840"/>
                  </a:lnTo>
                  <a:lnTo>
                    <a:pt x="904" y="1844"/>
                  </a:lnTo>
                  <a:lnTo>
                    <a:pt x="906" y="1846"/>
                  </a:lnTo>
                  <a:lnTo>
                    <a:pt x="906" y="1848"/>
                  </a:lnTo>
                  <a:lnTo>
                    <a:pt x="908" y="1848"/>
                  </a:lnTo>
                  <a:lnTo>
                    <a:pt x="908" y="1844"/>
                  </a:lnTo>
                  <a:lnTo>
                    <a:pt x="908" y="1838"/>
                  </a:lnTo>
                  <a:lnTo>
                    <a:pt x="910" y="1834"/>
                  </a:lnTo>
                  <a:lnTo>
                    <a:pt x="912" y="1832"/>
                  </a:lnTo>
                  <a:lnTo>
                    <a:pt x="912" y="1828"/>
                  </a:lnTo>
                  <a:lnTo>
                    <a:pt x="908" y="1824"/>
                  </a:lnTo>
                  <a:lnTo>
                    <a:pt x="902" y="1822"/>
                  </a:lnTo>
                  <a:lnTo>
                    <a:pt x="904" y="1822"/>
                  </a:lnTo>
                  <a:lnTo>
                    <a:pt x="906" y="1820"/>
                  </a:lnTo>
                  <a:lnTo>
                    <a:pt x="910" y="1820"/>
                  </a:lnTo>
                  <a:lnTo>
                    <a:pt x="912" y="1818"/>
                  </a:lnTo>
                  <a:lnTo>
                    <a:pt x="912" y="1816"/>
                  </a:lnTo>
                  <a:lnTo>
                    <a:pt x="912" y="1812"/>
                  </a:lnTo>
                  <a:lnTo>
                    <a:pt x="912" y="1810"/>
                  </a:lnTo>
                  <a:lnTo>
                    <a:pt x="912" y="1808"/>
                  </a:lnTo>
                  <a:lnTo>
                    <a:pt x="918" y="1804"/>
                  </a:lnTo>
                  <a:lnTo>
                    <a:pt x="924" y="1802"/>
                  </a:lnTo>
                  <a:lnTo>
                    <a:pt x="926" y="1800"/>
                  </a:lnTo>
                  <a:lnTo>
                    <a:pt x="924" y="1798"/>
                  </a:lnTo>
                  <a:lnTo>
                    <a:pt x="918" y="1794"/>
                  </a:lnTo>
                  <a:lnTo>
                    <a:pt x="914" y="1790"/>
                  </a:lnTo>
                  <a:lnTo>
                    <a:pt x="914" y="1788"/>
                  </a:lnTo>
                  <a:lnTo>
                    <a:pt x="916" y="1784"/>
                  </a:lnTo>
                  <a:lnTo>
                    <a:pt x="922" y="1782"/>
                  </a:lnTo>
                  <a:lnTo>
                    <a:pt x="926" y="1782"/>
                  </a:lnTo>
                  <a:lnTo>
                    <a:pt x="928" y="1778"/>
                  </a:lnTo>
                  <a:lnTo>
                    <a:pt x="928" y="1772"/>
                  </a:lnTo>
                  <a:lnTo>
                    <a:pt x="928" y="1764"/>
                  </a:lnTo>
                  <a:lnTo>
                    <a:pt x="930" y="1758"/>
                  </a:lnTo>
                  <a:lnTo>
                    <a:pt x="932" y="1754"/>
                  </a:lnTo>
                  <a:lnTo>
                    <a:pt x="930" y="1752"/>
                  </a:lnTo>
                  <a:lnTo>
                    <a:pt x="920" y="1750"/>
                  </a:lnTo>
                  <a:lnTo>
                    <a:pt x="914" y="1750"/>
                  </a:lnTo>
                  <a:lnTo>
                    <a:pt x="908" y="1752"/>
                  </a:lnTo>
                  <a:lnTo>
                    <a:pt x="904" y="1756"/>
                  </a:lnTo>
                  <a:lnTo>
                    <a:pt x="902" y="1760"/>
                  </a:lnTo>
                  <a:lnTo>
                    <a:pt x="904" y="1762"/>
                  </a:lnTo>
                  <a:lnTo>
                    <a:pt x="904" y="1764"/>
                  </a:lnTo>
                  <a:lnTo>
                    <a:pt x="900" y="1772"/>
                  </a:lnTo>
                  <a:lnTo>
                    <a:pt x="898" y="1776"/>
                  </a:lnTo>
                  <a:lnTo>
                    <a:pt x="896" y="1774"/>
                  </a:lnTo>
                  <a:lnTo>
                    <a:pt x="896" y="1770"/>
                  </a:lnTo>
                  <a:lnTo>
                    <a:pt x="898" y="1762"/>
                  </a:lnTo>
                  <a:lnTo>
                    <a:pt x="896" y="1760"/>
                  </a:lnTo>
                  <a:lnTo>
                    <a:pt x="894" y="1760"/>
                  </a:lnTo>
                  <a:lnTo>
                    <a:pt x="890" y="1760"/>
                  </a:lnTo>
                  <a:lnTo>
                    <a:pt x="884" y="1758"/>
                  </a:lnTo>
                  <a:lnTo>
                    <a:pt x="880" y="1758"/>
                  </a:lnTo>
                  <a:lnTo>
                    <a:pt x="876" y="1758"/>
                  </a:lnTo>
                  <a:lnTo>
                    <a:pt x="878" y="1760"/>
                  </a:lnTo>
                  <a:lnTo>
                    <a:pt x="882" y="1762"/>
                  </a:lnTo>
                  <a:lnTo>
                    <a:pt x="886" y="1764"/>
                  </a:lnTo>
                  <a:lnTo>
                    <a:pt x="884" y="1768"/>
                  </a:lnTo>
                  <a:lnTo>
                    <a:pt x="882" y="1770"/>
                  </a:lnTo>
                  <a:close/>
                  <a:moveTo>
                    <a:pt x="850" y="1762"/>
                  </a:moveTo>
                  <a:lnTo>
                    <a:pt x="850" y="1762"/>
                  </a:lnTo>
                  <a:lnTo>
                    <a:pt x="848" y="1760"/>
                  </a:lnTo>
                  <a:lnTo>
                    <a:pt x="846" y="1764"/>
                  </a:lnTo>
                  <a:lnTo>
                    <a:pt x="848" y="1768"/>
                  </a:lnTo>
                  <a:lnTo>
                    <a:pt x="848" y="1772"/>
                  </a:lnTo>
                  <a:lnTo>
                    <a:pt x="850" y="1772"/>
                  </a:lnTo>
                  <a:lnTo>
                    <a:pt x="850" y="1770"/>
                  </a:lnTo>
                  <a:lnTo>
                    <a:pt x="852" y="1766"/>
                  </a:lnTo>
                  <a:lnTo>
                    <a:pt x="850" y="1762"/>
                  </a:lnTo>
                  <a:close/>
                  <a:moveTo>
                    <a:pt x="834" y="1814"/>
                  </a:moveTo>
                  <a:lnTo>
                    <a:pt x="834" y="1814"/>
                  </a:lnTo>
                  <a:lnTo>
                    <a:pt x="846" y="1816"/>
                  </a:lnTo>
                  <a:lnTo>
                    <a:pt x="852" y="1814"/>
                  </a:lnTo>
                  <a:lnTo>
                    <a:pt x="856" y="1812"/>
                  </a:lnTo>
                  <a:lnTo>
                    <a:pt x="858" y="1808"/>
                  </a:lnTo>
                  <a:lnTo>
                    <a:pt x="858" y="1806"/>
                  </a:lnTo>
                  <a:lnTo>
                    <a:pt x="858" y="1800"/>
                  </a:lnTo>
                  <a:lnTo>
                    <a:pt x="856" y="1794"/>
                  </a:lnTo>
                  <a:lnTo>
                    <a:pt x="856" y="1790"/>
                  </a:lnTo>
                  <a:lnTo>
                    <a:pt x="856" y="1788"/>
                  </a:lnTo>
                  <a:lnTo>
                    <a:pt x="852" y="1784"/>
                  </a:lnTo>
                  <a:lnTo>
                    <a:pt x="850" y="1782"/>
                  </a:lnTo>
                  <a:lnTo>
                    <a:pt x="850" y="1784"/>
                  </a:lnTo>
                  <a:lnTo>
                    <a:pt x="848" y="1786"/>
                  </a:lnTo>
                  <a:lnTo>
                    <a:pt x="840" y="1782"/>
                  </a:lnTo>
                  <a:lnTo>
                    <a:pt x="836" y="1782"/>
                  </a:lnTo>
                  <a:lnTo>
                    <a:pt x="830" y="1784"/>
                  </a:lnTo>
                  <a:lnTo>
                    <a:pt x="824" y="1786"/>
                  </a:lnTo>
                  <a:lnTo>
                    <a:pt x="818" y="1786"/>
                  </a:lnTo>
                  <a:lnTo>
                    <a:pt x="816" y="1786"/>
                  </a:lnTo>
                  <a:lnTo>
                    <a:pt x="814" y="1788"/>
                  </a:lnTo>
                  <a:lnTo>
                    <a:pt x="814" y="1790"/>
                  </a:lnTo>
                  <a:lnTo>
                    <a:pt x="816" y="1792"/>
                  </a:lnTo>
                  <a:lnTo>
                    <a:pt x="820" y="1798"/>
                  </a:lnTo>
                  <a:lnTo>
                    <a:pt x="824" y="1806"/>
                  </a:lnTo>
                  <a:lnTo>
                    <a:pt x="824" y="1810"/>
                  </a:lnTo>
                  <a:lnTo>
                    <a:pt x="826" y="1808"/>
                  </a:lnTo>
                  <a:lnTo>
                    <a:pt x="828" y="1808"/>
                  </a:lnTo>
                  <a:lnTo>
                    <a:pt x="830" y="1808"/>
                  </a:lnTo>
                  <a:lnTo>
                    <a:pt x="830" y="1810"/>
                  </a:lnTo>
                  <a:lnTo>
                    <a:pt x="830" y="1812"/>
                  </a:lnTo>
                  <a:lnTo>
                    <a:pt x="830" y="1814"/>
                  </a:lnTo>
                  <a:lnTo>
                    <a:pt x="834" y="1814"/>
                  </a:lnTo>
                  <a:close/>
                  <a:moveTo>
                    <a:pt x="898" y="1832"/>
                  </a:moveTo>
                  <a:lnTo>
                    <a:pt x="898" y="1832"/>
                  </a:lnTo>
                  <a:lnTo>
                    <a:pt x="894" y="1826"/>
                  </a:lnTo>
                  <a:lnTo>
                    <a:pt x="892" y="1826"/>
                  </a:lnTo>
                  <a:lnTo>
                    <a:pt x="890" y="1828"/>
                  </a:lnTo>
                  <a:lnTo>
                    <a:pt x="890" y="1830"/>
                  </a:lnTo>
                  <a:lnTo>
                    <a:pt x="888" y="1830"/>
                  </a:lnTo>
                  <a:lnTo>
                    <a:pt x="878" y="1824"/>
                  </a:lnTo>
                  <a:lnTo>
                    <a:pt x="872" y="1822"/>
                  </a:lnTo>
                  <a:lnTo>
                    <a:pt x="868" y="1822"/>
                  </a:lnTo>
                  <a:lnTo>
                    <a:pt x="866" y="1826"/>
                  </a:lnTo>
                  <a:lnTo>
                    <a:pt x="866" y="1830"/>
                  </a:lnTo>
                  <a:lnTo>
                    <a:pt x="870" y="1834"/>
                  </a:lnTo>
                  <a:lnTo>
                    <a:pt x="876" y="1838"/>
                  </a:lnTo>
                  <a:lnTo>
                    <a:pt x="886" y="1840"/>
                  </a:lnTo>
                  <a:lnTo>
                    <a:pt x="894" y="1842"/>
                  </a:lnTo>
                  <a:lnTo>
                    <a:pt x="898" y="1842"/>
                  </a:lnTo>
                  <a:lnTo>
                    <a:pt x="900" y="1840"/>
                  </a:lnTo>
                  <a:lnTo>
                    <a:pt x="898" y="1832"/>
                  </a:lnTo>
                  <a:close/>
                  <a:moveTo>
                    <a:pt x="914" y="1822"/>
                  </a:moveTo>
                  <a:lnTo>
                    <a:pt x="914" y="1822"/>
                  </a:lnTo>
                  <a:lnTo>
                    <a:pt x="912" y="1824"/>
                  </a:lnTo>
                  <a:lnTo>
                    <a:pt x="914" y="1826"/>
                  </a:lnTo>
                  <a:lnTo>
                    <a:pt x="918" y="1824"/>
                  </a:lnTo>
                  <a:lnTo>
                    <a:pt x="924" y="1820"/>
                  </a:lnTo>
                  <a:lnTo>
                    <a:pt x="926" y="1820"/>
                  </a:lnTo>
                  <a:lnTo>
                    <a:pt x="926" y="1818"/>
                  </a:lnTo>
                  <a:lnTo>
                    <a:pt x="922" y="1816"/>
                  </a:lnTo>
                  <a:lnTo>
                    <a:pt x="918" y="1816"/>
                  </a:lnTo>
                  <a:lnTo>
                    <a:pt x="914" y="1822"/>
                  </a:lnTo>
                  <a:close/>
                  <a:moveTo>
                    <a:pt x="868" y="1848"/>
                  </a:moveTo>
                  <a:lnTo>
                    <a:pt x="868" y="1848"/>
                  </a:lnTo>
                  <a:lnTo>
                    <a:pt x="866" y="1850"/>
                  </a:lnTo>
                  <a:lnTo>
                    <a:pt x="868" y="1852"/>
                  </a:lnTo>
                  <a:lnTo>
                    <a:pt x="872" y="1854"/>
                  </a:lnTo>
                  <a:lnTo>
                    <a:pt x="876" y="1854"/>
                  </a:lnTo>
                  <a:lnTo>
                    <a:pt x="880" y="1854"/>
                  </a:lnTo>
                  <a:lnTo>
                    <a:pt x="878" y="1852"/>
                  </a:lnTo>
                  <a:lnTo>
                    <a:pt x="876" y="1848"/>
                  </a:lnTo>
                  <a:lnTo>
                    <a:pt x="872" y="1848"/>
                  </a:lnTo>
                  <a:lnTo>
                    <a:pt x="868" y="1848"/>
                  </a:lnTo>
                  <a:close/>
                  <a:moveTo>
                    <a:pt x="1030" y="1820"/>
                  </a:moveTo>
                  <a:lnTo>
                    <a:pt x="1030" y="1820"/>
                  </a:lnTo>
                  <a:lnTo>
                    <a:pt x="1032" y="1818"/>
                  </a:lnTo>
                  <a:lnTo>
                    <a:pt x="1034" y="1814"/>
                  </a:lnTo>
                  <a:lnTo>
                    <a:pt x="1032" y="1810"/>
                  </a:lnTo>
                  <a:lnTo>
                    <a:pt x="1030" y="1808"/>
                  </a:lnTo>
                  <a:lnTo>
                    <a:pt x="1022" y="1802"/>
                  </a:lnTo>
                  <a:lnTo>
                    <a:pt x="1018" y="1800"/>
                  </a:lnTo>
                  <a:lnTo>
                    <a:pt x="1016" y="1802"/>
                  </a:lnTo>
                  <a:lnTo>
                    <a:pt x="1014" y="1806"/>
                  </a:lnTo>
                  <a:lnTo>
                    <a:pt x="1016" y="1812"/>
                  </a:lnTo>
                  <a:lnTo>
                    <a:pt x="1022" y="1818"/>
                  </a:lnTo>
                  <a:lnTo>
                    <a:pt x="1026" y="1820"/>
                  </a:lnTo>
                  <a:lnTo>
                    <a:pt x="1030" y="1820"/>
                  </a:lnTo>
                  <a:close/>
                  <a:moveTo>
                    <a:pt x="952" y="1846"/>
                  </a:moveTo>
                  <a:lnTo>
                    <a:pt x="952" y="1846"/>
                  </a:lnTo>
                  <a:lnTo>
                    <a:pt x="952" y="1848"/>
                  </a:lnTo>
                  <a:lnTo>
                    <a:pt x="954" y="1850"/>
                  </a:lnTo>
                  <a:lnTo>
                    <a:pt x="954" y="1854"/>
                  </a:lnTo>
                  <a:lnTo>
                    <a:pt x="954" y="1856"/>
                  </a:lnTo>
                  <a:lnTo>
                    <a:pt x="952" y="1858"/>
                  </a:lnTo>
                  <a:lnTo>
                    <a:pt x="952" y="1860"/>
                  </a:lnTo>
                  <a:lnTo>
                    <a:pt x="960" y="1866"/>
                  </a:lnTo>
                  <a:lnTo>
                    <a:pt x="962" y="1866"/>
                  </a:lnTo>
                  <a:lnTo>
                    <a:pt x="964" y="1866"/>
                  </a:lnTo>
                  <a:lnTo>
                    <a:pt x="964" y="1864"/>
                  </a:lnTo>
                  <a:lnTo>
                    <a:pt x="964" y="1862"/>
                  </a:lnTo>
                  <a:lnTo>
                    <a:pt x="966" y="1860"/>
                  </a:lnTo>
                  <a:lnTo>
                    <a:pt x="968" y="1858"/>
                  </a:lnTo>
                  <a:lnTo>
                    <a:pt x="972" y="1862"/>
                  </a:lnTo>
                  <a:lnTo>
                    <a:pt x="976" y="1864"/>
                  </a:lnTo>
                  <a:lnTo>
                    <a:pt x="976" y="1862"/>
                  </a:lnTo>
                  <a:lnTo>
                    <a:pt x="976" y="1860"/>
                  </a:lnTo>
                  <a:lnTo>
                    <a:pt x="972" y="1858"/>
                  </a:lnTo>
                  <a:lnTo>
                    <a:pt x="972" y="1856"/>
                  </a:lnTo>
                  <a:lnTo>
                    <a:pt x="972" y="1854"/>
                  </a:lnTo>
                  <a:lnTo>
                    <a:pt x="974" y="1850"/>
                  </a:lnTo>
                  <a:lnTo>
                    <a:pt x="974" y="1846"/>
                  </a:lnTo>
                  <a:lnTo>
                    <a:pt x="972" y="1846"/>
                  </a:lnTo>
                  <a:lnTo>
                    <a:pt x="970" y="1844"/>
                  </a:lnTo>
                  <a:lnTo>
                    <a:pt x="966" y="1842"/>
                  </a:lnTo>
                  <a:lnTo>
                    <a:pt x="964" y="1840"/>
                  </a:lnTo>
                  <a:lnTo>
                    <a:pt x="960" y="1838"/>
                  </a:lnTo>
                  <a:lnTo>
                    <a:pt x="956" y="1840"/>
                  </a:lnTo>
                  <a:lnTo>
                    <a:pt x="954" y="1842"/>
                  </a:lnTo>
                  <a:lnTo>
                    <a:pt x="958" y="1844"/>
                  </a:lnTo>
                  <a:lnTo>
                    <a:pt x="964" y="1846"/>
                  </a:lnTo>
                  <a:lnTo>
                    <a:pt x="966" y="1848"/>
                  </a:lnTo>
                  <a:lnTo>
                    <a:pt x="964" y="1850"/>
                  </a:lnTo>
                  <a:lnTo>
                    <a:pt x="960" y="1850"/>
                  </a:lnTo>
                  <a:lnTo>
                    <a:pt x="952" y="1846"/>
                  </a:lnTo>
                  <a:close/>
                  <a:moveTo>
                    <a:pt x="862" y="1678"/>
                  </a:moveTo>
                  <a:lnTo>
                    <a:pt x="862" y="1678"/>
                  </a:lnTo>
                  <a:lnTo>
                    <a:pt x="864" y="1678"/>
                  </a:lnTo>
                  <a:lnTo>
                    <a:pt x="868" y="1678"/>
                  </a:lnTo>
                  <a:lnTo>
                    <a:pt x="872" y="1674"/>
                  </a:lnTo>
                  <a:lnTo>
                    <a:pt x="872" y="1672"/>
                  </a:lnTo>
                  <a:lnTo>
                    <a:pt x="868" y="1672"/>
                  </a:lnTo>
                  <a:lnTo>
                    <a:pt x="864" y="1674"/>
                  </a:lnTo>
                  <a:lnTo>
                    <a:pt x="862" y="1678"/>
                  </a:lnTo>
                  <a:close/>
                  <a:moveTo>
                    <a:pt x="860" y="1816"/>
                  </a:moveTo>
                  <a:lnTo>
                    <a:pt x="860" y="1816"/>
                  </a:lnTo>
                  <a:lnTo>
                    <a:pt x="860" y="1814"/>
                  </a:lnTo>
                  <a:lnTo>
                    <a:pt x="860" y="1812"/>
                  </a:lnTo>
                  <a:lnTo>
                    <a:pt x="858" y="1814"/>
                  </a:lnTo>
                  <a:lnTo>
                    <a:pt x="856" y="1818"/>
                  </a:lnTo>
                  <a:lnTo>
                    <a:pt x="850" y="1826"/>
                  </a:lnTo>
                  <a:lnTo>
                    <a:pt x="848" y="1830"/>
                  </a:lnTo>
                  <a:lnTo>
                    <a:pt x="848" y="1834"/>
                  </a:lnTo>
                  <a:lnTo>
                    <a:pt x="850" y="1836"/>
                  </a:lnTo>
                  <a:lnTo>
                    <a:pt x="852" y="1836"/>
                  </a:lnTo>
                  <a:lnTo>
                    <a:pt x="854" y="1830"/>
                  </a:lnTo>
                  <a:lnTo>
                    <a:pt x="860" y="1816"/>
                  </a:lnTo>
                  <a:close/>
                  <a:moveTo>
                    <a:pt x="1100" y="2508"/>
                  </a:moveTo>
                  <a:lnTo>
                    <a:pt x="1100" y="2508"/>
                  </a:lnTo>
                  <a:lnTo>
                    <a:pt x="1102" y="2508"/>
                  </a:lnTo>
                  <a:lnTo>
                    <a:pt x="1100" y="2506"/>
                  </a:lnTo>
                  <a:lnTo>
                    <a:pt x="1094" y="2504"/>
                  </a:lnTo>
                  <a:lnTo>
                    <a:pt x="1086" y="2504"/>
                  </a:lnTo>
                  <a:lnTo>
                    <a:pt x="1084" y="2504"/>
                  </a:lnTo>
                  <a:lnTo>
                    <a:pt x="1084" y="2506"/>
                  </a:lnTo>
                  <a:lnTo>
                    <a:pt x="1086" y="2508"/>
                  </a:lnTo>
                  <a:lnTo>
                    <a:pt x="1092" y="2510"/>
                  </a:lnTo>
                  <a:lnTo>
                    <a:pt x="1096" y="2510"/>
                  </a:lnTo>
                  <a:lnTo>
                    <a:pt x="1100" y="2508"/>
                  </a:lnTo>
                  <a:close/>
                  <a:moveTo>
                    <a:pt x="1092" y="2518"/>
                  </a:moveTo>
                  <a:lnTo>
                    <a:pt x="1092" y="2518"/>
                  </a:lnTo>
                  <a:lnTo>
                    <a:pt x="1108" y="2520"/>
                  </a:lnTo>
                  <a:lnTo>
                    <a:pt x="1110" y="2518"/>
                  </a:lnTo>
                  <a:lnTo>
                    <a:pt x="1108" y="2516"/>
                  </a:lnTo>
                  <a:lnTo>
                    <a:pt x="1100" y="2514"/>
                  </a:lnTo>
                  <a:lnTo>
                    <a:pt x="1086" y="2514"/>
                  </a:lnTo>
                  <a:lnTo>
                    <a:pt x="1084" y="2514"/>
                  </a:lnTo>
                  <a:lnTo>
                    <a:pt x="1082" y="2516"/>
                  </a:lnTo>
                  <a:lnTo>
                    <a:pt x="1092" y="2518"/>
                  </a:lnTo>
                  <a:close/>
                  <a:moveTo>
                    <a:pt x="1108" y="1672"/>
                  </a:moveTo>
                  <a:lnTo>
                    <a:pt x="1108" y="1672"/>
                  </a:lnTo>
                  <a:lnTo>
                    <a:pt x="1106" y="1672"/>
                  </a:lnTo>
                  <a:lnTo>
                    <a:pt x="1104" y="1674"/>
                  </a:lnTo>
                  <a:lnTo>
                    <a:pt x="1102" y="1682"/>
                  </a:lnTo>
                  <a:lnTo>
                    <a:pt x="1100" y="1692"/>
                  </a:lnTo>
                  <a:lnTo>
                    <a:pt x="1094" y="1700"/>
                  </a:lnTo>
                  <a:lnTo>
                    <a:pt x="1090" y="1710"/>
                  </a:lnTo>
                  <a:lnTo>
                    <a:pt x="1086" y="1722"/>
                  </a:lnTo>
                  <a:lnTo>
                    <a:pt x="1084" y="1734"/>
                  </a:lnTo>
                  <a:lnTo>
                    <a:pt x="1084" y="1740"/>
                  </a:lnTo>
                  <a:lnTo>
                    <a:pt x="1086" y="1744"/>
                  </a:lnTo>
                  <a:lnTo>
                    <a:pt x="1090" y="1734"/>
                  </a:lnTo>
                  <a:lnTo>
                    <a:pt x="1100" y="1708"/>
                  </a:lnTo>
                  <a:lnTo>
                    <a:pt x="1108" y="1684"/>
                  </a:lnTo>
                  <a:lnTo>
                    <a:pt x="1110" y="1676"/>
                  </a:lnTo>
                  <a:lnTo>
                    <a:pt x="1110" y="1674"/>
                  </a:lnTo>
                  <a:lnTo>
                    <a:pt x="1108" y="1672"/>
                  </a:lnTo>
                  <a:close/>
                  <a:moveTo>
                    <a:pt x="1804" y="2938"/>
                  </a:moveTo>
                  <a:lnTo>
                    <a:pt x="1804" y="2938"/>
                  </a:lnTo>
                  <a:lnTo>
                    <a:pt x="1810" y="2932"/>
                  </a:lnTo>
                  <a:lnTo>
                    <a:pt x="1812" y="2928"/>
                  </a:lnTo>
                  <a:lnTo>
                    <a:pt x="1808" y="2930"/>
                  </a:lnTo>
                  <a:lnTo>
                    <a:pt x="1800" y="2934"/>
                  </a:lnTo>
                  <a:lnTo>
                    <a:pt x="1790" y="2940"/>
                  </a:lnTo>
                  <a:lnTo>
                    <a:pt x="1776" y="2946"/>
                  </a:lnTo>
                  <a:lnTo>
                    <a:pt x="1768" y="2946"/>
                  </a:lnTo>
                  <a:lnTo>
                    <a:pt x="1760" y="2944"/>
                  </a:lnTo>
                  <a:lnTo>
                    <a:pt x="1754" y="2944"/>
                  </a:lnTo>
                  <a:lnTo>
                    <a:pt x="1750" y="2944"/>
                  </a:lnTo>
                  <a:lnTo>
                    <a:pt x="1748" y="2946"/>
                  </a:lnTo>
                  <a:lnTo>
                    <a:pt x="1748" y="2948"/>
                  </a:lnTo>
                  <a:lnTo>
                    <a:pt x="1748" y="2954"/>
                  </a:lnTo>
                  <a:lnTo>
                    <a:pt x="1746" y="2954"/>
                  </a:lnTo>
                  <a:lnTo>
                    <a:pt x="1742" y="2954"/>
                  </a:lnTo>
                  <a:lnTo>
                    <a:pt x="1736" y="2954"/>
                  </a:lnTo>
                  <a:lnTo>
                    <a:pt x="1732" y="2958"/>
                  </a:lnTo>
                  <a:lnTo>
                    <a:pt x="1730" y="2960"/>
                  </a:lnTo>
                  <a:lnTo>
                    <a:pt x="1726" y="2960"/>
                  </a:lnTo>
                  <a:lnTo>
                    <a:pt x="1722" y="2960"/>
                  </a:lnTo>
                  <a:lnTo>
                    <a:pt x="1722" y="2962"/>
                  </a:lnTo>
                  <a:lnTo>
                    <a:pt x="1726" y="2974"/>
                  </a:lnTo>
                  <a:lnTo>
                    <a:pt x="1728" y="2978"/>
                  </a:lnTo>
                  <a:lnTo>
                    <a:pt x="1732" y="2980"/>
                  </a:lnTo>
                  <a:lnTo>
                    <a:pt x="1736" y="2982"/>
                  </a:lnTo>
                  <a:lnTo>
                    <a:pt x="1742" y="2982"/>
                  </a:lnTo>
                  <a:lnTo>
                    <a:pt x="1748" y="2982"/>
                  </a:lnTo>
                  <a:lnTo>
                    <a:pt x="1750" y="2984"/>
                  </a:lnTo>
                  <a:lnTo>
                    <a:pt x="1752" y="2986"/>
                  </a:lnTo>
                  <a:lnTo>
                    <a:pt x="1754" y="2984"/>
                  </a:lnTo>
                  <a:lnTo>
                    <a:pt x="1754" y="2982"/>
                  </a:lnTo>
                  <a:lnTo>
                    <a:pt x="1756" y="2980"/>
                  </a:lnTo>
                  <a:lnTo>
                    <a:pt x="1764" y="2978"/>
                  </a:lnTo>
                  <a:lnTo>
                    <a:pt x="1770" y="2976"/>
                  </a:lnTo>
                  <a:lnTo>
                    <a:pt x="1774" y="2974"/>
                  </a:lnTo>
                  <a:lnTo>
                    <a:pt x="1776" y="2970"/>
                  </a:lnTo>
                  <a:lnTo>
                    <a:pt x="1780" y="2966"/>
                  </a:lnTo>
                  <a:lnTo>
                    <a:pt x="1782" y="2964"/>
                  </a:lnTo>
                  <a:lnTo>
                    <a:pt x="1790" y="2964"/>
                  </a:lnTo>
                  <a:lnTo>
                    <a:pt x="1794" y="2964"/>
                  </a:lnTo>
                  <a:lnTo>
                    <a:pt x="1796" y="2962"/>
                  </a:lnTo>
                  <a:lnTo>
                    <a:pt x="1794" y="2960"/>
                  </a:lnTo>
                  <a:lnTo>
                    <a:pt x="1790" y="2954"/>
                  </a:lnTo>
                  <a:lnTo>
                    <a:pt x="1790" y="2950"/>
                  </a:lnTo>
                  <a:lnTo>
                    <a:pt x="1796" y="2944"/>
                  </a:lnTo>
                  <a:lnTo>
                    <a:pt x="1804" y="2938"/>
                  </a:lnTo>
                  <a:close/>
                  <a:moveTo>
                    <a:pt x="1538" y="2902"/>
                  </a:moveTo>
                  <a:lnTo>
                    <a:pt x="1538" y="2902"/>
                  </a:lnTo>
                  <a:lnTo>
                    <a:pt x="1540" y="2906"/>
                  </a:lnTo>
                  <a:lnTo>
                    <a:pt x="1538" y="2910"/>
                  </a:lnTo>
                  <a:lnTo>
                    <a:pt x="1538" y="2914"/>
                  </a:lnTo>
                  <a:lnTo>
                    <a:pt x="1542" y="2918"/>
                  </a:lnTo>
                  <a:lnTo>
                    <a:pt x="1544" y="2918"/>
                  </a:lnTo>
                  <a:lnTo>
                    <a:pt x="1548" y="2914"/>
                  </a:lnTo>
                  <a:lnTo>
                    <a:pt x="1554" y="2904"/>
                  </a:lnTo>
                  <a:lnTo>
                    <a:pt x="1558" y="2894"/>
                  </a:lnTo>
                  <a:lnTo>
                    <a:pt x="1560" y="2888"/>
                  </a:lnTo>
                  <a:lnTo>
                    <a:pt x="1560" y="2886"/>
                  </a:lnTo>
                  <a:lnTo>
                    <a:pt x="1558" y="2886"/>
                  </a:lnTo>
                  <a:lnTo>
                    <a:pt x="1554" y="2886"/>
                  </a:lnTo>
                  <a:lnTo>
                    <a:pt x="1546" y="2892"/>
                  </a:lnTo>
                  <a:lnTo>
                    <a:pt x="1540" y="2898"/>
                  </a:lnTo>
                  <a:lnTo>
                    <a:pt x="1538" y="2900"/>
                  </a:lnTo>
                  <a:lnTo>
                    <a:pt x="1538" y="2902"/>
                  </a:lnTo>
                  <a:close/>
                  <a:moveTo>
                    <a:pt x="644" y="1508"/>
                  </a:moveTo>
                  <a:lnTo>
                    <a:pt x="644" y="1508"/>
                  </a:lnTo>
                  <a:lnTo>
                    <a:pt x="646" y="1510"/>
                  </a:lnTo>
                  <a:lnTo>
                    <a:pt x="648" y="1508"/>
                  </a:lnTo>
                  <a:lnTo>
                    <a:pt x="650" y="1500"/>
                  </a:lnTo>
                  <a:lnTo>
                    <a:pt x="650" y="1498"/>
                  </a:lnTo>
                  <a:lnTo>
                    <a:pt x="646" y="1498"/>
                  </a:lnTo>
                  <a:lnTo>
                    <a:pt x="640" y="1500"/>
                  </a:lnTo>
                  <a:lnTo>
                    <a:pt x="636" y="1504"/>
                  </a:lnTo>
                  <a:lnTo>
                    <a:pt x="634" y="1510"/>
                  </a:lnTo>
                  <a:lnTo>
                    <a:pt x="636" y="1514"/>
                  </a:lnTo>
                  <a:lnTo>
                    <a:pt x="638" y="1516"/>
                  </a:lnTo>
                  <a:lnTo>
                    <a:pt x="642" y="1518"/>
                  </a:lnTo>
                  <a:lnTo>
                    <a:pt x="644" y="1516"/>
                  </a:lnTo>
                  <a:lnTo>
                    <a:pt x="644" y="1514"/>
                  </a:lnTo>
                  <a:lnTo>
                    <a:pt x="642" y="1508"/>
                  </a:lnTo>
                  <a:lnTo>
                    <a:pt x="640" y="1506"/>
                  </a:lnTo>
                  <a:lnTo>
                    <a:pt x="644" y="1508"/>
                  </a:lnTo>
                  <a:close/>
                  <a:moveTo>
                    <a:pt x="632" y="1558"/>
                  </a:moveTo>
                  <a:lnTo>
                    <a:pt x="632" y="1558"/>
                  </a:lnTo>
                  <a:lnTo>
                    <a:pt x="634" y="1556"/>
                  </a:lnTo>
                  <a:lnTo>
                    <a:pt x="634" y="1554"/>
                  </a:lnTo>
                  <a:lnTo>
                    <a:pt x="634" y="1548"/>
                  </a:lnTo>
                  <a:lnTo>
                    <a:pt x="630" y="1544"/>
                  </a:lnTo>
                  <a:lnTo>
                    <a:pt x="630" y="1546"/>
                  </a:lnTo>
                  <a:lnTo>
                    <a:pt x="630" y="1554"/>
                  </a:lnTo>
                  <a:lnTo>
                    <a:pt x="630" y="1558"/>
                  </a:lnTo>
                  <a:lnTo>
                    <a:pt x="632" y="1558"/>
                  </a:lnTo>
                  <a:close/>
                  <a:moveTo>
                    <a:pt x="628" y="1528"/>
                  </a:moveTo>
                  <a:lnTo>
                    <a:pt x="628" y="1528"/>
                  </a:lnTo>
                  <a:lnTo>
                    <a:pt x="630" y="1528"/>
                  </a:lnTo>
                  <a:lnTo>
                    <a:pt x="630" y="1526"/>
                  </a:lnTo>
                  <a:lnTo>
                    <a:pt x="632" y="1522"/>
                  </a:lnTo>
                  <a:lnTo>
                    <a:pt x="632" y="1520"/>
                  </a:lnTo>
                  <a:lnTo>
                    <a:pt x="634" y="1520"/>
                  </a:lnTo>
                  <a:lnTo>
                    <a:pt x="634" y="1522"/>
                  </a:lnTo>
                  <a:lnTo>
                    <a:pt x="636" y="1522"/>
                  </a:lnTo>
                  <a:lnTo>
                    <a:pt x="638" y="1522"/>
                  </a:lnTo>
                  <a:lnTo>
                    <a:pt x="638" y="1520"/>
                  </a:lnTo>
                  <a:lnTo>
                    <a:pt x="636" y="1518"/>
                  </a:lnTo>
                  <a:lnTo>
                    <a:pt x="632" y="1514"/>
                  </a:lnTo>
                  <a:lnTo>
                    <a:pt x="628" y="1512"/>
                  </a:lnTo>
                  <a:lnTo>
                    <a:pt x="628" y="1516"/>
                  </a:lnTo>
                  <a:lnTo>
                    <a:pt x="628" y="1528"/>
                  </a:lnTo>
                  <a:close/>
                  <a:moveTo>
                    <a:pt x="1186" y="1636"/>
                  </a:moveTo>
                  <a:lnTo>
                    <a:pt x="1186" y="1636"/>
                  </a:lnTo>
                  <a:lnTo>
                    <a:pt x="1180" y="1640"/>
                  </a:lnTo>
                  <a:lnTo>
                    <a:pt x="1176" y="1638"/>
                  </a:lnTo>
                  <a:lnTo>
                    <a:pt x="1174" y="1638"/>
                  </a:lnTo>
                  <a:lnTo>
                    <a:pt x="1164" y="1646"/>
                  </a:lnTo>
                  <a:lnTo>
                    <a:pt x="1156" y="1656"/>
                  </a:lnTo>
                  <a:lnTo>
                    <a:pt x="1150" y="1666"/>
                  </a:lnTo>
                  <a:lnTo>
                    <a:pt x="1150" y="1676"/>
                  </a:lnTo>
                  <a:lnTo>
                    <a:pt x="1154" y="1682"/>
                  </a:lnTo>
                  <a:lnTo>
                    <a:pt x="1154" y="1686"/>
                  </a:lnTo>
                  <a:lnTo>
                    <a:pt x="1154" y="1690"/>
                  </a:lnTo>
                  <a:lnTo>
                    <a:pt x="1154" y="1696"/>
                  </a:lnTo>
                  <a:lnTo>
                    <a:pt x="1154" y="1700"/>
                  </a:lnTo>
                  <a:lnTo>
                    <a:pt x="1158" y="1700"/>
                  </a:lnTo>
                  <a:lnTo>
                    <a:pt x="1162" y="1696"/>
                  </a:lnTo>
                  <a:lnTo>
                    <a:pt x="1166" y="1690"/>
                  </a:lnTo>
                  <a:lnTo>
                    <a:pt x="1170" y="1682"/>
                  </a:lnTo>
                  <a:lnTo>
                    <a:pt x="1178" y="1674"/>
                  </a:lnTo>
                  <a:lnTo>
                    <a:pt x="1182" y="1670"/>
                  </a:lnTo>
                  <a:lnTo>
                    <a:pt x="1184" y="1666"/>
                  </a:lnTo>
                  <a:lnTo>
                    <a:pt x="1182" y="1662"/>
                  </a:lnTo>
                  <a:lnTo>
                    <a:pt x="1180" y="1658"/>
                  </a:lnTo>
                  <a:lnTo>
                    <a:pt x="1180" y="1656"/>
                  </a:lnTo>
                  <a:lnTo>
                    <a:pt x="1182" y="1652"/>
                  </a:lnTo>
                  <a:lnTo>
                    <a:pt x="1186" y="1646"/>
                  </a:lnTo>
                  <a:lnTo>
                    <a:pt x="1194" y="1638"/>
                  </a:lnTo>
                  <a:lnTo>
                    <a:pt x="1198" y="1632"/>
                  </a:lnTo>
                  <a:lnTo>
                    <a:pt x="1196" y="1630"/>
                  </a:lnTo>
                  <a:lnTo>
                    <a:pt x="1194" y="1632"/>
                  </a:lnTo>
                  <a:lnTo>
                    <a:pt x="1186" y="1636"/>
                  </a:lnTo>
                  <a:close/>
                  <a:moveTo>
                    <a:pt x="1058" y="962"/>
                  </a:moveTo>
                  <a:lnTo>
                    <a:pt x="1058" y="962"/>
                  </a:lnTo>
                  <a:lnTo>
                    <a:pt x="1050" y="960"/>
                  </a:lnTo>
                  <a:lnTo>
                    <a:pt x="1048" y="962"/>
                  </a:lnTo>
                  <a:lnTo>
                    <a:pt x="1046" y="964"/>
                  </a:lnTo>
                  <a:lnTo>
                    <a:pt x="1048" y="964"/>
                  </a:lnTo>
                  <a:lnTo>
                    <a:pt x="1054" y="964"/>
                  </a:lnTo>
                  <a:lnTo>
                    <a:pt x="1058" y="962"/>
                  </a:lnTo>
                  <a:close/>
                  <a:moveTo>
                    <a:pt x="1366" y="1568"/>
                  </a:moveTo>
                  <a:lnTo>
                    <a:pt x="1366" y="1568"/>
                  </a:lnTo>
                  <a:lnTo>
                    <a:pt x="1364" y="1566"/>
                  </a:lnTo>
                  <a:lnTo>
                    <a:pt x="1360" y="1564"/>
                  </a:lnTo>
                  <a:lnTo>
                    <a:pt x="1356" y="1564"/>
                  </a:lnTo>
                  <a:lnTo>
                    <a:pt x="1354" y="1566"/>
                  </a:lnTo>
                  <a:lnTo>
                    <a:pt x="1356" y="1568"/>
                  </a:lnTo>
                  <a:lnTo>
                    <a:pt x="1360" y="1570"/>
                  </a:lnTo>
                  <a:lnTo>
                    <a:pt x="1364" y="1570"/>
                  </a:lnTo>
                  <a:lnTo>
                    <a:pt x="1366" y="1568"/>
                  </a:lnTo>
                  <a:close/>
                  <a:moveTo>
                    <a:pt x="1332" y="1588"/>
                  </a:moveTo>
                  <a:lnTo>
                    <a:pt x="1332" y="1588"/>
                  </a:lnTo>
                  <a:lnTo>
                    <a:pt x="1336" y="1586"/>
                  </a:lnTo>
                  <a:lnTo>
                    <a:pt x="1338" y="1584"/>
                  </a:lnTo>
                  <a:lnTo>
                    <a:pt x="1338" y="1582"/>
                  </a:lnTo>
                  <a:lnTo>
                    <a:pt x="1342" y="1580"/>
                  </a:lnTo>
                  <a:lnTo>
                    <a:pt x="1344" y="1582"/>
                  </a:lnTo>
                  <a:lnTo>
                    <a:pt x="1346" y="1580"/>
                  </a:lnTo>
                  <a:lnTo>
                    <a:pt x="1346" y="1578"/>
                  </a:lnTo>
                  <a:lnTo>
                    <a:pt x="1348" y="1578"/>
                  </a:lnTo>
                  <a:lnTo>
                    <a:pt x="1350" y="1578"/>
                  </a:lnTo>
                  <a:lnTo>
                    <a:pt x="1352" y="1576"/>
                  </a:lnTo>
                  <a:lnTo>
                    <a:pt x="1350" y="1574"/>
                  </a:lnTo>
                  <a:lnTo>
                    <a:pt x="1346" y="1570"/>
                  </a:lnTo>
                  <a:lnTo>
                    <a:pt x="1336" y="1562"/>
                  </a:lnTo>
                  <a:lnTo>
                    <a:pt x="1334" y="1562"/>
                  </a:lnTo>
                  <a:lnTo>
                    <a:pt x="1330" y="1566"/>
                  </a:lnTo>
                  <a:lnTo>
                    <a:pt x="1326" y="1568"/>
                  </a:lnTo>
                  <a:lnTo>
                    <a:pt x="1320" y="1570"/>
                  </a:lnTo>
                  <a:lnTo>
                    <a:pt x="1316" y="1570"/>
                  </a:lnTo>
                  <a:lnTo>
                    <a:pt x="1312" y="1570"/>
                  </a:lnTo>
                  <a:lnTo>
                    <a:pt x="1310" y="1572"/>
                  </a:lnTo>
                  <a:lnTo>
                    <a:pt x="1312" y="1574"/>
                  </a:lnTo>
                  <a:lnTo>
                    <a:pt x="1322" y="1574"/>
                  </a:lnTo>
                  <a:lnTo>
                    <a:pt x="1324" y="1574"/>
                  </a:lnTo>
                  <a:lnTo>
                    <a:pt x="1326" y="1576"/>
                  </a:lnTo>
                  <a:lnTo>
                    <a:pt x="1326" y="1580"/>
                  </a:lnTo>
                  <a:lnTo>
                    <a:pt x="1328" y="1584"/>
                  </a:lnTo>
                  <a:lnTo>
                    <a:pt x="1330" y="1586"/>
                  </a:lnTo>
                  <a:lnTo>
                    <a:pt x="1332" y="1588"/>
                  </a:lnTo>
                  <a:close/>
                  <a:moveTo>
                    <a:pt x="1306" y="1608"/>
                  </a:moveTo>
                  <a:lnTo>
                    <a:pt x="1306" y="1608"/>
                  </a:lnTo>
                  <a:lnTo>
                    <a:pt x="1304" y="1610"/>
                  </a:lnTo>
                  <a:lnTo>
                    <a:pt x="1302" y="1612"/>
                  </a:lnTo>
                  <a:lnTo>
                    <a:pt x="1304" y="1616"/>
                  </a:lnTo>
                  <a:lnTo>
                    <a:pt x="1310" y="1618"/>
                  </a:lnTo>
                  <a:lnTo>
                    <a:pt x="1316" y="1622"/>
                  </a:lnTo>
                  <a:lnTo>
                    <a:pt x="1316" y="1624"/>
                  </a:lnTo>
                  <a:lnTo>
                    <a:pt x="1312" y="1628"/>
                  </a:lnTo>
                  <a:lnTo>
                    <a:pt x="1308" y="1630"/>
                  </a:lnTo>
                  <a:lnTo>
                    <a:pt x="1308" y="1634"/>
                  </a:lnTo>
                  <a:lnTo>
                    <a:pt x="1308" y="1636"/>
                  </a:lnTo>
                  <a:lnTo>
                    <a:pt x="1314" y="1636"/>
                  </a:lnTo>
                  <a:lnTo>
                    <a:pt x="1316" y="1634"/>
                  </a:lnTo>
                  <a:lnTo>
                    <a:pt x="1318" y="1630"/>
                  </a:lnTo>
                  <a:lnTo>
                    <a:pt x="1322" y="1620"/>
                  </a:lnTo>
                  <a:lnTo>
                    <a:pt x="1326" y="1618"/>
                  </a:lnTo>
                  <a:lnTo>
                    <a:pt x="1328" y="1616"/>
                  </a:lnTo>
                  <a:lnTo>
                    <a:pt x="1330" y="1616"/>
                  </a:lnTo>
                  <a:lnTo>
                    <a:pt x="1334" y="1618"/>
                  </a:lnTo>
                  <a:lnTo>
                    <a:pt x="1340" y="1614"/>
                  </a:lnTo>
                  <a:lnTo>
                    <a:pt x="1348" y="1610"/>
                  </a:lnTo>
                  <a:lnTo>
                    <a:pt x="1352" y="1604"/>
                  </a:lnTo>
                  <a:lnTo>
                    <a:pt x="1356" y="1602"/>
                  </a:lnTo>
                  <a:lnTo>
                    <a:pt x="1358" y="1602"/>
                  </a:lnTo>
                  <a:lnTo>
                    <a:pt x="1358" y="1604"/>
                  </a:lnTo>
                  <a:lnTo>
                    <a:pt x="1362" y="1604"/>
                  </a:lnTo>
                  <a:lnTo>
                    <a:pt x="1364" y="1602"/>
                  </a:lnTo>
                  <a:lnTo>
                    <a:pt x="1362" y="1602"/>
                  </a:lnTo>
                  <a:lnTo>
                    <a:pt x="1354" y="1596"/>
                  </a:lnTo>
                  <a:lnTo>
                    <a:pt x="1348" y="1594"/>
                  </a:lnTo>
                  <a:lnTo>
                    <a:pt x="1342" y="1594"/>
                  </a:lnTo>
                  <a:lnTo>
                    <a:pt x="1338" y="1594"/>
                  </a:lnTo>
                  <a:lnTo>
                    <a:pt x="1334" y="1592"/>
                  </a:lnTo>
                  <a:lnTo>
                    <a:pt x="1330" y="1590"/>
                  </a:lnTo>
                  <a:lnTo>
                    <a:pt x="1324" y="1592"/>
                  </a:lnTo>
                  <a:lnTo>
                    <a:pt x="1318" y="1594"/>
                  </a:lnTo>
                  <a:lnTo>
                    <a:pt x="1314" y="1600"/>
                  </a:lnTo>
                  <a:lnTo>
                    <a:pt x="1312" y="1602"/>
                  </a:lnTo>
                  <a:lnTo>
                    <a:pt x="1310" y="1602"/>
                  </a:lnTo>
                  <a:lnTo>
                    <a:pt x="1308" y="1598"/>
                  </a:lnTo>
                  <a:lnTo>
                    <a:pt x="1304" y="1598"/>
                  </a:lnTo>
                  <a:lnTo>
                    <a:pt x="1304" y="1600"/>
                  </a:lnTo>
                  <a:lnTo>
                    <a:pt x="1306" y="1604"/>
                  </a:lnTo>
                  <a:lnTo>
                    <a:pt x="1308" y="1606"/>
                  </a:lnTo>
                  <a:lnTo>
                    <a:pt x="1308" y="1608"/>
                  </a:lnTo>
                  <a:lnTo>
                    <a:pt x="1306" y="1608"/>
                  </a:lnTo>
                  <a:close/>
                  <a:moveTo>
                    <a:pt x="1364" y="1596"/>
                  </a:moveTo>
                  <a:lnTo>
                    <a:pt x="1364" y="1596"/>
                  </a:lnTo>
                  <a:lnTo>
                    <a:pt x="1364" y="1592"/>
                  </a:lnTo>
                  <a:lnTo>
                    <a:pt x="1360" y="1590"/>
                  </a:lnTo>
                  <a:lnTo>
                    <a:pt x="1356" y="1588"/>
                  </a:lnTo>
                  <a:lnTo>
                    <a:pt x="1354" y="1588"/>
                  </a:lnTo>
                  <a:lnTo>
                    <a:pt x="1354" y="1592"/>
                  </a:lnTo>
                  <a:lnTo>
                    <a:pt x="1356" y="1596"/>
                  </a:lnTo>
                  <a:lnTo>
                    <a:pt x="1360" y="1598"/>
                  </a:lnTo>
                  <a:lnTo>
                    <a:pt x="1364" y="1596"/>
                  </a:lnTo>
                  <a:close/>
                  <a:moveTo>
                    <a:pt x="1102" y="2532"/>
                  </a:moveTo>
                  <a:lnTo>
                    <a:pt x="1102" y="2532"/>
                  </a:lnTo>
                  <a:lnTo>
                    <a:pt x="1110" y="2530"/>
                  </a:lnTo>
                  <a:lnTo>
                    <a:pt x="1112" y="2530"/>
                  </a:lnTo>
                  <a:lnTo>
                    <a:pt x="1110" y="2528"/>
                  </a:lnTo>
                  <a:lnTo>
                    <a:pt x="1098" y="2526"/>
                  </a:lnTo>
                  <a:lnTo>
                    <a:pt x="1092" y="2528"/>
                  </a:lnTo>
                  <a:lnTo>
                    <a:pt x="1094" y="2530"/>
                  </a:lnTo>
                  <a:lnTo>
                    <a:pt x="1096" y="2532"/>
                  </a:lnTo>
                  <a:lnTo>
                    <a:pt x="1102" y="2532"/>
                  </a:lnTo>
                  <a:close/>
                  <a:moveTo>
                    <a:pt x="470" y="2754"/>
                  </a:moveTo>
                  <a:lnTo>
                    <a:pt x="470" y="2754"/>
                  </a:lnTo>
                  <a:lnTo>
                    <a:pt x="472" y="2756"/>
                  </a:lnTo>
                  <a:lnTo>
                    <a:pt x="476" y="2756"/>
                  </a:lnTo>
                  <a:lnTo>
                    <a:pt x="482" y="2752"/>
                  </a:lnTo>
                  <a:lnTo>
                    <a:pt x="486" y="2746"/>
                  </a:lnTo>
                  <a:lnTo>
                    <a:pt x="486" y="2744"/>
                  </a:lnTo>
                  <a:lnTo>
                    <a:pt x="484" y="2740"/>
                  </a:lnTo>
                  <a:lnTo>
                    <a:pt x="482" y="2740"/>
                  </a:lnTo>
                  <a:lnTo>
                    <a:pt x="480" y="2740"/>
                  </a:lnTo>
                  <a:lnTo>
                    <a:pt x="474" y="2744"/>
                  </a:lnTo>
                  <a:lnTo>
                    <a:pt x="470" y="2750"/>
                  </a:lnTo>
                  <a:lnTo>
                    <a:pt x="470" y="2752"/>
                  </a:lnTo>
                  <a:lnTo>
                    <a:pt x="470" y="2754"/>
                  </a:lnTo>
                  <a:close/>
                  <a:moveTo>
                    <a:pt x="808" y="2632"/>
                  </a:moveTo>
                  <a:lnTo>
                    <a:pt x="808" y="2632"/>
                  </a:lnTo>
                  <a:lnTo>
                    <a:pt x="804" y="2628"/>
                  </a:lnTo>
                  <a:lnTo>
                    <a:pt x="802" y="2626"/>
                  </a:lnTo>
                  <a:lnTo>
                    <a:pt x="798" y="2624"/>
                  </a:lnTo>
                  <a:lnTo>
                    <a:pt x="794" y="2626"/>
                  </a:lnTo>
                  <a:lnTo>
                    <a:pt x="790" y="2628"/>
                  </a:lnTo>
                  <a:lnTo>
                    <a:pt x="776" y="2638"/>
                  </a:lnTo>
                  <a:lnTo>
                    <a:pt x="768" y="2644"/>
                  </a:lnTo>
                  <a:lnTo>
                    <a:pt x="762" y="2646"/>
                  </a:lnTo>
                  <a:lnTo>
                    <a:pt x="758" y="2644"/>
                  </a:lnTo>
                  <a:lnTo>
                    <a:pt x="756" y="2642"/>
                  </a:lnTo>
                  <a:lnTo>
                    <a:pt x="752" y="2640"/>
                  </a:lnTo>
                  <a:lnTo>
                    <a:pt x="750" y="2650"/>
                  </a:lnTo>
                  <a:lnTo>
                    <a:pt x="752" y="2654"/>
                  </a:lnTo>
                  <a:lnTo>
                    <a:pt x="752" y="2658"/>
                  </a:lnTo>
                  <a:lnTo>
                    <a:pt x="756" y="2664"/>
                  </a:lnTo>
                  <a:lnTo>
                    <a:pt x="760" y="2672"/>
                  </a:lnTo>
                  <a:lnTo>
                    <a:pt x="762" y="2678"/>
                  </a:lnTo>
                  <a:lnTo>
                    <a:pt x="762" y="2686"/>
                  </a:lnTo>
                  <a:lnTo>
                    <a:pt x="762" y="2694"/>
                  </a:lnTo>
                  <a:lnTo>
                    <a:pt x="764" y="2698"/>
                  </a:lnTo>
                  <a:lnTo>
                    <a:pt x="764" y="2702"/>
                  </a:lnTo>
                  <a:lnTo>
                    <a:pt x="762" y="2714"/>
                  </a:lnTo>
                  <a:lnTo>
                    <a:pt x="760" y="2728"/>
                  </a:lnTo>
                  <a:lnTo>
                    <a:pt x="764" y="2742"/>
                  </a:lnTo>
                  <a:lnTo>
                    <a:pt x="766" y="2746"/>
                  </a:lnTo>
                  <a:lnTo>
                    <a:pt x="770" y="2750"/>
                  </a:lnTo>
                  <a:lnTo>
                    <a:pt x="774" y="2752"/>
                  </a:lnTo>
                  <a:lnTo>
                    <a:pt x="778" y="2752"/>
                  </a:lnTo>
                  <a:lnTo>
                    <a:pt x="782" y="2752"/>
                  </a:lnTo>
                  <a:lnTo>
                    <a:pt x="784" y="2748"/>
                  </a:lnTo>
                  <a:lnTo>
                    <a:pt x="788" y="2742"/>
                  </a:lnTo>
                  <a:lnTo>
                    <a:pt x="790" y="2738"/>
                  </a:lnTo>
                  <a:lnTo>
                    <a:pt x="792" y="2736"/>
                  </a:lnTo>
                  <a:lnTo>
                    <a:pt x="796" y="2738"/>
                  </a:lnTo>
                  <a:lnTo>
                    <a:pt x="802" y="2740"/>
                  </a:lnTo>
                  <a:lnTo>
                    <a:pt x="806" y="2740"/>
                  </a:lnTo>
                  <a:lnTo>
                    <a:pt x="808" y="2736"/>
                  </a:lnTo>
                  <a:lnTo>
                    <a:pt x="810" y="2726"/>
                  </a:lnTo>
                  <a:lnTo>
                    <a:pt x="814" y="2708"/>
                  </a:lnTo>
                  <a:lnTo>
                    <a:pt x="816" y="2698"/>
                  </a:lnTo>
                  <a:lnTo>
                    <a:pt x="814" y="2690"/>
                  </a:lnTo>
                  <a:lnTo>
                    <a:pt x="812" y="2682"/>
                  </a:lnTo>
                  <a:lnTo>
                    <a:pt x="810" y="2678"/>
                  </a:lnTo>
                  <a:lnTo>
                    <a:pt x="814" y="2672"/>
                  </a:lnTo>
                  <a:lnTo>
                    <a:pt x="818" y="2668"/>
                  </a:lnTo>
                  <a:lnTo>
                    <a:pt x="818" y="2662"/>
                  </a:lnTo>
                  <a:lnTo>
                    <a:pt x="818" y="2652"/>
                  </a:lnTo>
                  <a:lnTo>
                    <a:pt x="814" y="2642"/>
                  </a:lnTo>
                  <a:lnTo>
                    <a:pt x="808" y="2632"/>
                  </a:lnTo>
                  <a:close/>
                  <a:moveTo>
                    <a:pt x="576" y="2694"/>
                  </a:moveTo>
                  <a:lnTo>
                    <a:pt x="576" y="2694"/>
                  </a:lnTo>
                  <a:lnTo>
                    <a:pt x="578" y="2696"/>
                  </a:lnTo>
                  <a:lnTo>
                    <a:pt x="580" y="2696"/>
                  </a:lnTo>
                  <a:lnTo>
                    <a:pt x="584" y="2696"/>
                  </a:lnTo>
                  <a:lnTo>
                    <a:pt x="588" y="2698"/>
                  </a:lnTo>
                  <a:lnTo>
                    <a:pt x="592" y="2702"/>
                  </a:lnTo>
                  <a:lnTo>
                    <a:pt x="594" y="2700"/>
                  </a:lnTo>
                  <a:lnTo>
                    <a:pt x="596" y="2698"/>
                  </a:lnTo>
                  <a:lnTo>
                    <a:pt x="594" y="2692"/>
                  </a:lnTo>
                  <a:lnTo>
                    <a:pt x="594" y="2690"/>
                  </a:lnTo>
                  <a:lnTo>
                    <a:pt x="590" y="2688"/>
                  </a:lnTo>
                  <a:lnTo>
                    <a:pt x="584" y="2686"/>
                  </a:lnTo>
                  <a:lnTo>
                    <a:pt x="578" y="2688"/>
                  </a:lnTo>
                  <a:lnTo>
                    <a:pt x="576" y="2690"/>
                  </a:lnTo>
                  <a:lnTo>
                    <a:pt x="576" y="2694"/>
                  </a:lnTo>
                  <a:close/>
                  <a:moveTo>
                    <a:pt x="1022" y="2792"/>
                  </a:moveTo>
                  <a:lnTo>
                    <a:pt x="1022" y="2792"/>
                  </a:lnTo>
                  <a:lnTo>
                    <a:pt x="1016" y="2792"/>
                  </a:lnTo>
                  <a:lnTo>
                    <a:pt x="1010" y="2794"/>
                  </a:lnTo>
                  <a:lnTo>
                    <a:pt x="998" y="2800"/>
                  </a:lnTo>
                  <a:lnTo>
                    <a:pt x="990" y="2802"/>
                  </a:lnTo>
                  <a:lnTo>
                    <a:pt x="982" y="2802"/>
                  </a:lnTo>
                  <a:lnTo>
                    <a:pt x="974" y="2800"/>
                  </a:lnTo>
                  <a:lnTo>
                    <a:pt x="966" y="2796"/>
                  </a:lnTo>
                  <a:lnTo>
                    <a:pt x="960" y="2790"/>
                  </a:lnTo>
                  <a:lnTo>
                    <a:pt x="954" y="2790"/>
                  </a:lnTo>
                  <a:lnTo>
                    <a:pt x="950" y="2792"/>
                  </a:lnTo>
                  <a:lnTo>
                    <a:pt x="948" y="2794"/>
                  </a:lnTo>
                  <a:lnTo>
                    <a:pt x="944" y="2800"/>
                  </a:lnTo>
                  <a:lnTo>
                    <a:pt x="942" y="2800"/>
                  </a:lnTo>
                  <a:lnTo>
                    <a:pt x="938" y="2794"/>
                  </a:lnTo>
                  <a:lnTo>
                    <a:pt x="936" y="2794"/>
                  </a:lnTo>
                  <a:lnTo>
                    <a:pt x="934" y="2792"/>
                  </a:lnTo>
                  <a:lnTo>
                    <a:pt x="930" y="2796"/>
                  </a:lnTo>
                  <a:lnTo>
                    <a:pt x="926" y="2802"/>
                  </a:lnTo>
                  <a:lnTo>
                    <a:pt x="924" y="2814"/>
                  </a:lnTo>
                  <a:lnTo>
                    <a:pt x="926" y="2820"/>
                  </a:lnTo>
                  <a:lnTo>
                    <a:pt x="930" y="2822"/>
                  </a:lnTo>
                  <a:lnTo>
                    <a:pt x="944" y="2828"/>
                  </a:lnTo>
                  <a:lnTo>
                    <a:pt x="954" y="2832"/>
                  </a:lnTo>
                  <a:lnTo>
                    <a:pt x="966" y="2840"/>
                  </a:lnTo>
                  <a:lnTo>
                    <a:pt x="976" y="2848"/>
                  </a:lnTo>
                  <a:lnTo>
                    <a:pt x="982" y="2850"/>
                  </a:lnTo>
                  <a:lnTo>
                    <a:pt x="986" y="2850"/>
                  </a:lnTo>
                  <a:lnTo>
                    <a:pt x="994" y="2852"/>
                  </a:lnTo>
                  <a:lnTo>
                    <a:pt x="1000" y="2858"/>
                  </a:lnTo>
                  <a:lnTo>
                    <a:pt x="1008" y="2864"/>
                  </a:lnTo>
                  <a:lnTo>
                    <a:pt x="1016" y="2870"/>
                  </a:lnTo>
                  <a:lnTo>
                    <a:pt x="1030" y="2874"/>
                  </a:lnTo>
                  <a:lnTo>
                    <a:pt x="1032" y="2874"/>
                  </a:lnTo>
                  <a:lnTo>
                    <a:pt x="1032" y="2870"/>
                  </a:lnTo>
                  <a:lnTo>
                    <a:pt x="1034" y="2862"/>
                  </a:lnTo>
                  <a:lnTo>
                    <a:pt x="1036" y="2852"/>
                  </a:lnTo>
                  <a:lnTo>
                    <a:pt x="1036" y="2844"/>
                  </a:lnTo>
                  <a:lnTo>
                    <a:pt x="1034" y="2840"/>
                  </a:lnTo>
                  <a:lnTo>
                    <a:pt x="1032" y="2838"/>
                  </a:lnTo>
                  <a:lnTo>
                    <a:pt x="1030" y="2834"/>
                  </a:lnTo>
                  <a:lnTo>
                    <a:pt x="1030" y="2828"/>
                  </a:lnTo>
                  <a:lnTo>
                    <a:pt x="1036" y="2814"/>
                  </a:lnTo>
                  <a:lnTo>
                    <a:pt x="1050" y="2788"/>
                  </a:lnTo>
                  <a:lnTo>
                    <a:pt x="1052" y="2786"/>
                  </a:lnTo>
                  <a:lnTo>
                    <a:pt x="1050" y="2784"/>
                  </a:lnTo>
                  <a:lnTo>
                    <a:pt x="1042" y="2788"/>
                  </a:lnTo>
                  <a:lnTo>
                    <a:pt x="1032" y="2792"/>
                  </a:lnTo>
                  <a:lnTo>
                    <a:pt x="1026" y="2792"/>
                  </a:lnTo>
                  <a:lnTo>
                    <a:pt x="1022" y="2792"/>
                  </a:lnTo>
                  <a:close/>
                  <a:moveTo>
                    <a:pt x="802" y="2526"/>
                  </a:moveTo>
                  <a:lnTo>
                    <a:pt x="802" y="2526"/>
                  </a:lnTo>
                  <a:lnTo>
                    <a:pt x="800" y="2524"/>
                  </a:lnTo>
                  <a:lnTo>
                    <a:pt x="800" y="2526"/>
                  </a:lnTo>
                  <a:lnTo>
                    <a:pt x="798" y="2534"/>
                  </a:lnTo>
                  <a:lnTo>
                    <a:pt x="798" y="2540"/>
                  </a:lnTo>
                  <a:lnTo>
                    <a:pt x="798" y="2542"/>
                  </a:lnTo>
                  <a:lnTo>
                    <a:pt x="794" y="2542"/>
                  </a:lnTo>
                  <a:lnTo>
                    <a:pt x="790" y="2542"/>
                  </a:lnTo>
                  <a:lnTo>
                    <a:pt x="788" y="2542"/>
                  </a:lnTo>
                  <a:lnTo>
                    <a:pt x="782" y="2546"/>
                  </a:lnTo>
                  <a:lnTo>
                    <a:pt x="778" y="2548"/>
                  </a:lnTo>
                  <a:lnTo>
                    <a:pt x="774" y="2550"/>
                  </a:lnTo>
                  <a:lnTo>
                    <a:pt x="772" y="2550"/>
                  </a:lnTo>
                  <a:lnTo>
                    <a:pt x="772" y="2554"/>
                  </a:lnTo>
                  <a:lnTo>
                    <a:pt x="770" y="2568"/>
                  </a:lnTo>
                  <a:lnTo>
                    <a:pt x="770" y="2580"/>
                  </a:lnTo>
                  <a:lnTo>
                    <a:pt x="770" y="2584"/>
                  </a:lnTo>
                  <a:lnTo>
                    <a:pt x="772" y="2586"/>
                  </a:lnTo>
                  <a:lnTo>
                    <a:pt x="776" y="2586"/>
                  </a:lnTo>
                  <a:lnTo>
                    <a:pt x="776" y="2588"/>
                  </a:lnTo>
                  <a:lnTo>
                    <a:pt x="774" y="2592"/>
                  </a:lnTo>
                  <a:lnTo>
                    <a:pt x="772" y="2594"/>
                  </a:lnTo>
                  <a:lnTo>
                    <a:pt x="772" y="2596"/>
                  </a:lnTo>
                  <a:lnTo>
                    <a:pt x="778" y="2596"/>
                  </a:lnTo>
                  <a:lnTo>
                    <a:pt x="780" y="2598"/>
                  </a:lnTo>
                  <a:lnTo>
                    <a:pt x="778" y="2602"/>
                  </a:lnTo>
                  <a:lnTo>
                    <a:pt x="776" y="2604"/>
                  </a:lnTo>
                  <a:lnTo>
                    <a:pt x="776" y="2606"/>
                  </a:lnTo>
                  <a:lnTo>
                    <a:pt x="778" y="2608"/>
                  </a:lnTo>
                  <a:lnTo>
                    <a:pt x="786" y="2612"/>
                  </a:lnTo>
                  <a:lnTo>
                    <a:pt x="788" y="2614"/>
                  </a:lnTo>
                  <a:lnTo>
                    <a:pt x="790" y="2616"/>
                  </a:lnTo>
                  <a:lnTo>
                    <a:pt x="792" y="2616"/>
                  </a:lnTo>
                  <a:lnTo>
                    <a:pt x="794" y="2616"/>
                  </a:lnTo>
                  <a:lnTo>
                    <a:pt x="794" y="2612"/>
                  </a:lnTo>
                  <a:lnTo>
                    <a:pt x="794" y="2610"/>
                  </a:lnTo>
                  <a:lnTo>
                    <a:pt x="796" y="2606"/>
                  </a:lnTo>
                  <a:lnTo>
                    <a:pt x="800" y="2604"/>
                  </a:lnTo>
                  <a:lnTo>
                    <a:pt x="800" y="2600"/>
                  </a:lnTo>
                  <a:lnTo>
                    <a:pt x="802" y="2588"/>
                  </a:lnTo>
                  <a:lnTo>
                    <a:pt x="802" y="2582"/>
                  </a:lnTo>
                  <a:lnTo>
                    <a:pt x="804" y="2578"/>
                  </a:lnTo>
                  <a:lnTo>
                    <a:pt x="808" y="2574"/>
                  </a:lnTo>
                  <a:lnTo>
                    <a:pt x="808" y="2562"/>
                  </a:lnTo>
                  <a:lnTo>
                    <a:pt x="806" y="2552"/>
                  </a:lnTo>
                  <a:lnTo>
                    <a:pt x="804" y="2546"/>
                  </a:lnTo>
                  <a:lnTo>
                    <a:pt x="804" y="2544"/>
                  </a:lnTo>
                  <a:lnTo>
                    <a:pt x="804" y="2540"/>
                  </a:lnTo>
                  <a:lnTo>
                    <a:pt x="804" y="2530"/>
                  </a:lnTo>
                  <a:lnTo>
                    <a:pt x="804" y="2528"/>
                  </a:lnTo>
                  <a:lnTo>
                    <a:pt x="802" y="2526"/>
                  </a:lnTo>
                  <a:close/>
                  <a:moveTo>
                    <a:pt x="550" y="2700"/>
                  </a:moveTo>
                  <a:lnTo>
                    <a:pt x="550" y="2700"/>
                  </a:lnTo>
                  <a:lnTo>
                    <a:pt x="548" y="2696"/>
                  </a:lnTo>
                  <a:lnTo>
                    <a:pt x="544" y="2696"/>
                  </a:lnTo>
                  <a:lnTo>
                    <a:pt x="538" y="2698"/>
                  </a:lnTo>
                  <a:lnTo>
                    <a:pt x="532" y="2702"/>
                  </a:lnTo>
                  <a:lnTo>
                    <a:pt x="520" y="2712"/>
                  </a:lnTo>
                  <a:lnTo>
                    <a:pt x="518" y="2716"/>
                  </a:lnTo>
                  <a:lnTo>
                    <a:pt x="520" y="2718"/>
                  </a:lnTo>
                  <a:lnTo>
                    <a:pt x="520" y="2720"/>
                  </a:lnTo>
                  <a:lnTo>
                    <a:pt x="526" y="2718"/>
                  </a:lnTo>
                  <a:lnTo>
                    <a:pt x="530" y="2718"/>
                  </a:lnTo>
                  <a:lnTo>
                    <a:pt x="532" y="2720"/>
                  </a:lnTo>
                  <a:lnTo>
                    <a:pt x="536" y="2726"/>
                  </a:lnTo>
                  <a:lnTo>
                    <a:pt x="542" y="2730"/>
                  </a:lnTo>
                  <a:lnTo>
                    <a:pt x="546" y="2732"/>
                  </a:lnTo>
                  <a:lnTo>
                    <a:pt x="548" y="2732"/>
                  </a:lnTo>
                  <a:lnTo>
                    <a:pt x="554" y="2726"/>
                  </a:lnTo>
                  <a:lnTo>
                    <a:pt x="562" y="2708"/>
                  </a:lnTo>
                  <a:lnTo>
                    <a:pt x="564" y="2706"/>
                  </a:lnTo>
                  <a:lnTo>
                    <a:pt x="564" y="2704"/>
                  </a:lnTo>
                  <a:lnTo>
                    <a:pt x="558" y="2704"/>
                  </a:lnTo>
                  <a:lnTo>
                    <a:pt x="552" y="2706"/>
                  </a:lnTo>
                  <a:lnTo>
                    <a:pt x="550" y="2704"/>
                  </a:lnTo>
                  <a:lnTo>
                    <a:pt x="550" y="2700"/>
                  </a:lnTo>
                  <a:close/>
                  <a:moveTo>
                    <a:pt x="1254" y="2806"/>
                  </a:moveTo>
                  <a:lnTo>
                    <a:pt x="1254" y="2806"/>
                  </a:lnTo>
                  <a:lnTo>
                    <a:pt x="1252" y="2810"/>
                  </a:lnTo>
                  <a:lnTo>
                    <a:pt x="1254" y="2814"/>
                  </a:lnTo>
                  <a:lnTo>
                    <a:pt x="1260" y="2818"/>
                  </a:lnTo>
                  <a:lnTo>
                    <a:pt x="1264" y="2820"/>
                  </a:lnTo>
                  <a:lnTo>
                    <a:pt x="1266" y="2818"/>
                  </a:lnTo>
                  <a:lnTo>
                    <a:pt x="1266" y="2816"/>
                  </a:lnTo>
                  <a:lnTo>
                    <a:pt x="1264" y="2812"/>
                  </a:lnTo>
                  <a:lnTo>
                    <a:pt x="1258" y="2808"/>
                  </a:lnTo>
                  <a:lnTo>
                    <a:pt x="1254" y="2806"/>
                  </a:lnTo>
                  <a:close/>
                  <a:moveTo>
                    <a:pt x="1410" y="2874"/>
                  </a:moveTo>
                  <a:lnTo>
                    <a:pt x="1410" y="2874"/>
                  </a:lnTo>
                  <a:lnTo>
                    <a:pt x="1412" y="2870"/>
                  </a:lnTo>
                  <a:lnTo>
                    <a:pt x="1410" y="2868"/>
                  </a:lnTo>
                  <a:lnTo>
                    <a:pt x="1408" y="2868"/>
                  </a:lnTo>
                  <a:lnTo>
                    <a:pt x="1402" y="2870"/>
                  </a:lnTo>
                  <a:lnTo>
                    <a:pt x="1402" y="2872"/>
                  </a:lnTo>
                  <a:lnTo>
                    <a:pt x="1400" y="2874"/>
                  </a:lnTo>
                  <a:lnTo>
                    <a:pt x="1402" y="2876"/>
                  </a:lnTo>
                  <a:lnTo>
                    <a:pt x="1406" y="2876"/>
                  </a:lnTo>
                  <a:lnTo>
                    <a:pt x="1410" y="2874"/>
                  </a:lnTo>
                  <a:close/>
                  <a:moveTo>
                    <a:pt x="1214" y="2706"/>
                  </a:moveTo>
                  <a:lnTo>
                    <a:pt x="1214" y="2706"/>
                  </a:lnTo>
                  <a:lnTo>
                    <a:pt x="1214" y="2712"/>
                  </a:lnTo>
                  <a:lnTo>
                    <a:pt x="1218" y="2718"/>
                  </a:lnTo>
                  <a:lnTo>
                    <a:pt x="1224" y="2722"/>
                  </a:lnTo>
                  <a:lnTo>
                    <a:pt x="1230" y="2726"/>
                  </a:lnTo>
                  <a:lnTo>
                    <a:pt x="1232" y="2726"/>
                  </a:lnTo>
                  <a:lnTo>
                    <a:pt x="1230" y="2724"/>
                  </a:lnTo>
                  <a:lnTo>
                    <a:pt x="1228" y="2720"/>
                  </a:lnTo>
                  <a:lnTo>
                    <a:pt x="1224" y="2714"/>
                  </a:lnTo>
                  <a:lnTo>
                    <a:pt x="1222" y="2708"/>
                  </a:lnTo>
                  <a:lnTo>
                    <a:pt x="1222" y="2704"/>
                  </a:lnTo>
                  <a:lnTo>
                    <a:pt x="1218" y="2702"/>
                  </a:lnTo>
                  <a:lnTo>
                    <a:pt x="1216" y="2702"/>
                  </a:lnTo>
                  <a:lnTo>
                    <a:pt x="1214" y="2706"/>
                  </a:lnTo>
                  <a:close/>
                  <a:moveTo>
                    <a:pt x="1468" y="2954"/>
                  </a:moveTo>
                  <a:lnTo>
                    <a:pt x="1468" y="2954"/>
                  </a:lnTo>
                  <a:lnTo>
                    <a:pt x="1464" y="2956"/>
                  </a:lnTo>
                  <a:lnTo>
                    <a:pt x="1462" y="2956"/>
                  </a:lnTo>
                  <a:lnTo>
                    <a:pt x="1460" y="2952"/>
                  </a:lnTo>
                  <a:lnTo>
                    <a:pt x="1460" y="2948"/>
                  </a:lnTo>
                  <a:lnTo>
                    <a:pt x="1456" y="2946"/>
                  </a:lnTo>
                  <a:lnTo>
                    <a:pt x="1452" y="2946"/>
                  </a:lnTo>
                  <a:lnTo>
                    <a:pt x="1446" y="2948"/>
                  </a:lnTo>
                  <a:lnTo>
                    <a:pt x="1442" y="2946"/>
                  </a:lnTo>
                  <a:lnTo>
                    <a:pt x="1434" y="2944"/>
                  </a:lnTo>
                  <a:lnTo>
                    <a:pt x="1424" y="2942"/>
                  </a:lnTo>
                  <a:lnTo>
                    <a:pt x="1418" y="2942"/>
                  </a:lnTo>
                  <a:lnTo>
                    <a:pt x="1410" y="2944"/>
                  </a:lnTo>
                  <a:lnTo>
                    <a:pt x="1406" y="2944"/>
                  </a:lnTo>
                  <a:lnTo>
                    <a:pt x="1402" y="2942"/>
                  </a:lnTo>
                  <a:lnTo>
                    <a:pt x="1398" y="2938"/>
                  </a:lnTo>
                  <a:lnTo>
                    <a:pt x="1396" y="2934"/>
                  </a:lnTo>
                  <a:lnTo>
                    <a:pt x="1394" y="2932"/>
                  </a:lnTo>
                  <a:lnTo>
                    <a:pt x="1392" y="2934"/>
                  </a:lnTo>
                  <a:lnTo>
                    <a:pt x="1390" y="2934"/>
                  </a:lnTo>
                  <a:lnTo>
                    <a:pt x="1386" y="2934"/>
                  </a:lnTo>
                  <a:lnTo>
                    <a:pt x="1382" y="2932"/>
                  </a:lnTo>
                  <a:lnTo>
                    <a:pt x="1380" y="2928"/>
                  </a:lnTo>
                  <a:lnTo>
                    <a:pt x="1378" y="2928"/>
                  </a:lnTo>
                  <a:lnTo>
                    <a:pt x="1378" y="2930"/>
                  </a:lnTo>
                  <a:lnTo>
                    <a:pt x="1376" y="2934"/>
                  </a:lnTo>
                  <a:lnTo>
                    <a:pt x="1374" y="2936"/>
                  </a:lnTo>
                  <a:lnTo>
                    <a:pt x="1372" y="2938"/>
                  </a:lnTo>
                  <a:lnTo>
                    <a:pt x="1372" y="2946"/>
                  </a:lnTo>
                  <a:lnTo>
                    <a:pt x="1372" y="2950"/>
                  </a:lnTo>
                  <a:lnTo>
                    <a:pt x="1376" y="2952"/>
                  </a:lnTo>
                  <a:lnTo>
                    <a:pt x="1388" y="2952"/>
                  </a:lnTo>
                  <a:lnTo>
                    <a:pt x="1402" y="2954"/>
                  </a:lnTo>
                  <a:lnTo>
                    <a:pt x="1410" y="2958"/>
                  </a:lnTo>
                  <a:lnTo>
                    <a:pt x="1418" y="2962"/>
                  </a:lnTo>
                  <a:lnTo>
                    <a:pt x="1422" y="2964"/>
                  </a:lnTo>
                  <a:lnTo>
                    <a:pt x="1428" y="2966"/>
                  </a:lnTo>
                  <a:lnTo>
                    <a:pt x="1440" y="2966"/>
                  </a:lnTo>
                  <a:lnTo>
                    <a:pt x="1452" y="2964"/>
                  </a:lnTo>
                  <a:lnTo>
                    <a:pt x="1468" y="2964"/>
                  </a:lnTo>
                  <a:lnTo>
                    <a:pt x="1476" y="2962"/>
                  </a:lnTo>
                  <a:lnTo>
                    <a:pt x="1480" y="2960"/>
                  </a:lnTo>
                  <a:lnTo>
                    <a:pt x="1482" y="2958"/>
                  </a:lnTo>
                  <a:lnTo>
                    <a:pt x="1484" y="2954"/>
                  </a:lnTo>
                  <a:lnTo>
                    <a:pt x="1482" y="2952"/>
                  </a:lnTo>
                  <a:lnTo>
                    <a:pt x="1478" y="2950"/>
                  </a:lnTo>
                  <a:lnTo>
                    <a:pt x="1474" y="2950"/>
                  </a:lnTo>
                  <a:lnTo>
                    <a:pt x="1468" y="2954"/>
                  </a:lnTo>
                  <a:close/>
                  <a:moveTo>
                    <a:pt x="1518" y="2942"/>
                  </a:moveTo>
                  <a:lnTo>
                    <a:pt x="1518" y="2942"/>
                  </a:lnTo>
                  <a:lnTo>
                    <a:pt x="1520" y="2940"/>
                  </a:lnTo>
                  <a:lnTo>
                    <a:pt x="1520" y="2938"/>
                  </a:lnTo>
                  <a:lnTo>
                    <a:pt x="1518" y="2926"/>
                  </a:lnTo>
                  <a:lnTo>
                    <a:pt x="1516" y="2924"/>
                  </a:lnTo>
                  <a:lnTo>
                    <a:pt x="1516" y="2926"/>
                  </a:lnTo>
                  <a:lnTo>
                    <a:pt x="1514" y="2932"/>
                  </a:lnTo>
                  <a:lnTo>
                    <a:pt x="1514" y="2938"/>
                  </a:lnTo>
                  <a:lnTo>
                    <a:pt x="1516" y="2940"/>
                  </a:lnTo>
                  <a:lnTo>
                    <a:pt x="1518" y="2942"/>
                  </a:lnTo>
                  <a:close/>
                  <a:moveTo>
                    <a:pt x="1252" y="2768"/>
                  </a:moveTo>
                  <a:lnTo>
                    <a:pt x="1252" y="2768"/>
                  </a:lnTo>
                  <a:lnTo>
                    <a:pt x="1254" y="2768"/>
                  </a:lnTo>
                  <a:lnTo>
                    <a:pt x="1256" y="2766"/>
                  </a:lnTo>
                  <a:lnTo>
                    <a:pt x="1256" y="2764"/>
                  </a:lnTo>
                  <a:lnTo>
                    <a:pt x="1254" y="2760"/>
                  </a:lnTo>
                  <a:lnTo>
                    <a:pt x="1254" y="2758"/>
                  </a:lnTo>
                  <a:lnTo>
                    <a:pt x="1252" y="2758"/>
                  </a:lnTo>
                  <a:lnTo>
                    <a:pt x="1250" y="2762"/>
                  </a:lnTo>
                  <a:lnTo>
                    <a:pt x="1248" y="2766"/>
                  </a:lnTo>
                  <a:lnTo>
                    <a:pt x="1250" y="2768"/>
                  </a:lnTo>
                  <a:lnTo>
                    <a:pt x="1252" y="2768"/>
                  </a:lnTo>
                  <a:close/>
                  <a:moveTo>
                    <a:pt x="1256" y="2790"/>
                  </a:moveTo>
                  <a:lnTo>
                    <a:pt x="1256" y="2790"/>
                  </a:lnTo>
                  <a:lnTo>
                    <a:pt x="1254" y="2786"/>
                  </a:lnTo>
                  <a:lnTo>
                    <a:pt x="1252" y="2782"/>
                  </a:lnTo>
                  <a:lnTo>
                    <a:pt x="1252" y="2780"/>
                  </a:lnTo>
                  <a:lnTo>
                    <a:pt x="1250" y="2780"/>
                  </a:lnTo>
                  <a:lnTo>
                    <a:pt x="1248" y="2782"/>
                  </a:lnTo>
                  <a:lnTo>
                    <a:pt x="1244" y="2782"/>
                  </a:lnTo>
                  <a:lnTo>
                    <a:pt x="1242" y="2784"/>
                  </a:lnTo>
                  <a:lnTo>
                    <a:pt x="1242" y="2790"/>
                  </a:lnTo>
                  <a:lnTo>
                    <a:pt x="1244" y="2794"/>
                  </a:lnTo>
                  <a:lnTo>
                    <a:pt x="1246" y="2794"/>
                  </a:lnTo>
                  <a:lnTo>
                    <a:pt x="1250" y="2794"/>
                  </a:lnTo>
                  <a:lnTo>
                    <a:pt x="1256" y="2796"/>
                  </a:lnTo>
                  <a:lnTo>
                    <a:pt x="1260" y="2798"/>
                  </a:lnTo>
                  <a:lnTo>
                    <a:pt x="1260" y="2794"/>
                  </a:lnTo>
                  <a:lnTo>
                    <a:pt x="1256" y="2790"/>
                  </a:lnTo>
                  <a:close/>
                  <a:moveTo>
                    <a:pt x="1348" y="2902"/>
                  </a:moveTo>
                  <a:lnTo>
                    <a:pt x="1348" y="2902"/>
                  </a:lnTo>
                  <a:lnTo>
                    <a:pt x="1352" y="2904"/>
                  </a:lnTo>
                  <a:lnTo>
                    <a:pt x="1352" y="2902"/>
                  </a:lnTo>
                  <a:lnTo>
                    <a:pt x="1352" y="2898"/>
                  </a:lnTo>
                  <a:lnTo>
                    <a:pt x="1350" y="2892"/>
                  </a:lnTo>
                  <a:lnTo>
                    <a:pt x="1346" y="2890"/>
                  </a:lnTo>
                  <a:lnTo>
                    <a:pt x="1344" y="2892"/>
                  </a:lnTo>
                  <a:lnTo>
                    <a:pt x="1346" y="2896"/>
                  </a:lnTo>
                  <a:lnTo>
                    <a:pt x="1348" y="2902"/>
                  </a:lnTo>
                  <a:close/>
                  <a:moveTo>
                    <a:pt x="1448" y="2860"/>
                  </a:moveTo>
                  <a:lnTo>
                    <a:pt x="1448" y="2860"/>
                  </a:lnTo>
                  <a:lnTo>
                    <a:pt x="1450" y="2860"/>
                  </a:lnTo>
                  <a:lnTo>
                    <a:pt x="1452" y="2860"/>
                  </a:lnTo>
                  <a:lnTo>
                    <a:pt x="1454" y="2854"/>
                  </a:lnTo>
                  <a:lnTo>
                    <a:pt x="1452" y="2848"/>
                  </a:lnTo>
                  <a:lnTo>
                    <a:pt x="1452" y="2846"/>
                  </a:lnTo>
                  <a:lnTo>
                    <a:pt x="1448" y="2846"/>
                  </a:lnTo>
                  <a:lnTo>
                    <a:pt x="1446" y="2850"/>
                  </a:lnTo>
                  <a:lnTo>
                    <a:pt x="1444" y="2852"/>
                  </a:lnTo>
                  <a:lnTo>
                    <a:pt x="1446" y="2856"/>
                  </a:lnTo>
                  <a:lnTo>
                    <a:pt x="1448" y="2860"/>
                  </a:lnTo>
                  <a:close/>
                  <a:moveTo>
                    <a:pt x="1440" y="2848"/>
                  </a:moveTo>
                  <a:lnTo>
                    <a:pt x="1440" y="2848"/>
                  </a:lnTo>
                  <a:lnTo>
                    <a:pt x="1438" y="2848"/>
                  </a:lnTo>
                  <a:lnTo>
                    <a:pt x="1434" y="2850"/>
                  </a:lnTo>
                  <a:lnTo>
                    <a:pt x="1434" y="2854"/>
                  </a:lnTo>
                  <a:lnTo>
                    <a:pt x="1436" y="2856"/>
                  </a:lnTo>
                  <a:lnTo>
                    <a:pt x="1438" y="2856"/>
                  </a:lnTo>
                  <a:lnTo>
                    <a:pt x="1440" y="2854"/>
                  </a:lnTo>
                  <a:lnTo>
                    <a:pt x="1440" y="2850"/>
                  </a:lnTo>
                  <a:lnTo>
                    <a:pt x="1440" y="2848"/>
                  </a:lnTo>
                  <a:close/>
                  <a:moveTo>
                    <a:pt x="2822" y="3608"/>
                  </a:moveTo>
                  <a:lnTo>
                    <a:pt x="2822" y="3608"/>
                  </a:lnTo>
                  <a:lnTo>
                    <a:pt x="2818" y="3606"/>
                  </a:lnTo>
                  <a:lnTo>
                    <a:pt x="2814" y="3598"/>
                  </a:lnTo>
                  <a:lnTo>
                    <a:pt x="2802" y="3578"/>
                  </a:lnTo>
                  <a:lnTo>
                    <a:pt x="2798" y="3570"/>
                  </a:lnTo>
                  <a:lnTo>
                    <a:pt x="2792" y="3562"/>
                  </a:lnTo>
                  <a:lnTo>
                    <a:pt x="2786" y="3558"/>
                  </a:lnTo>
                  <a:lnTo>
                    <a:pt x="2782" y="3556"/>
                  </a:lnTo>
                  <a:lnTo>
                    <a:pt x="2780" y="3558"/>
                  </a:lnTo>
                  <a:lnTo>
                    <a:pt x="2776" y="3558"/>
                  </a:lnTo>
                  <a:lnTo>
                    <a:pt x="2774" y="3558"/>
                  </a:lnTo>
                  <a:lnTo>
                    <a:pt x="2768" y="3554"/>
                  </a:lnTo>
                  <a:lnTo>
                    <a:pt x="2762" y="3550"/>
                  </a:lnTo>
                  <a:lnTo>
                    <a:pt x="2756" y="3548"/>
                  </a:lnTo>
                  <a:lnTo>
                    <a:pt x="2746" y="3546"/>
                  </a:lnTo>
                  <a:lnTo>
                    <a:pt x="2738" y="3544"/>
                  </a:lnTo>
                  <a:lnTo>
                    <a:pt x="2728" y="3540"/>
                  </a:lnTo>
                  <a:lnTo>
                    <a:pt x="2720" y="3532"/>
                  </a:lnTo>
                  <a:lnTo>
                    <a:pt x="2712" y="3524"/>
                  </a:lnTo>
                  <a:lnTo>
                    <a:pt x="2706" y="3516"/>
                  </a:lnTo>
                  <a:lnTo>
                    <a:pt x="2700" y="3506"/>
                  </a:lnTo>
                  <a:lnTo>
                    <a:pt x="2696" y="3496"/>
                  </a:lnTo>
                  <a:lnTo>
                    <a:pt x="2694" y="3488"/>
                  </a:lnTo>
                  <a:lnTo>
                    <a:pt x="2694" y="3464"/>
                  </a:lnTo>
                  <a:lnTo>
                    <a:pt x="2694" y="3458"/>
                  </a:lnTo>
                  <a:lnTo>
                    <a:pt x="2692" y="3454"/>
                  </a:lnTo>
                  <a:lnTo>
                    <a:pt x="2692" y="3448"/>
                  </a:lnTo>
                  <a:lnTo>
                    <a:pt x="2694" y="3442"/>
                  </a:lnTo>
                  <a:lnTo>
                    <a:pt x="2696" y="3438"/>
                  </a:lnTo>
                  <a:lnTo>
                    <a:pt x="2696" y="3434"/>
                  </a:lnTo>
                  <a:lnTo>
                    <a:pt x="2696" y="3430"/>
                  </a:lnTo>
                  <a:lnTo>
                    <a:pt x="2698" y="3422"/>
                  </a:lnTo>
                  <a:lnTo>
                    <a:pt x="2700" y="3418"/>
                  </a:lnTo>
                  <a:lnTo>
                    <a:pt x="2698" y="3416"/>
                  </a:lnTo>
                  <a:lnTo>
                    <a:pt x="2696" y="3414"/>
                  </a:lnTo>
                  <a:lnTo>
                    <a:pt x="2694" y="3416"/>
                  </a:lnTo>
                  <a:lnTo>
                    <a:pt x="2692" y="3416"/>
                  </a:lnTo>
                  <a:lnTo>
                    <a:pt x="2692" y="3420"/>
                  </a:lnTo>
                  <a:lnTo>
                    <a:pt x="2694" y="3424"/>
                  </a:lnTo>
                  <a:lnTo>
                    <a:pt x="2692" y="3424"/>
                  </a:lnTo>
                  <a:lnTo>
                    <a:pt x="2688" y="3422"/>
                  </a:lnTo>
                  <a:lnTo>
                    <a:pt x="2686" y="3422"/>
                  </a:lnTo>
                  <a:lnTo>
                    <a:pt x="2684" y="3432"/>
                  </a:lnTo>
                  <a:lnTo>
                    <a:pt x="2680" y="3444"/>
                  </a:lnTo>
                  <a:lnTo>
                    <a:pt x="2678" y="3444"/>
                  </a:lnTo>
                  <a:lnTo>
                    <a:pt x="2676" y="3444"/>
                  </a:lnTo>
                  <a:lnTo>
                    <a:pt x="2674" y="3444"/>
                  </a:lnTo>
                  <a:lnTo>
                    <a:pt x="2670" y="3452"/>
                  </a:lnTo>
                  <a:lnTo>
                    <a:pt x="2666" y="3458"/>
                  </a:lnTo>
                  <a:lnTo>
                    <a:pt x="2660" y="3462"/>
                  </a:lnTo>
                  <a:lnTo>
                    <a:pt x="2654" y="3468"/>
                  </a:lnTo>
                  <a:lnTo>
                    <a:pt x="2646" y="3476"/>
                  </a:lnTo>
                  <a:lnTo>
                    <a:pt x="2638" y="3488"/>
                  </a:lnTo>
                  <a:lnTo>
                    <a:pt x="2628" y="3496"/>
                  </a:lnTo>
                  <a:lnTo>
                    <a:pt x="2614" y="3508"/>
                  </a:lnTo>
                  <a:lnTo>
                    <a:pt x="2616" y="3510"/>
                  </a:lnTo>
                  <a:lnTo>
                    <a:pt x="2618" y="3512"/>
                  </a:lnTo>
                  <a:lnTo>
                    <a:pt x="2618" y="3516"/>
                  </a:lnTo>
                  <a:lnTo>
                    <a:pt x="2614" y="3524"/>
                  </a:lnTo>
                  <a:lnTo>
                    <a:pt x="2606" y="3530"/>
                  </a:lnTo>
                  <a:lnTo>
                    <a:pt x="2598" y="3532"/>
                  </a:lnTo>
                  <a:lnTo>
                    <a:pt x="2588" y="3534"/>
                  </a:lnTo>
                  <a:lnTo>
                    <a:pt x="2578" y="3532"/>
                  </a:lnTo>
                  <a:lnTo>
                    <a:pt x="2558" y="3528"/>
                  </a:lnTo>
                  <a:lnTo>
                    <a:pt x="2546" y="3528"/>
                  </a:lnTo>
                  <a:lnTo>
                    <a:pt x="2538" y="3532"/>
                  </a:lnTo>
                  <a:lnTo>
                    <a:pt x="2522" y="3538"/>
                  </a:lnTo>
                  <a:lnTo>
                    <a:pt x="2514" y="3538"/>
                  </a:lnTo>
                  <a:lnTo>
                    <a:pt x="2512" y="3538"/>
                  </a:lnTo>
                  <a:lnTo>
                    <a:pt x="2510" y="3536"/>
                  </a:lnTo>
                  <a:lnTo>
                    <a:pt x="2510" y="3528"/>
                  </a:lnTo>
                  <a:lnTo>
                    <a:pt x="2510" y="3522"/>
                  </a:lnTo>
                  <a:lnTo>
                    <a:pt x="2506" y="3522"/>
                  </a:lnTo>
                  <a:lnTo>
                    <a:pt x="2502" y="3522"/>
                  </a:lnTo>
                  <a:lnTo>
                    <a:pt x="2496" y="3522"/>
                  </a:lnTo>
                  <a:lnTo>
                    <a:pt x="2492" y="3520"/>
                  </a:lnTo>
                  <a:lnTo>
                    <a:pt x="2490" y="3518"/>
                  </a:lnTo>
                  <a:lnTo>
                    <a:pt x="2492" y="3514"/>
                  </a:lnTo>
                  <a:lnTo>
                    <a:pt x="2496" y="3510"/>
                  </a:lnTo>
                  <a:lnTo>
                    <a:pt x="2496" y="3506"/>
                  </a:lnTo>
                  <a:lnTo>
                    <a:pt x="2492" y="3508"/>
                  </a:lnTo>
                  <a:lnTo>
                    <a:pt x="2490" y="3508"/>
                  </a:lnTo>
                  <a:lnTo>
                    <a:pt x="2488" y="3508"/>
                  </a:lnTo>
                  <a:lnTo>
                    <a:pt x="2486" y="3506"/>
                  </a:lnTo>
                  <a:lnTo>
                    <a:pt x="2488" y="3504"/>
                  </a:lnTo>
                  <a:lnTo>
                    <a:pt x="2490" y="3504"/>
                  </a:lnTo>
                  <a:lnTo>
                    <a:pt x="2494" y="3504"/>
                  </a:lnTo>
                  <a:lnTo>
                    <a:pt x="2496" y="3502"/>
                  </a:lnTo>
                  <a:lnTo>
                    <a:pt x="2498" y="3496"/>
                  </a:lnTo>
                  <a:lnTo>
                    <a:pt x="2502" y="3480"/>
                  </a:lnTo>
                  <a:lnTo>
                    <a:pt x="2502" y="3474"/>
                  </a:lnTo>
                  <a:lnTo>
                    <a:pt x="2500" y="3468"/>
                  </a:lnTo>
                  <a:lnTo>
                    <a:pt x="2496" y="3462"/>
                  </a:lnTo>
                  <a:lnTo>
                    <a:pt x="2496" y="3458"/>
                  </a:lnTo>
                  <a:lnTo>
                    <a:pt x="2498" y="3454"/>
                  </a:lnTo>
                  <a:lnTo>
                    <a:pt x="2500" y="3448"/>
                  </a:lnTo>
                  <a:lnTo>
                    <a:pt x="2498" y="3440"/>
                  </a:lnTo>
                  <a:lnTo>
                    <a:pt x="2494" y="3434"/>
                  </a:lnTo>
                  <a:lnTo>
                    <a:pt x="2490" y="3428"/>
                  </a:lnTo>
                  <a:lnTo>
                    <a:pt x="2486" y="3426"/>
                  </a:lnTo>
                  <a:lnTo>
                    <a:pt x="2484" y="3426"/>
                  </a:lnTo>
                  <a:lnTo>
                    <a:pt x="2480" y="3430"/>
                  </a:lnTo>
                  <a:lnTo>
                    <a:pt x="2476" y="3444"/>
                  </a:lnTo>
                  <a:lnTo>
                    <a:pt x="2470" y="3456"/>
                  </a:lnTo>
                  <a:lnTo>
                    <a:pt x="2470" y="3466"/>
                  </a:lnTo>
                  <a:lnTo>
                    <a:pt x="2468" y="3498"/>
                  </a:lnTo>
                  <a:lnTo>
                    <a:pt x="2464" y="3486"/>
                  </a:lnTo>
                  <a:lnTo>
                    <a:pt x="2460" y="3478"/>
                  </a:lnTo>
                  <a:lnTo>
                    <a:pt x="2458" y="3468"/>
                  </a:lnTo>
                  <a:lnTo>
                    <a:pt x="2452" y="3462"/>
                  </a:lnTo>
                  <a:lnTo>
                    <a:pt x="2448" y="3456"/>
                  </a:lnTo>
                  <a:lnTo>
                    <a:pt x="2448" y="3454"/>
                  </a:lnTo>
                  <a:lnTo>
                    <a:pt x="2448" y="3450"/>
                  </a:lnTo>
                  <a:lnTo>
                    <a:pt x="2444" y="3444"/>
                  </a:lnTo>
                  <a:lnTo>
                    <a:pt x="2442" y="3438"/>
                  </a:lnTo>
                  <a:lnTo>
                    <a:pt x="2442" y="3434"/>
                  </a:lnTo>
                  <a:lnTo>
                    <a:pt x="2442" y="3428"/>
                  </a:lnTo>
                  <a:lnTo>
                    <a:pt x="2444" y="3420"/>
                  </a:lnTo>
                  <a:lnTo>
                    <a:pt x="2442" y="3414"/>
                  </a:lnTo>
                  <a:lnTo>
                    <a:pt x="2440" y="3408"/>
                  </a:lnTo>
                  <a:lnTo>
                    <a:pt x="2438" y="3402"/>
                  </a:lnTo>
                  <a:lnTo>
                    <a:pt x="2438" y="3400"/>
                  </a:lnTo>
                  <a:lnTo>
                    <a:pt x="2442" y="3400"/>
                  </a:lnTo>
                  <a:lnTo>
                    <a:pt x="2444" y="3404"/>
                  </a:lnTo>
                  <a:lnTo>
                    <a:pt x="2448" y="3404"/>
                  </a:lnTo>
                  <a:lnTo>
                    <a:pt x="2448" y="3406"/>
                  </a:lnTo>
                  <a:lnTo>
                    <a:pt x="2446" y="3408"/>
                  </a:lnTo>
                  <a:lnTo>
                    <a:pt x="2444" y="3410"/>
                  </a:lnTo>
                  <a:lnTo>
                    <a:pt x="2448" y="3410"/>
                  </a:lnTo>
                  <a:lnTo>
                    <a:pt x="2450" y="3412"/>
                  </a:lnTo>
                  <a:lnTo>
                    <a:pt x="2448" y="3414"/>
                  </a:lnTo>
                  <a:lnTo>
                    <a:pt x="2450" y="3416"/>
                  </a:lnTo>
                  <a:lnTo>
                    <a:pt x="2454" y="3420"/>
                  </a:lnTo>
                  <a:lnTo>
                    <a:pt x="2456" y="3422"/>
                  </a:lnTo>
                  <a:lnTo>
                    <a:pt x="2458" y="3422"/>
                  </a:lnTo>
                  <a:lnTo>
                    <a:pt x="2460" y="3422"/>
                  </a:lnTo>
                  <a:lnTo>
                    <a:pt x="2460" y="3420"/>
                  </a:lnTo>
                  <a:lnTo>
                    <a:pt x="2460" y="3418"/>
                  </a:lnTo>
                  <a:lnTo>
                    <a:pt x="2462" y="3416"/>
                  </a:lnTo>
                  <a:lnTo>
                    <a:pt x="2464" y="3412"/>
                  </a:lnTo>
                  <a:lnTo>
                    <a:pt x="2466" y="3406"/>
                  </a:lnTo>
                  <a:lnTo>
                    <a:pt x="2466" y="3402"/>
                  </a:lnTo>
                  <a:lnTo>
                    <a:pt x="2468" y="3400"/>
                  </a:lnTo>
                  <a:lnTo>
                    <a:pt x="2468" y="3402"/>
                  </a:lnTo>
                  <a:lnTo>
                    <a:pt x="2474" y="3404"/>
                  </a:lnTo>
                  <a:lnTo>
                    <a:pt x="2476" y="3404"/>
                  </a:lnTo>
                  <a:lnTo>
                    <a:pt x="2476" y="3402"/>
                  </a:lnTo>
                  <a:lnTo>
                    <a:pt x="2478" y="3402"/>
                  </a:lnTo>
                  <a:lnTo>
                    <a:pt x="2480" y="3400"/>
                  </a:lnTo>
                  <a:lnTo>
                    <a:pt x="2480" y="3398"/>
                  </a:lnTo>
                  <a:lnTo>
                    <a:pt x="2482" y="3396"/>
                  </a:lnTo>
                  <a:lnTo>
                    <a:pt x="2482" y="3394"/>
                  </a:lnTo>
                  <a:lnTo>
                    <a:pt x="2482" y="3392"/>
                  </a:lnTo>
                  <a:lnTo>
                    <a:pt x="2482" y="3388"/>
                  </a:lnTo>
                  <a:lnTo>
                    <a:pt x="2480" y="3386"/>
                  </a:lnTo>
                  <a:lnTo>
                    <a:pt x="2482" y="3384"/>
                  </a:lnTo>
                  <a:lnTo>
                    <a:pt x="2480" y="3384"/>
                  </a:lnTo>
                  <a:lnTo>
                    <a:pt x="2478" y="3384"/>
                  </a:lnTo>
                  <a:lnTo>
                    <a:pt x="2478" y="3386"/>
                  </a:lnTo>
                  <a:lnTo>
                    <a:pt x="2476" y="3388"/>
                  </a:lnTo>
                  <a:lnTo>
                    <a:pt x="2472" y="3388"/>
                  </a:lnTo>
                  <a:lnTo>
                    <a:pt x="2470" y="3388"/>
                  </a:lnTo>
                  <a:lnTo>
                    <a:pt x="2468" y="3382"/>
                  </a:lnTo>
                  <a:lnTo>
                    <a:pt x="2466" y="3378"/>
                  </a:lnTo>
                  <a:lnTo>
                    <a:pt x="2468" y="3374"/>
                  </a:lnTo>
                  <a:lnTo>
                    <a:pt x="2468" y="3372"/>
                  </a:lnTo>
                  <a:lnTo>
                    <a:pt x="2466" y="3370"/>
                  </a:lnTo>
                  <a:lnTo>
                    <a:pt x="2464" y="3370"/>
                  </a:lnTo>
                  <a:lnTo>
                    <a:pt x="2464" y="3374"/>
                  </a:lnTo>
                  <a:lnTo>
                    <a:pt x="2462" y="3378"/>
                  </a:lnTo>
                  <a:lnTo>
                    <a:pt x="2462" y="3380"/>
                  </a:lnTo>
                  <a:lnTo>
                    <a:pt x="2460" y="3380"/>
                  </a:lnTo>
                  <a:lnTo>
                    <a:pt x="2456" y="3380"/>
                  </a:lnTo>
                  <a:lnTo>
                    <a:pt x="2452" y="3382"/>
                  </a:lnTo>
                  <a:lnTo>
                    <a:pt x="2450" y="3384"/>
                  </a:lnTo>
                  <a:lnTo>
                    <a:pt x="2446" y="3384"/>
                  </a:lnTo>
                  <a:lnTo>
                    <a:pt x="2444" y="3384"/>
                  </a:lnTo>
                  <a:lnTo>
                    <a:pt x="2444" y="3388"/>
                  </a:lnTo>
                  <a:lnTo>
                    <a:pt x="2442" y="3394"/>
                  </a:lnTo>
                  <a:lnTo>
                    <a:pt x="2434" y="3388"/>
                  </a:lnTo>
                  <a:lnTo>
                    <a:pt x="2422" y="3378"/>
                  </a:lnTo>
                  <a:lnTo>
                    <a:pt x="2414" y="3368"/>
                  </a:lnTo>
                  <a:lnTo>
                    <a:pt x="2410" y="3364"/>
                  </a:lnTo>
                  <a:lnTo>
                    <a:pt x="2410" y="3358"/>
                  </a:lnTo>
                  <a:lnTo>
                    <a:pt x="2410" y="3354"/>
                  </a:lnTo>
                  <a:lnTo>
                    <a:pt x="2408" y="3352"/>
                  </a:lnTo>
                  <a:lnTo>
                    <a:pt x="2402" y="3350"/>
                  </a:lnTo>
                  <a:lnTo>
                    <a:pt x="2394" y="3350"/>
                  </a:lnTo>
                  <a:lnTo>
                    <a:pt x="2392" y="3348"/>
                  </a:lnTo>
                  <a:lnTo>
                    <a:pt x="2392" y="3344"/>
                  </a:lnTo>
                  <a:lnTo>
                    <a:pt x="2390" y="3338"/>
                  </a:lnTo>
                  <a:lnTo>
                    <a:pt x="2386" y="3330"/>
                  </a:lnTo>
                  <a:lnTo>
                    <a:pt x="2382" y="3320"/>
                  </a:lnTo>
                  <a:lnTo>
                    <a:pt x="2376" y="3302"/>
                  </a:lnTo>
                  <a:lnTo>
                    <a:pt x="2370" y="3290"/>
                  </a:lnTo>
                  <a:lnTo>
                    <a:pt x="2366" y="3284"/>
                  </a:lnTo>
                  <a:lnTo>
                    <a:pt x="2364" y="3280"/>
                  </a:lnTo>
                  <a:lnTo>
                    <a:pt x="2362" y="3270"/>
                  </a:lnTo>
                  <a:lnTo>
                    <a:pt x="2360" y="3266"/>
                  </a:lnTo>
                  <a:lnTo>
                    <a:pt x="2358" y="3264"/>
                  </a:lnTo>
                  <a:lnTo>
                    <a:pt x="2352" y="3262"/>
                  </a:lnTo>
                  <a:lnTo>
                    <a:pt x="2346" y="3260"/>
                  </a:lnTo>
                  <a:lnTo>
                    <a:pt x="2346" y="3258"/>
                  </a:lnTo>
                  <a:lnTo>
                    <a:pt x="2346" y="3254"/>
                  </a:lnTo>
                  <a:lnTo>
                    <a:pt x="2350" y="3250"/>
                  </a:lnTo>
                  <a:lnTo>
                    <a:pt x="2354" y="3248"/>
                  </a:lnTo>
                  <a:lnTo>
                    <a:pt x="2360" y="3250"/>
                  </a:lnTo>
                  <a:lnTo>
                    <a:pt x="2362" y="3248"/>
                  </a:lnTo>
                  <a:lnTo>
                    <a:pt x="2362" y="3246"/>
                  </a:lnTo>
                  <a:lnTo>
                    <a:pt x="2354" y="3228"/>
                  </a:lnTo>
                  <a:lnTo>
                    <a:pt x="2354" y="3224"/>
                  </a:lnTo>
                  <a:lnTo>
                    <a:pt x="2356" y="3224"/>
                  </a:lnTo>
                  <a:lnTo>
                    <a:pt x="2364" y="3226"/>
                  </a:lnTo>
                  <a:lnTo>
                    <a:pt x="2372" y="3230"/>
                  </a:lnTo>
                  <a:lnTo>
                    <a:pt x="2376" y="3232"/>
                  </a:lnTo>
                  <a:lnTo>
                    <a:pt x="2378" y="3230"/>
                  </a:lnTo>
                  <a:lnTo>
                    <a:pt x="2384" y="3226"/>
                  </a:lnTo>
                  <a:lnTo>
                    <a:pt x="2390" y="3226"/>
                  </a:lnTo>
                  <a:lnTo>
                    <a:pt x="2392" y="3224"/>
                  </a:lnTo>
                  <a:lnTo>
                    <a:pt x="2394" y="3216"/>
                  </a:lnTo>
                  <a:lnTo>
                    <a:pt x="2396" y="3212"/>
                  </a:lnTo>
                  <a:lnTo>
                    <a:pt x="2398" y="3212"/>
                  </a:lnTo>
                  <a:lnTo>
                    <a:pt x="2406" y="3218"/>
                  </a:lnTo>
                  <a:lnTo>
                    <a:pt x="2412" y="3222"/>
                  </a:lnTo>
                  <a:lnTo>
                    <a:pt x="2416" y="3224"/>
                  </a:lnTo>
                  <a:lnTo>
                    <a:pt x="2424" y="3224"/>
                  </a:lnTo>
                  <a:lnTo>
                    <a:pt x="2430" y="3222"/>
                  </a:lnTo>
                  <a:lnTo>
                    <a:pt x="2436" y="3218"/>
                  </a:lnTo>
                  <a:lnTo>
                    <a:pt x="2438" y="3218"/>
                  </a:lnTo>
                  <a:lnTo>
                    <a:pt x="2440" y="3220"/>
                  </a:lnTo>
                  <a:lnTo>
                    <a:pt x="2442" y="3222"/>
                  </a:lnTo>
                  <a:lnTo>
                    <a:pt x="2444" y="3232"/>
                  </a:lnTo>
                  <a:lnTo>
                    <a:pt x="2448" y="3238"/>
                  </a:lnTo>
                  <a:lnTo>
                    <a:pt x="2452" y="3244"/>
                  </a:lnTo>
                  <a:lnTo>
                    <a:pt x="2452" y="3220"/>
                  </a:lnTo>
                  <a:lnTo>
                    <a:pt x="2414" y="3146"/>
                  </a:lnTo>
                  <a:lnTo>
                    <a:pt x="2378" y="3050"/>
                  </a:lnTo>
                  <a:lnTo>
                    <a:pt x="2372" y="3006"/>
                  </a:lnTo>
                  <a:lnTo>
                    <a:pt x="2378" y="2910"/>
                  </a:lnTo>
                  <a:lnTo>
                    <a:pt x="2378" y="2868"/>
                  </a:lnTo>
                  <a:lnTo>
                    <a:pt x="2392" y="2778"/>
                  </a:lnTo>
                  <a:lnTo>
                    <a:pt x="2386" y="2780"/>
                  </a:lnTo>
                  <a:lnTo>
                    <a:pt x="2382" y="2780"/>
                  </a:lnTo>
                  <a:lnTo>
                    <a:pt x="2380" y="2778"/>
                  </a:lnTo>
                  <a:lnTo>
                    <a:pt x="2380" y="2776"/>
                  </a:lnTo>
                  <a:lnTo>
                    <a:pt x="2378" y="2770"/>
                  </a:lnTo>
                  <a:lnTo>
                    <a:pt x="2376" y="2768"/>
                  </a:lnTo>
                  <a:lnTo>
                    <a:pt x="2374" y="2768"/>
                  </a:lnTo>
                  <a:lnTo>
                    <a:pt x="2376" y="2768"/>
                  </a:lnTo>
                  <a:lnTo>
                    <a:pt x="2378" y="2770"/>
                  </a:lnTo>
                  <a:lnTo>
                    <a:pt x="2380" y="2776"/>
                  </a:lnTo>
                  <a:lnTo>
                    <a:pt x="2380" y="2778"/>
                  </a:lnTo>
                  <a:lnTo>
                    <a:pt x="2382" y="2780"/>
                  </a:lnTo>
                  <a:lnTo>
                    <a:pt x="2386" y="2780"/>
                  </a:lnTo>
                  <a:lnTo>
                    <a:pt x="2392" y="2778"/>
                  </a:lnTo>
                  <a:lnTo>
                    <a:pt x="2390" y="2764"/>
                  </a:lnTo>
                  <a:lnTo>
                    <a:pt x="2394" y="2746"/>
                  </a:lnTo>
                  <a:lnTo>
                    <a:pt x="2390" y="2726"/>
                  </a:lnTo>
                  <a:lnTo>
                    <a:pt x="2386" y="2674"/>
                  </a:lnTo>
                  <a:lnTo>
                    <a:pt x="2384" y="2658"/>
                  </a:lnTo>
                  <a:lnTo>
                    <a:pt x="2386" y="2626"/>
                  </a:lnTo>
                  <a:lnTo>
                    <a:pt x="2360" y="2586"/>
                  </a:lnTo>
                  <a:lnTo>
                    <a:pt x="2336" y="2534"/>
                  </a:lnTo>
                  <a:lnTo>
                    <a:pt x="2284" y="2470"/>
                  </a:lnTo>
                  <a:lnTo>
                    <a:pt x="2274" y="2434"/>
                  </a:lnTo>
                  <a:lnTo>
                    <a:pt x="2302" y="2390"/>
                  </a:lnTo>
                  <a:lnTo>
                    <a:pt x="2334" y="2368"/>
                  </a:lnTo>
                  <a:lnTo>
                    <a:pt x="2352" y="2336"/>
                  </a:lnTo>
                  <a:lnTo>
                    <a:pt x="2346" y="2304"/>
                  </a:lnTo>
                  <a:lnTo>
                    <a:pt x="2318" y="2270"/>
                  </a:lnTo>
                  <a:lnTo>
                    <a:pt x="2280" y="2246"/>
                  </a:lnTo>
                  <a:lnTo>
                    <a:pt x="2264" y="2186"/>
                  </a:lnTo>
                  <a:lnTo>
                    <a:pt x="2274" y="2140"/>
                  </a:lnTo>
                  <a:lnTo>
                    <a:pt x="2288" y="2090"/>
                  </a:lnTo>
                  <a:lnTo>
                    <a:pt x="2290" y="2086"/>
                  </a:lnTo>
                  <a:lnTo>
                    <a:pt x="2296" y="2086"/>
                  </a:lnTo>
                  <a:lnTo>
                    <a:pt x="2308" y="2088"/>
                  </a:lnTo>
                  <a:lnTo>
                    <a:pt x="2328" y="2096"/>
                  </a:lnTo>
                  <a:lnTo>
                    <a:pt x="2370" y="2082"/>
                  </a:lnTo>
                  <a:lnTo>
                    <a:pt x="2376" y="2058"/>
                  </a:lnTo>
                  <a:lnTo>
                    <a:pt x="2440" y="2024"/>
                  </a:lnTo>
                  <a:lnTo>
                    <a:pt x="2384" y="1780"/>
                  </a:lnTo>
                  <a:lnTo>
                    <a:pt x="2264" y="1588"/>
                  </a:lnTo>
                  <a:lnTo>
                    <a:pt x="2204" y="1444"/>
                  </a:lnTo>
                  <a:lnTo>
                    <a:pt x="2204" y="1264"/>
                  </a:lnTo>
                  <a:lnTo>
                    <a:pt x="2212" y="1228"/>
                  </a:lnTo>
                  <a:lnTo>
                    <a:pt x="2224" y="1194"/>
                  </a:lnTo>
                  <a:lnTo>
                    <a:pt x="2232" y="1174"/>
                  </a:lnTo>
                  <a:lnTo>
                    <a:pt x="2240" y="1156"/>
                  </a:lnTo>
                  <a:lnTo>
                    <a:pt x="2248" y="1138"/>
                  </a:lnTo>
                  <a:lnTo>
                    <a:pt x="2258" y="1112"/>
                  </a:lnTo>
                  <a:lnTo>
                    <a:pt x="2282" y="1046"/>
                  </a:lnTo>
                  <a:lnTo>
                    <a:pt x="2276" y="1048"/>
                  </a:lnTo>
                  <a:lnTo>
                    <a:pt x="2274" y="1046"/>
                  </a:lnTo>
                  <a:lnTo>
                    <a:pt x="2270" y="1038"/>
                  </a:lnTo>
                  <a:lnTo>
                    <a:pt x="2266" y="1032"/>
                  </a:lnTo>
                  <a:lnTo>
                    <a:pt x="2262" y="1026"/>
                  </a:lnTo>
                  <a:lnTo>
                    <a:pt x="2256" y="1018"/>
                  </a:lnTo>
                  <a:lnTo>
                    <a:pt x="2246" y="1014"/>
                  </a:lnTo>
                  <a:lnTo>
                    <a:pt x="2236" y="1006"/>
                  </a:lnTo>
                  <a:lnTo>
                    <a:pt x="2234" y="1004"/>
                  </a:lnTo>
                  <a:lnTo>
                    <a:pt x="2232" y="1000"/>
                  </a:lnTo>
                  <a:lnTo>
                    <a:pt x="2234" y="998"/>
                  </a:lnTo>
                  <a:lnTo>
                    <a:pt x="2234" y="994"/>
                  </a:lnTo>
                  <a:lnTo>
                    <a:pt x="2242" y="988"/>
                  </a:lnTo>
                  <a:lnTo>
                    <a:pt x="2250" y="982"/>
                  </a:lnTo>
                  <a:lnTo>
                    <a:pt x="2262" y="978"/>
                  </a:lnTo>
                  <a:lnTo>
                    <a:pt x="2274" y="974"/>
                  </a:lnTo>
                  <a:lnTo>
                    <a:pt x="2286" y="974"/>
                  </a:lnTo>
                  <a:lnTo>
                    <a:pt x="2292" y="974"/>
                  </a:lnTo>
                  <a:lnTo>
                    <a:pt x="2296" y="972"/>
                  </a:lnTo>
                  <a:lnTo>
                    <a:pt x="2298" y="968"/>
                  </a:lnTo>
                  <a:lnTo>
                    <a:pt x="2300" y="966"/>
                  </a:lnTo>
                  <a:lnTo>
                    <a:pt x="2298" y="956"/>
                  </a:lnTo>
                  <a:lnTo>
                    <a:pt x="2294" y="946"/>
                  </a:lnTo>
                  <a:lnTo>
                    <a:pt x="2284" y="936"/>
                  </a:lnTo>
                  <a:lnTo>
                    <a:pt x="2272" y="928"/>
                  </a:lnTo>
                  <a:lnTo>
                    <a:pt x="2258" y="922"/>
                  </a:lnTo>
                  <a:lnTo>
                    <a:pt x="2250" y="922"/>
                  </a:lnTo>
                  <a:lnTo>
                    <a:pt x="2242" y="920"/>
                  </a:lnTo>
                  <a:lnTo>
                    <a:pt x="2224" y="920"/>
                  </a:lnTo>
                  <a:lnTo>
                    <a:pt x="2208" y="918"/>
                  </a:lnTo>
                  <a:lnTo>
                    <a:pt x="2182" y="912"/>
                  </a:lnTo>
                  <a:lnTo>
                    <a:pt x="2174" y="912"/>
                  </a:lnTo>
                  <a:lnTo>
                    <a:pt x="2172" y="912"/>
                  </a:lnTo>
                  <a:lnTo>
                    <a:pt x="2172" y="914"/>
                  </a:lnTo>
                  <a:lnTo>
                    <a:pt x="2174" y="918"/>
                  </a:lnTo>
                  <a:lnTo>
                    <a:pt x="2186" y="928"/>
                  </a:lnTo>
                  <a:lnTo>
                    <a:pt x="2192" y="934"/>
                  </a:lnTo>
                  <a:lnTo>
                    <a:pt x="2196" y="942"/>
                  </a:lnTo>
                  <a:lnTo>
                    <a:pt x="2198" y="948"/>
                  </a:lnTo>
                  <a:lnTo>
                    <a:pt x="2200" y="954"/>
                  </a:lnTo>
                  <a:lnTo>
                    <a:pt x="2196" y="966"/>
                  </a:lnTo>
                  <a:lnTo>
                    <a:pt x="2192" y="978"/>
                  </a:lnTo>
                  <a:lnTo>
                    <a:pt x="2188" y="990"/>
                  </a:lnTo>
                  <a:lnTo>
                    <a:pt x="2186" y="1000"/>
                  </a:lnTo>
                  <a:lnTo>
                    <a:pt x="2186" y="1006"/>
                  </a:lnTo>
                  <a:lnTo>
                    <a:pt x="2188" y="1012"/>
                  </a:lnTo>
                  <a:lnTo>
                    <a:pt x="2194" y="1016"/>
                  </a:lnTo>
                  <a:lnTo>
                    <a:pt x="2200" y="1022"/>
                  </a:lnTo>
                  <a:lnTo>
                    <a:pt x="2212" y="1032"/>
                  </a:lnTo>
                  <a:lnTo>
                    <a:pt x="2216" y="1036"/>
                  </a:lnTo>
                  <a:lnTo>
                    <a:pt x="2218" y="1040"/>
                  </a:lnTo>
                  <a:lnTo>
                    <a:pt x="2216" y="1046"/>
                  </a:lnTo>
                  <a:lnTo>
                    <a:pt x="2214" y="1054"/>
                  </a:lnTo>
                  <a:lnTo>
                    <a:pt x="2208" y="1062"/>
                  </a:lnTo>
                  <a:lnTo>
                    <a:pt x="2204" y="1072"/>
                  </a:lnTo>
                  <a:lnTo>
                    <a:pt x="2200" y="1084"/>
                  </a:lnTo>
                  <a:lnTo>
                    <a:pt x="2202" y="1098"/>
                  </a:lnTo>
                  <a:lnTo>
                    <a:pt x="2202" y="1106"/>
                  </a:lnTo>
                  <a:lnTo>
                    <a:pt x="2200" y="1104"/>
                  </a:lnTo>
                  <a:lnTo>
                    <a:pt x="2192" y="1096"/>
                  </a:lnTo>
                  <a:lnTo>
                    <a:pt x="2180" y="1084"/>
                  </a:lnTo>
                  <a:lnTo>
                    <a:pt x="2166" y="1072"/>
                  </a:lnTo>
                  <a:lnTo>
                    <a:pt x="2156" y="1068"/>
                  </a:lnTo>
                  <a:lnTo>
                    <a:pt x="2148" y="1066"/>
                  </a:lnTo>
                  <a:lnTo>
                    <a:pt x="2136" y="1064"/>
                  </a:lnTo>
                  <a:lnTo>
                    <a:pt x="2126" y="1066"/>
                  </a:lnTo>
                  <a:lnTo>
                    <a:pt x="2114" y="1070"/>
                  </a:lnTo>
                  <a:lnTo>
                    <a:pt x="2102" y="1076"/>
                  </a:lnTo>
                  <a:lnTo>
                    <a:pt x="2078" y="1092"/>
                  </a:lnTo>
                  <a:lnTo>
                    <a:pt x="2056" y="1104"/>
                  </a:lnTo>
                  <a:lnTo>
                    <a:pt x="2040" y="1114"/>
                  </a:lnTo>
                  <a:lnTo>
                    <a:pt x="2028" y="1122"/>
                  </a:lnTo>
                  <a:lnTo>
                    <a:pt x="2022" y="1130"/>
                  </a:lnTo>
                  <a:lnTo>
                    <a:pt x="2020" y="1134"/>
                  </a:lnTo>
                  <a:lnTo>
                    <a:pt x="2022" y="1140"/>
                  </a:lnTo>
                  <a:lnTo>
                    <a:pt x="2026" y="1150"/>
                  </a:lnTo>
                  <a:lnTo>
                    <a:pt x="2040" y="1166"/>
                  </a:lnTo>
                  <a:lnTo>
                    <a:pt x="2052" y="1180"/>
                  </a:lnTo>
                  <a:lnTo>
                    <a:pt x="2054" y="1186"/>
                  </a:lnTo>
                  <a:lnTo>
                    <a:pt x="2054" y="1192"/>
                  </a:lnTo>
                  <a:lnTo>
                    <a:pt x="2054" y="1196"/>
                  </a:lnTo>
                  <a:lnTo>
                    <a:pt x="2050" y="1198"/>
                  </a:lnTo>
                  <a:lnTo>
                    <a:pt x="2046" y="1200"/>
                  </a:lnTo>
                  <a:lnTo>
                    <a:pt x="2040" y="1202"/>
                  </a:lnTo>
                  <a:lnTo>
                    <a:pt x="2026" y="1202"/>
                  </a:lnTo>
                  <a:lnTo>
                    <a:pt x="2006" y="1198"/>
                  </a:lnTo>
                  <a:lnTo>
                    <a:pt x="1984" y="1190"/>
                  </a:lnTo>
                  <a:lnTo>
                    <a:pt x="1958" y="1180"/>
                  </a:lnTo>
                  <a:lnTo>
                    <a:pt x="1934" y="1170"/>
                  </a:lnTo>
                  <a:lnTo>
                    <a:pt x="1916" y="1164"/>
                  </a:lnTo>
                  <a:lnTo>
                    <a:pt x="1900" y="1162"/>
                  </a:lnTo>
                  <a:lnTo>
                    <a:pt x="1892" y="1164"/>
                  </a:lnTo>
                  <a:lnTo>
                    <a:pt x="1888" y="1166"/>
                  </a:lnTo>
                  <a:lnTo>
                    <a:pt x="1886" y="1170"/>
                  </a:lnTo>
                  <a:lnTo>
                    <a:pt x="1886" y="1176"/>
                  </a:lnTo>
                  <a:lnTo>
                    <a:pt x="1892" y="1186"/>
                  </a:lnTo>
                  <a:lnTo>
                    <a:pt x="1900" y="1196"/>
                  </a:lnTo>
                  <a:lnTo>
                    <a:pt x="1912" y="1206"/>
                  </a:lnTo>
                  <a:lnTo>
                    <a:pt x="1924" y="1214"/>
                  </a:lnTo>
                  <a:lnTo>
                    <a:pt x="1946" y="1222"/>
                  </a:lnTo>
                  <a:lnTo>
                    <a:pt x="1954" y="1226"/>
                  </a:lnTo>
                  <a:lnTo>
                    <a:pt x="1956" y="1228"/>
                  </a:lnTo>
                  <a:lnTo>
                    <a:pt x="1956" y="1232"/>
                  </a:lnTo>
                  <a:lnTo>
                    <a:pt x="1952" y="1238"/>
                  </a:lnTo>
                  <a:lnTo>
                    <a:pt x="1940" y="1246"/>
                  </a:lnTo>
                  <a:lnTo>
                    <a:pt x="1926" y="1252"/>
                  </a:lnTo>
                  <a:lnTo>
                    <a:pt x="1920" y="1252"/>
                  </a:lnTo>
                  <a:lnTo>
                    <a:pt x="1916" y="1252"/>
                  </a:lnTo>
                  <a:lnTo>
                    <a:pt x="1908" y="1248"/>
                  </a:lnTo>
                  <a:lnTo>
                    <a:pt x="1902" y="1240"/>
                  </a:lnTo>
                  <a:lnTo>
                    <a:pt x="1894" y="1232"/>
                  </a:lnTo>
                  <a:lnTo>
                    <a:pt x="1886" y="1224"/>
                  </a:lnTo>
                  <a:lnTo>
                    <a:pt x="1874" y="1216"/>
                  </a:lnTo>
                  <a:lnTo>
                    <a:pt x="1868" y="1212"/>
                  </a:lnTo>
                  <a:lnTo>
                    <a:pt x="1858" y="1210"/>
                  </a:lnTo>
                  <a:lnTo>
                    <a:pt x="1844" y="1206"/>
                  </a:lnTo>
                  <a:lnTo>
                    <a:pt x="1836" y="1202"/>
                  </a:lnTo>
                  <a:lnTo>
                    <a:pt x="1832" y="1196"/>
                  </a:lnTo>
                  <a:lnTo>
                    <a:pt x="1832" y="1188"/>
                  </a:lnTo>
                  <a:lnTo>
                    <a:pt x="1832" y="1182"/>
                  </a:lnTo>
                  <a:lnTo>
                    <a:pt x="1830" y="1174"/>
                  </a:lnTo>
                  <a:lnTo>
                    <a:pt x="1826" y="1164"/>
                  </a:lnTo>
                  <a:lnTo>
                    <a:pt x="1818" y="1156"/>
                  </a:lnTo>
                  <a:lnTo>
                    <a:pt x="1814" y="1152"/>
                  </a:lnTo>
                  <a:lnTo>
                    <a:pt x="1812" y="1148"/>
                  </a:lnTo>
                  <a:lnTo>
                    <a:pt x="1812" y="1144"/>
                  </a:lnTo>
                  <a:lnTo>
                    <a:pt x="1812" y="1140"/>
                  </a:lnTo>
                  <a:lnTo>
                    <a:pt x="1816" y="1134"/>
                  </a:lnTo>
                  <a:lnTo>
                    <a:pt x="1822" y="1128"/>
                  </a:lnTo>
                  <a:lnTo>
                    <a:pt x="1826" y="1122"/>
                  </a:lnTo>
                  <a:lnTo>
                    <a:pt x="1830" y="1114"/>
                  </a:lnTo>
                  <a:lnTo>
                    <a:pt x="1828" y="1110"/>
                  </a:lnTo>
                  <a:lnTo>
                    <a:pt x="1826" y="1106"/>
                  </a:lnTo>
                  <a:lnTo>
                    <a:pt x="1822" y="1100"/>
                  </a:lnTo>
                  <a:lnTo>
                    <a:pt x="1816" y="1096"/>
                  </a:lnTo>
                  <a:lnTo>
                    <a:pt x="1800" y="1084"/>
                  </a:lnTo>
                  <a:lnTo>
                    <a:pt x="1784" y="1076"/>
                  </a:lnTo>
                  <a:lnTo>
                    <a:pt x="1758" y="1060"/>
                  </a:lnTo>
                  <a:lnTo>
                    <a:pt x="1746" y="1054"/>
                  </a:lnTo>
                  <a:lnTo>
                    <a:pt x="1738" y="1046"/>
                  </a:lnTo>
                  <a:lnTo>
                    <a:pt x="1730" y="1036"/>
                  </a:lnTo>
                  <a:lnTo>
                    <a:pt x="1726" y="1026"/>
                  </a:lnTo>
                  <a:lnTo>
                    <a:pt x="1724" y="1018"/>
                  </a:lnTo>
                  <a:lnTo>
                    <a:pt x="1726" y="1016"/>
                  </a:lnTo>
                  <a:lnTo>
                    <a:pt x="1736" y="1026"/>
                  </a:lnTo>
                  <a:lnTo>
                    <a:pt x="1746" y="1036"/>
                  </a:lnTo>
                  <a:lnTo>
                    <a:pt x="1762" y="1044"/>
                  </a:lnTo>
                  <a:lnTo>
                    <a:pt x="1782" y="1054"/>
                  </a:lnTo>
                  <a:lnTo>
                    <a:pt x="1808" y="1060"/>
                  </a:lnTo>
                  <a:lnTo>
                    <a:pt x="1836" y="1066"/>
                  </a:lnTo>
                  <a:lnTo>
                    <a:pt x="1864" y="1074"/>
                  </a:lnTo>
                  <a:lnTo>
                    <a:pt x="1920" y="1092"/>
                  </a:lnTo>
                  <a:lnTo>
                    <a:pt x="1948" y="1098"/>
                  </a:lnTo>
                  <a:lnTo>
                    <a:pt x="1962" y="1100"/>
                  </a:lnTo>
                  <a:lnTo>
                    <a:pt x="1976" y="1100"/>
                  </a:lnTo>
                  <a:lnTo>
                    <a:pt x="1990" y="1098"/>
                  </a:lnTo>
                  <a:lnTo>
                    <a:pt x="2002" y="1096"/>
                  </a:lnTo>
                  <a:lnTo>
                    <a:pt x="2016" y="1092"/>
                  </a:lnTo>
                  <a:lnTo>
                    <a:pt x="2030" y="1084"/>
                  </a:lnTo>
                  <a:lnTo>
                    <a:pt x="2052" y="1070"/>
                  </a:lnTo>
                  <a:lnTo>
                    <a:pt x="2072" y="1056"/>
                  </a:lnTo>
                  <a:lnTo>
                    <a:pt x="2084" y="1042"/>
                  </a:lnTo>
                  <a:lnTo>
                    <a:pt x="2090" y="1036"/>
                  </a:lnTo>
                  <a:lnTo>
                    <a:pt x="2092" y="1030"/>
                  </a:lnTo>
                  <a:lnTo>
                    <a:pt x="2094" y="1022"/>
                  </a:lnTo>
                  <a:lnTo>
                    <a:pt x="2092" y="1016"/>
                  </a:lnTo>
                  <a:lnTo>
                    <a:pt x="2090" y="1010"/>
                  </a:lnTo>
                  <a:lnTo>
                    <a:pt x="2086" y="1002"/>
                  </a:lnTo>
                  <a:lnTo>
                    <a:pt x="2080" y="994"/>
                  </a:lnTo>
                  <a:lnTo>
                    <a:pt x="2072" y="988"/>
                  </a:lnTo>
                  <a:lnTo>
                    <a:pt x="2050" y="970"/>
                  </a:lnTo>
                  <a:lnTo>
                    <a:pt x="2010" y="946"/>
                  </a:lnTo>
                  <a:lnTo>
                    <a:pt x="1982" y="934"/>
                  </a:lnTo>
                  <a:lnTo>
                    <a:pt x="1954" y="920"/>
                  </a:lnTo>
                  <a:lnTo>
                    <a:pt x="1910" y="896"/>
                  </a:lnTo>
                  <a:lnTo>
                    <a:pt x="1884" y="882"/>
                  </a:lnTo>
                  <a:lnTo>
                    <a:pt x="1868" y="874"/>
                  </a:lnTo>
                  <a:lnTo>
                    <a:pt x="1854" y="870"/>
                  </a:lnTo>
                  <a:lnTo>
                    <a:pt x="1844" y="870"/>
                  </a:lnTo>
                  <a:lnTo>
                    <a:pt x="1834" y="872"/>
                  </a:lnTo>
                  <a:lnTo>
                    <a:pt x="1822" y="872"/>
                  </a:lnTo>
                  <a:lnTo>
                    <a:pt x="1808" y="870"/>
                  </a:lnTo>
                  <a:lnTo>
                    <a:pt x="1786" y="866"/>
                  </a:lnTo>
                  <a:lnTo>
                    <a:pt x="1768" y="858"/>
                  </a:lnTo>
                  <a:lnTo>
                    <a:pt x="1758" y="852"/>
                  </a:lnTo>
                  <a:lnTo>
                    <a:pt x="1756" y="850"/>
                  </a:lnTo>
                  <a:lnTo>
                    <a:pt x="1756" y="846"/>
                  </a:lnTo>
                  <a:lnTo>
                    <a:pt x="1758" y="844"/>
                  </a:lnTo>
                  <a:lnTo>
                    <a:pt x="1758" y="840"/>
                  </a:lnTo>
                  <a:lnTo>
                    <a:pt x="1752" y="834"/>
                  </a:lnTo>
                  <a:lnTo>
                    <a:pt x="1740" y="828"/>
                  </a:lnTo>
                  <a:lnTo>
                    <a:pt x="1726" y="824"/>
                  </a:lnTo>
                  <a:lnTo>
                    <a:pt x="1718" y="824"/>
                  </a:lnTo>
                  <a:lnTo>
                    <a:pt x="1712" y="826"/>
                  </a:lnTo>
                  <a:lnTo>
                    <a:pt x="1710" y="830"/>
                  </a:lnTo>
                  <a:lnTo>
                    <a:pt x="1706" y="834"/>
                  </a:lnTo>
                  <a:lnTo>
                    <a:pt x="1698" y="838"/>
                  </a:lnTo>
                  <a:lnTo>
                    <a:pt x="1686" y="838"/>
                  </a:lnTo>
                  <a:lnTo>
                    <a:pt x="1666" y="834"/>
                  </a:lnTo>
                  <a:lnTo>
                    <a:pt x="1658" y="832"/>
                  </a:lnTo>
                  <a:lnTo>
                    <a:pt x="1652" y="832"/>
                  </a:lnTo>
                  <a:lnTo>
                    <a:pt x="1648" y="832"/>
                  </a:lnTo>
                  <a:lnTo>
                    <a:pt x="1644" y="828"/>
                  </a:lnTo>
                  <a:lnTo>
                    <a:pt x="1640" y="828"/>
                  </a:lnTo>
                  <a:lnTo>
                    <a:pt x="1638" y="830"/>
                  </a:lnTo>
                  <a:lnTo>
                    <a:pt x="1636" y="834"/>
                  </a:lnTo>
                  <a:lnTo>
                    <a:pt x="1630" y="836"/>
                  </a:lnTo>
                  <a:lnTo>
                    <a:pt x="1620" y="838"/>
                  </a:lnTo>
                  <a:lnTo>
                    <a:pt x="1618" y="838"/>
                  </a:lnTo>
                  <a:lnTo>
                    <a:pt x="1618" y="834"/>
                  </a:lnTo>
                  <a:lnTo>
                    <a:pt x="1622" y="830"/>
                  </a:lnTo>
                  <a:lnTo>
                    <a:pt x="1622" y="826"/>
                  </a:lnTo>
                  <a:lnTo>
                    <a:pt x="1620" y="822"/>
                  </a:lnTo>
                  <a:lnTo>
                    <a:pt x="1618" y="820"/>
                  </a:lnTo>
                  <a:lnTo>
                    <a:pt x="1614" y="818"/>
                  </a:lnTo>
                  <a:lnTo>
                    <a:pt x="1608" y="818"/>
                  </a:lnTo>
                  <a:lnTo>
                    <a:pt x="1598" y="816"/>
                  </a:lnTo>
                  <a:lnTo>
                    <a:pt x="1590" y="814"/>
                  </a:lnTo>
                  <a:lnTo>
                    <a:pt x="1586" y="812"/>
                  </a:lnTo>
                  <a:lnTo>
                    <a:pt x="1580" y="810"/>
                  </a:lnTo>
                  <a:lnTo>
                    <a:pt x="1576" y="810"/>
                  </a:lnTo>
                  <a:lnTo>
                    <a:pt x="1580" y="808"/>
                  </a:lnTo>
                  <a:lnTo>
                    <a:pt x="1592" y="808"/>
                  </a:lnTo>
                  <a:lnTo>
                    <a:pt x="1612" y="812"/>
                  </a:lnTo>
                  <a:lnTo>
                    <a:pt x="1624" y="812"/>
                  </a:lnTo>
                  <a:lnTo>
                    <a:pt x="1634" y="812"/>
                  </a:lnTo>
                  <a:lnTo>
                    <a:pt x="1640" y="810"/>
                  </a:lnTo>
                  <a:lnTo>
                    <a:pt x="1646" y="808"/>
                  </a:lnTo>
                  <a:lnTo>
                    <a:pt x="1654" y="800"/>
                  </a:lnTo>
                  <a:lnTo>
                    <a:pt x="1658" y="800"/>
                  </a:lnTo>
                  <a:lnTo>
                    <a:pt x="1662" y="800"/>
                  </a:lnTo>
                  <a:lnTo>
                    <a:pt x="1668" y="800"/>
                  </a:lnTo>
                  <a:lnTo>
                    <a:pt x="1672" y="798"/>
                  </a:lnTo>
                  <a:lnTo>
                    <a:pt x="1674" y="796"/>
                  </a:lnTo>
                  <a:lnTo>
                    <a:pt x="1676" y="794"/>
                  </a:lnTo>
                  <a:lnTo>
                    <a:pt x="1676" y="790"/>
                  </a:lnTo>
                  <a:lnTo>
                    <a:pt x="1674" y="788"/>
                  </a:lnTo>
                  <a:lnTo>
                    <a:pt x="1672" y="786"/>
                  </a:lnTo>
                  <a:lnTo>
                    <a:pt x="1668" y="786"/>
                  </a:lnTo>
                  <a:lnTo>
                    <a:pt x="1660" y="786"/>
                  </a:lnTo>
                  <a:lnTo>
                    <a:pt x="1658" y="782"/>
                  </a:lnTo>
                  <a:lnTo>
                    <a:pt x="1656" y="780"/>
                  </a:lnTo>
                  <a:lnTo>
                    <a:pt x="1650" y="778"/>
                  </a:lnTo>
                  <a:lnTo>
                    <a:pt x="1648" y="776"/>
                  </a:lnTo>
                  <a:lnTo>
                    <a:pt x="1644" y="774"/>
                  </a:lnTo>
                  <a:lnTo>
                    <a:pt x="1640" y="770"/>
                  </a:lnTo>
                  <a:lnTo>
                    <a:pt x="1636" y="766"/>
                  </a:lnTo>
                  <a:lnTo>
                    <a:pt x="1634" y="766"/>
                  </a:lnTo>
                  <a:lnTo>
                    <a:pt x="1630" y="768"/>
                  </a:lnTo>
                  <a:lnTo>
                    <a:pt x="1624" y="768"/>
                  </a:lnTo>
                  <a:lnTo>
                    <a:pt x="1624" y="766"/>
                  </a:lnTo>
                  <a:lnTo>
                    <a:pt x="1620" y="764"/>
                  </a:lnTo>
                  <a:lnTo>
                    <a:pt x="1614" y="766"/>
                  </a:lnTo>
                  <a:lnTo>
                    <a:pt x="1606" y="768"/>
                  </a:lnTo>
                  <a:lnTo>
                    <a:pt x="1606" y="764"/>
                  </a:lnTo>
                  <a:lnTo>
                    <a:pt x="1606" y="762"/>
                  </a:lnTo>
                  <a:lnTo>
                    <a:pt x="1606" y="760"/>
                  </a:lnTo>
                  <a:lnTo>
                    <a:pt x="1602" y="758"/>
                  </a:lnTo>
                  <a:lnTo>
                    <a:pt x="1596" y="756"/>
                  </a:lnTo>
                  <a:lnTo>
                    <a:pt x="1588" y="754"/>
                  </a:lnTo>
                  <a:lnTo>
                    <a:pt x="1582" y="754"/>
                  </a:lnTo>
                  <a:lnTo>
                    <a:pt x="1578" y="758"/>
                  </a:lnTo>
                  <a:lnTo>
                    <a:pt x="1574" y="760"/>
                  </a:lnTo>
                  <a:lnTo>
                    <a:pt x="1572" y="766"/>
                  </a:lnTo>
                  <a:lnTo>
                    <a:pt x="1570" y="770"/>
                  </a:lnTo>
                  <a:lnTo>
                    <a:pt x="1570" y="780"/>
                  </a:lnTo>
                  <a:lnTo>
                    <a:pt x="1572" y="786"/>
                  </a:lnTo>
                  <a:lnTo>
                    <a:pt x="1568" y="786"/>
                  </a:lnTo>
                  <a:lnTo>
                    <a:pt x="1564" y="782"/>
                  </a:lnTo>
                  <a:lnTo>
                    <a:pt x="1560" y="782"/>
                  </a:lnTo>
                  <a:lnTo>
                    <a:pt x="1558" y="782"/>
                  </a:lnTo>
                  <a:lnTo>
                    <a:pt x="1550" y="784"/>
                  </a:lnTo>
                  <a:lnTo>
                    <a:pt x="1548" y="784"/>
                  </a:lnTo>
                  <a:lnTo>
                    <a:pt x="1548" y="782"/>
                  </a:lnTo>
                  <a:lnTo>
                    <a:pt x="1554" y="778"/>
                  </a:lnTo>
                  <a:lnTo>
                    <a:pt x="1560" y="772"/>
                  </a:lnTo>
                  <a:lnTo>
                    <a:pt x="1564" y="768"/>
                  </a:lnTo>
                  <a:lnTo>
                    <a:pt x="1564" y="766"/>
                  </a:lnTo>
                  <a:lnTo>
                    <a:pt x="1562" y="766"/>
                  </a:lnTo>
                  <a:lnTo>
                    <a:pt x="1556" y="766"/>
                  </a:lnTo>
                  <a:lnTo>
                    <a:pt x="1554" y="766"/>
                  </a:lnTo>
                  <a:lnTo>
                    <a:pt x="1554" y="762"/>
                  </a:lnTo>
                  <a:lnTo>
                    <a:pt x="1558" y="758"/>
                  </a:lnTo>
                  <a:lnTo>
                    <a:pt x="1564" y="756"/>
                  </a:lnTo>
                  <a:lnTo>
                    <a:pt x="1572" y="752"/>
                  </a:lnTo>
                  <a:lnTo>
                    <a:pt x="1574" y="750"/>
                  </a:lnTo>
                  <a:lnTo>
                    <a:pt x="1574" y="748"/>
                  </a:lnTo>
                  <a:lnTo>
                    <a:pt x="1572" y="746"/>
                  </a:lnTo>
                  <a:lnTo>
                    <a:pt x="1570" y="746"/>
                  </a:lnTo>
                  <a:lnTo>
                    <a:pt x="1566" y="746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2"/>
                  </a:lnTo>
                  <a:lnTo>
                    <a:pt x="1560" y="740"/>
                  </a:lnTo>
                  <a:lnTo>
                    <a:pt x="1558" y="740"/>
                  </a:lnTo>
                  <a:lnTo>
                    <a:pt x="1554" y="740"/>
                  </a:lnTo>
                  <a:lnTo>
                    <a:pt x="1548" y="742"/>
                  </a:lnTo>
                  <a:lnTo>
                    <a:pt x="1544" y="742"/>
                  </a:lnTo>
                  <a:lnTo>
                    <a:pt x="1540" y="740"/>
                  </a:lnTo>
                  <a:lnTo>
                    <a:pt x="1538" y="738"/>
                  </a:lnTo>
                  <a:lnTo>
                    <a:pt x="1536" y="738"/>
                  </a:lnTo>
                  <a:lnTo>
                    <a:pt x="1534" y="740"/>
                  </a:lnTo>
                  <a:lnTo>
                    <a:pt x="1532" y="744"/>
                  </a:lnTo>
                  <a:lnTo>
                    <a:pt x="1530" y="744"/>
                  </a:lnTo>
                  <a:lnTo>
                    <a:pt x="1528" y="744"/>
                  </a:lnTo>
                  <a:lnTo>
                    <a:pt x="1524" y="742"/>
                  </a:lnTo>
                  <a:lnTo>
                    <a:pt x="1522" y="744"/>
                  </a:lnTo>
                  <a:lnTo>
                    <a:pt x="1518" y="746"/>
                  </a:lnTo>
                  <a:lnTo>
                    <a:pt x="1518" y="750"/>
                  </a:lnTo>
                  <a:lnTo>
                    <a:pt x="1518" y="752"/>
                  </a:lnTo>
                  <a:lnTo>
                    <a:pt x="1520" y="752"/>
                  </a:lnTo>
                  <a:lnTo>
                    <a:pt x="1524" y="754"/>
                  </a:lnTo>
                  <a:lnTo>
                    <a:pt x="1530" y="754"/>
                  </a:lnTo>
                  <a:lnTo>
                    <a:pt x="1528" y="756"/>
                  </a:lnTo>
                  <a:lnTo>
                    <a:pt x="1522" y="760"/>
                  </a:lnTo>
                  <a:lnTo>
                    <a:pt x="1522" y="762"/>
                  </a:lnTo>
                  <a:lnTo>
                    <a:pt x="1520" y="764"/>
                  </a:lnTo>
                  <a:lnTo>
                    <a:pt x="1516" y="766"/>
                  </a:lnTo>
                  <a:lnTo>
                    <a:pt x="1516" y="768"/>
                  </a:lnTo>
                  <a:lnTo>
                    <a:pt x="1514" y="772"/>
                  </a:lnTo>
                  <a:lnTo>
                    <a:pt x="1512" y="772"/>
                  </a:lnTo>
                  <a:lnTo>
                    <a:pt x="1510" y="774"/>
                  </a:lnTo>
                  <a:lnTo>
                    <a:pt x="1510" y="780"/>
                  </a:lnTo>
                  <a:lnTo>
                    <a:pt x="1510" y="782"/>
                  </a:lnTo>
                  <a:lnTo>
                    <a:pt x="1510" y="784"/>
                  </a:lnTo>
                  <a:lnTo>
                    <a:pt x="1504" y="786"/>
                  </a:lnTo>
                  <a:lnTo>
                    <a:pt x="1496" y="790"/>
                  </a:lnTo>
                  <a:lnTo>
                    <a:pt x="1492" y="792"/>
                  </a:lnTo>
                  <a:lnTo>
                    <a:pt x="1490" y="790"/>
                  </a:lnTo>
                  <a:lnTo>
                    <a:pt x="1492" y="784"/>
                  </a:lnTo>
                  <a:lnTo>
                    <a:pt x="1494" y="776"/>
                  </a:lnTo>
                  <a:lnTo>
                    <a:pt x="1496" y="770"/>
                  </a:lnTo>
                  <a:lnTo>
                    <a:pt x="1496" y="766"/>
                  </a:lnTo>
                  <a:lnTo>
                    <a:pt x="1498" y="760"/>
                  </a:lnTo>
                  <a:lnTo>
                    <a:pt x="1500" y="754"/>
                  </a:lnTo>
                  <a:lnTo>
                    <a:pt x="1498" y="750"/>
                  </a:lnTo>
                  <a:lnTo>
                    <a:pt x="1494" y="750"/>
                  </a:lnTo>
                  <a:lnTo>
                    <a:pt x="1490" y="752"/>
                  </a:lnTo>
                  <a:lnTo>
                    <a:pt x="1480" y="762"/>
                  </a:lnTo>
                  <a:lnTo>
                    <a:pt x="1456" y="784"/>
                  </a:lnTo>
                  <a:lnTo>
                    <a:pt x="1450" y="790"/>
                  </a:lnTo>
                  <a:lnTo>
                    <a:pt x="1450" y="794"/>
                  </a:lnTo>
                  <a:lnTo>
                    <a:pt x="1450" y="798"/>
                  </a:lnTo>
                  <a:lnTo>
                    <a:pt x="1446" y="804"/>
                  </a:lnTo>
                  <a:lnTo>
                    <a:pt x="1440" y="810"/>
                  </a:lnTo>
                  <a:lnTo>
                    <a:pt x="1436" y="810"/>
                  </a:lnTo>
                  <a:lnTo>
                    <a:pt x="1434" y="810"/>
                  </a:lnTo>
                  <a:lnTo>
                    <a:pt x="1432" y="810"/>
                  </a:lnTo>
                  <a:lnTo>
                    <a:pt x="1428" y="812"/>
                  </a:lnTo>
                  <a:lnTo>
                    <a:pt x="1426" y="812"/>
                  </a:lnTo>
                  <a:lnTo>
                    <a:pt x="1428" y="808"/>
                  </a:lnTo>
                  <a:lnTo>
                    <a:pt x="1432" y="802"/>
                  </a:lnTo>
                  <a:lnTo>
                    <a:pt x="1436" y="798"/>
                  </a:lnTo>
                  <a:lnTo>
                    <a:pt x="1436" y="794"/>
                  </a:lnTo>
                  <a:lnTo>
                    <a:pt x="1436" y="792"/>
                  </a:lnTo>
                  <a:lnTo>
                    <a:pt x="1438" y="790"/>
                  </a:lnTo>
                  <a:lnTo>
                    <a:pt x="1442" y="784"/>
                  </a:lnTo>
                  <a:lnTo>
                    <a:pt x="1440" y="782"/>
                  </a:lnTo>
                  <a:lnTo>
                    <a:pt x="1440" y="778"/>
                  </a:lnTo>
                  <a:lnTo>
                    <a:pt x="1448" y="770"/>
                  </a:lnTo>
                  <a:lnTo>
                    <a:pt x="1466" y="756"/>
                  </a:lnTo>
                  <a:lnTo>
                    <a:pt x="1466" y="754"/>
                  </a:lnTo>
                  <a:lnTo>
                    <a:pt x="1458" y="754"/>
                  </a:lnTo>
                  <a:lnTo>
                    <a:pt x="1454" y="752"/>
                  </a:lnTo>
                  <a:lnTo>
                    <a:pt x="1450" y="752"/>
                  </a:lnTo>
                  <a:lnTo>
                    <a:pt x="1446" y="748"/>
                  </a:lnTo>
                  <a:lnTo>
                    <a:pt x="1446" y="746"/>
                  </a:lnTo>
                  <a:lnTo>
                    <a:pt x="1444" y="752"/>
                  </a:lnTo>
                  <a:lnTo>
                    <a:pt x="1442" y="758"/>
                  </a:lnTo>
                  <a:lnTo>
                    <a:pt x="1442" y="760"/>
                  </a:lnTo>
                  <a:lnTo>
                    <a:pt x="1440" y="758"/>
                  </a:lnTo>
                  <a:lnTo>
                    <a:pt x="1438" y="754"/>
                  </a:lnTo>
                  <a:lnTo>
                    <a:pt x="1434" y="750"/>
                  </a:lnTo>
                  <a:lnTo>
                    <a:pt x="1430" y="748"/>
                  </a:lnTo>
                  <a:lnTo>
                    <a:pt x="1426" y="750"/>
                  </a:lnTo>
                  <a:lnTo>
                    <a:pt x="1424" y="750"/>
                  </a:lnTo>
                  <a:lnTo>
                    <a:pt x="1420" y="748"/>
                  </a:lnTo>
                  <a:lnTo>
                    <a:pt x="1418" y="746"/>
                  </a:lnTo>
                  <a:lnTo>
                    <a:pt x="1414" y="746"/>
                  </a:lnTo>
                  <a:lnTo>
                    <a:pt x="1412" y="748"/>
                  </a:lnTo>
                  <a:lnTo>
                    <a:pt x="1414" y="752"/>
                  </a:lnTo>
                  <a:lnTo>
                    <a:pt x="1416" y="754"/>
                  </a:lnTo>
                  <a:lnTo>
                    <a:pt x="1416" y="758"/>
                  </a:lnTo>
                  <a:lnTo>
                    <a:pt x="1414" y="760"/>
                  </a:lnTo>
                  <a:lnTo>
                    <a:pt x="1408" y="758"/>
                  </a:lnTo>
                  <a:lnTo>
                    <a:pt x="1402" y="754"/>
                  </a:lnTo>
                  <a:lnTo>
                    <a:pt x="1400" y="756"/>
                  </a:lnTo>
                  <a:lnTo>
                    <a:pt x="1402" y="760"/>
                  </a:lnTo>
                  <a:lnTo>
                    <a:pt x="1410" y="764"/>
                  </a:lnTo>
                  <a:lnTo>
                    <a:pt x="1418" y="768"/>
                  </a:lnTo>
                  <a:lnTo>
                    <a:pt x="1422" y="770"/>
                  </a:lnTo>
                  <a:lnTo>
                    <a:pt x="1418" y="772"/>
                  </a:lnTo>
                  <a:lnTo>
                    <a:pt x="1410" y="770"/>
                  </a:lnTo>
                  <a:lnTo>
                    <a:pt x="1404" y="768"/>
                  </a:lnTo>
                  <a:lnTo>
                    <a:pt x="1402" y="768"/>
                  </a:lnTo>
                  <a:lnTo>
                    <a:pt x="1402" y="770"/>
                  </a:lnTo>
                  <a:lnTo>
                    <a:pt x="1400" y="774"/>
                  </a:lnTo>
                  <a:lnTo>
                    <a:pt x="1396" y="778"/>
                  </a:lnTo>
                  <a:lnTo>
                    <a:pt x="1388" y="782"/>
                  </a:lnTo>
                  <a:lnTo>
                    <a:pt x="1376" y="790"/>
                  </a:lnTo>
                  <a:lnTo>
                    <a:pt x="1372" y="792"/>
                  </a:lnTo>
                  <a:lnTo>
                    <a:pt x="1372" y="794"/>
                  </a:lnTo>
                  <a:lnTo>
                    <a:pt x="1366" y="798"/>
                  </a:lnTo>
                  <a:lnTo>
                    <a:pt x="1362" y="800"/>
                  </a:lnTo>
                  <a:lnTo>
                    <a:pt x="1360" y="802"/>
                  </a:lnTo>
                  <a:lnTo>
                    <a:pt x="1360" y="804"/>
                  </a:lnTo>
                  <a:lnTo>
                    <a:pt x="1362" y="808"/>
                  </a:lnTo>
                  <a:lnTo>
                    <a:pt x="1360" y="810"/>
                  </a:lnTo>
                  <a:lnTo>
                    <a:pt x="1358" y="810"/>
                  </a:lnTo>
                  <a:lnTo>
                    <a:pt x="1358" y="812"/>
                  </a:lnTo>
                  <a:lnTo>
                    <a:pt x="1362" y="816"/>
                  </a:lnTo>
                  <a:lnTo>
                    <a:pt x="1368" y="818"/>
                  </a:lnTo>
                  <a:lnTo>
                    <a:pt x="1370" y="818"/>
                  </a:lnTo>
                  <a:lnTo>
                    <a:pt x="1368" y="818"/>
                  </a:lnTo>
                  <a:lnTo>
                    <a:pt x="1362" y="818"/>
                  </a:lnTo>
                  <a:lnTo>
                    <a:pt x="1356" y="818"/>
                  </a:lnTo>
                  <a:lnTo>
                    <a:pt x="1350" y="816"/>
                  </a:lnTo>
                  <a:lnTo>
                    <a:pt x="1350" y="814"/>
                  </a:lnTo>
                  <a:lnTo>
                    <a:pt x="1350" y="810"/>
                  </a:lnTo>
                  <a:lnTo>
                    <a:pt x="1350" y="806"/>
                  </a:lnTo>
                  <a:lnTo>
                    <a:pt x="1350" y="804"/>
                  </a:lnTo>
                  <a:lnTo>
                    <a:pt x="1342" y="802"/>
                  </a:lnTo>
                  <a:lnTo>
                    <a:pt x="1334" y="800"/>
                  </a:lnTo>
                  <a:lnTo>
                    <a:pt x="1326" y="800"/>
                  </a:lnTo>
                  <a:lnTo>
                    <a:pt x="1324" y="798"/>
                  </a:lnTo>
                  <a:lnTo>
                    <a:pt x="1322" y="798"/>
                  </a:lnTo>
                  <a:lnTo>
                    <a:pt x="1320" y="796"/>
                  </a:lnTo>
                  <a:lnTo>
                    <a:pt x="1318" y="798"/>
                  </a:lnTo>
                  <a:lnTo>
                    <a:pt x="1312" y="796"/>
                  </a:lnTo>
                  <a:lnTo>
                    <a:pt x="1308" y="794"/>
                  </a:lnTo>
                  <a:lnTo>
                    <a:pt x="1306" y="794"/>
                  </a:lnTo>
                  <a:lnTo>
                    <a:pt x="1306" y="796"/>
                  </a:lnTo>
                  <a:lnTo>
                    <a:pt x="1304" y="802"/>
                  </a:lnTo>
                  <a:lnTo>
                    <a:pt x="1302" y="808"/>
                  </a:lnTo>
                  <a:lnTo>
                    <a:pt x="1300" y="802"/>
                  </a:lnTo>
                  <a:lnTo>
                    <a:pt x="1298" y="800"/>
                  </a:lnTo>
                  <a:lnTo>
                    <a:pt x="1294" y="796"/>
                  </a:lnTo>
                  <a:lnTo>
                    <a:pt x="1290" y="796"/>
                  </a:lnTo>
                  <a:lnTo>
                    <a:pt x="1284" y="798"/>
                  </a:lnTo>
                  <a:lnTo>
                    <a:pt x="1278" y="802"/>
                  </a:lnTo>
                  <a:lnTo>
                    <a:pt x="1280" y="804"/>
                  </a:lnTo>
                  <a:lnTo>
                    <a:pt x="1286" y="806"/>
                  </a:lnTo>
                  <a:lnTo>
                    <a:pt x="1288" y="808"/>
                  </a:lnTo>
                  <a:lnTo>
                    <a:pt x="1290" y="810"/>
                  </a:lnTo>
                  <a:lnTo>
                    <a:pt x="1294" y="812"/>
                  </a:lnTo>
                  <a:lnTo>
                    <a:pt x="1298" y="812"/>
                  </a:lnTo>
                  <a:lnTo>
                    <a:pt x="1302" y="814"/>
                  </a:lnTo>
                  <a:lnTo>
                    <a:pt x="1304" y="816"/>
                  </a:lnTo>
                  <a:lnTo>
                    <a:pt x="1308" y="816"/>
                  </a:lnTo>
                  <a:lnTo>
                    <a:pt x="1310" y="818"/>
                  </a:lnTo>
                  <a:lnTo>
                    <a:pt x="1308" y="820"/>
                  </a:lnTo>
                  <a:lnTo>
                    <a:pt x="1306" y="822"/>
                  </a:lnTo>
                  <a:lnTo>
                    <a:pt x="1306" y="824"/>
                  </a:lnTo>
                  <a:lnTo>
                    <a:pt x="1312" y="832"/>
                  </a:lnTo>
                  <a:lnTo>
                    <a:pt x="1314" y="836"/>
                  </a:lnTo>
                  <a:lnTo>
                    <a:pt x="1312" y="836"/>
                  </a:lnTo>
                  <a:lnTo>
                    <a:pt x="1296" y="824"/>
                  </a:lnTo>
                  <a:lnTo>
                    <a:pt x="1286" y="818"/>
                  </a:lnTo>
                  <a:lnTo>
                    <a:pt x="1280" y="816"/>
                  </a:lnTo>
                  <a:lnTo>
                    <a:pt x="1278" y="818"/>
                  </a:lnTo>
                  <a:lnTo>
                    <a:pt x="1278" y="822"/>
                  </a:lnTo>
                  <a:lnTo>
                    <a:pt x="1280" y="822"/>
                  </a:lnTo>
                  <a:lnTo>
                    <a:pt x="1280" y="824"/>
                  </a:lnTo>
                  <a:lnTo>
                    <a:pt x="1276" y="826"/>
                  </a:lnTo>
                  <a:lnTo>
                    <a:pt x="1274" y="826"/>
                  </a:lnTo>
                  <a:lnTo>
                    <a:pt x="1272" y="826"/>
                  </a:lnTo>
                  <a:lnTo>
                    <a:pt x="1272" y="824"/>
                  </a:lnTo>
                  <a:lnTo>
                    <a:pt x="1274" y="822"/>
                  </a:lnTo>
                  <a:lnTo>
                    <a:pt x="1272" y="822"/>
                  </a:lnTo>
                  <a:lnTo>
                    <a:pt x="1266" y="824"/>
                  </a:lnTo>
                  <a:lnTo>
                    <a:pt x="1252" y="834"/>
                  </a:lnTo>
                  <a:lnTo>
                    <a:pt x="1252" y="836"/>
                  </a:lnTo>
                  <a:lnTo>
                    <a:pt x="1250" y="838"/>
                  </a:lnTo>
                  <a:lnTo>
                    <a:pt x="1248" y="846"/>
                  </a:lnTo>
                  <a:lnTo>
                    <a:pt x="1246" y="850"/>
                  </a:lnTo>
                  <a:lnTo>
                    <a:pt x="1244" y="856"/>
                  </a:lnTo>
                  <a:lnTo>
                    <a:pt x="1238" y="862"/>
                  </a:lnTo>
                  <a:lnTo>
                    <a:pt x="1228" y="868"/>
                  </a:lnTo>
                  <a:lnTo>
                    <a:pt x="1238" y="856"/>
                  </a:lnTo>
                  <a:lnTo>
                    <a:pt x="1242" y="844"/>
                  </a:lnTo>
                  <a:lnTo>
                    <a:pt x="1244" y="832"/>
                  </a:lnTo>
                  <a:lnTo>
                    <a:pt x="1244" y="824"/>
                  </a:lnTo>
                  <a:lnTo>
                    <a:pt x="1242" y="820"/>
                  </a:lnTo>
                  <a:lnTo>
                    <a:pt x="1240" y="822"/>
                  </a:lnTo>
                  <a:lnTo>
                    <a:pt x="1238" y="824"/>
                  </a:lnTo>
                  <a:lnTo>
                    <a:pt x="1236" y="826"/>
                  </a:lnTo>
                  <a:lnTo>
                    <a:pt x="1236" y="824"/>
                  </a:lnTo>
                  <a:lnTo>
                    <a:pt x="1232" y="822"/>
                  </a:lnTo>
                  <a:lnTo>
                    <a:pt x="1230" y="822"/>
                  </a:lnTo>
                  <a:lnTo>
                    <a:pt x="1224" y="834"/>
                  </a:lnTo>
                  <a:lnTo>
                    <a:pt x="1222" y="840"/>
                  </a:lnTo>
                  <a:lnTo>
                    <a:pt x="1222" y="842"/>
                  </a:lnTo>
                  <a:lnTo>
                    <a:pt x="1222" y="844"/>
                  </a:lnTo>
                  <a:lnTo>
                    <a:pt x="1220" y="846"/>
                  </a:lnTo>
                  <a:lnTo>
                    <a:pt x="1216" y="848"/>
                  </a:lnTo>
                  <a:lnTo>
                    <a:pt x="1214" y="848"/>
                  </a:lnTo>
                  <a:lnTo>
                    <a:pt x="1214" y="846"/>
                  </a:lnTo>
                  <a:lnTo>
                    <a:pt x="1216" y="840"/>
                  </a:lnTo>
                  <a:lnTo>
                    <a:pt x="1218" y="836"/>
                  </a:lnTo>
                  <a:lnTo>
                    <a:pt x="1216" y="832"/>
                  </a:lnTo>
                  <a:lnTo>
                    <a:pt x="1214" y="830"/>
                  </a:lnTo>
                  <a:lnTo>
                    <a:pt x="1212" y="830"/>
                  </a:lnTo>
                  <a:lnTo>
                    <a:pt x="1204" y="832"/>
                  </a:lnTo>
                  <a:lnTo>
                    <a:pt x="1198" y="836"/>
                  </a:lnTo>
                  <a:lnTo>
                    <a:pt x="1186" y="844"/>
                  </a:lnTo>
                  <a:lnTo>
                    <a:pt x="1184" y="846"/>
                  </a:lnTo>
                  <a:lnTo>
                    <a:pt x="1188" y="848"/>
                  </a:lnTo>
                  <a:lnTo>
                    <a:pt x="1188" y="850"/>
                  </a:lnTo>
                  <a:lnTo>
                    <a:pt x="1188" y="854"/>
                  </a:lnTo>
                  <a:lnTo>
                    <a:pt x="1188" y="856"/>
                  </a:lnTo>
                  <a:lnTo>
                    <a:pt x="1190" y="858"/>
                  </a:lnTo>
                  <a:lnTo>
                    <a:pt x="1196" y="860"/>
                  </a:lnTo>
                  <a:lnTo>
                    <a:pt x="1200" y="862"/>
                  </a:lnTo>
                  <a:lnTo>
                    <a:pt x="1204" y="864"/>
                  </a:lnTo>
                  <a:lnTo>
                    <a:pt x="1208" y="868"/>
                  </a:lnTo>
                  <a:lnTo>
                    <a:pt x="1210" y="876"/>
                  </a:lnTo>
                  <a:lnTo>
                    <a:pt x="1200" y="872"/>
                  </a:lnTo>
                  <a:lnTo>
                    <a:pt x="1198" y="870"/>
                  </a:lnTo>
                  <a:lnTo>
                    <a:pt x="1200" y="868"/>
                  </a:lnTo>
                  <a:lnTo>
                    <a:pt x="1202" y="868"/>
                  </a:lnTo>
                  <a:lnTo>
                    <a:pt x="1196" y="864"/>
                  </a:lnTo>
                  <a:lnTo>
                    <a:pt x="1190" y="862"/>
                  </a:lnTo>
                  <a:lnTo>
                    <a:pt x="1186" y="860"/>
                  </a:lnTo>
                  <a:lnTo>
                    <a:pt x="1182" y="854"/>
                  </a:lnTo>
                  <a:lnTo>
                    <a:pt x="1180" y="852"/>
                  </a:lnTo>
                  <a:lnTo>
                    <a:pt x="1174" y="852"/>
                  </a:lnTo>
                  <a:lnTo>
                    <a:pt x="1166" y="854"/>
                  </a:lnTo>
                  <a:lnTo>
                    <a:pt x="1166" y="856"/>
                  </a:lnTo>
                  <a:lnTo>
                    <a:pt x="1174" y="862"/>
                  </a:lnTo>
                  <a:lnTo>
                    <a:pt x="1178" y="866"/>
                  </a:lnTo>
                  <a:lnTo>
                    <a:pt x="1176" y="868"/>
                  </a:lnTo>
                  <a:lnTo>
                    <a:pt x="1172" y="868"/>
                  </a:lnTo>
                  <a:lnTo>
                    <a:pt x="1168" y="862"/>
                  </a:lnTo>
                  <a:lnTo>
                    <a:pt x="1158" y="854"/>
                  </a:lnTo>
                  <a:lnTo>
                    <a:pt x="1154" y="854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2"/>
                  </a:lnTo>
                  <a:lnTo>
                    <a:pt x="1152" y="864"/>
                  </a:lnTo>
                  <a:lnTo>
                    <a:pt x="1150" y="868"/>
                  </a:lnTo>
                  <a:lnTo>
                    <a:pt x="1150" y="872"/>
                  </a:lnTo>
                  <a:lnTo>
                    <a:pt x="1152" y="876"/>
                  </a:lnTo>
                  <a:lnTo>
                    <a:pt x="1152" y="878"/>
                  </a:lnTo>
                  <a:lnTo>
                    <a:pt x="1146" y="880"/>
                  </a:lnTo>
                  <a:lnTo>
                    <a:pt x="1138" y="884"/>
                  </a:lnTo>
                  <a:lnTo>
                    <a:pt x="1134" y="886"/>
                  </a:lnTo>
                  <a:lnTo>
                    <a:pt x="1130" y="888"/>
                  </a:lnTo>
                  <a:lnTo>
                    <a:pt x="1128" y="892"/>
                  </a:lnTo>
                  <a:lnTo>
                    <a:pt x="1128" y="894"/>
                  </a:lnTo>
                  <a:lnTo>
                    <a:pt x="1134" y="896"/>
                  </a:lnTo>
                  <a:lnTo>
                    <a:pt x="1138" y="898"/>
                  </a:lnTo>
                  <a:lnTo>
                    <a:pt x="1132" y="900"/>
                  </a:lnTo>
                  <a:lnTo>
                    <a:pt x="1122" y="902"/>
                  </a:lnTo>
                  <a:lnTo>
                    <a:pt x="1120" y="906"/>
                  </a:lnTo>
                  <a:lnTo>
                    <a:pt x="1118" y="908"/>
                  </a:lnTo>
                  <a:lnTo>
                    <a:pt x="1114" y="912"/>
                  </a:lnTo>
                  <a:lnTo>
                    <a:pt x="1108" y="912"/>
                  </a:lnTo>
                  <a:lnTo>
                    <a:pt x="1102" y="912"/>
                  </a:lnTo>
                  <a:lnTo>
                    <a:pt x="1096" y="916"/>
                  </a:lnTo>
                  <a:lnTo>
                    <a:pt x="1090" y="924"/>
                  </a:lnTo>
                  <a:lnTo>
                    <a:pt x="1088" y="928"/>
                  </a:lnTo>
                  <a:lnTo>
                    <a:pt x="1088" y="930"/>
                  </a:lnTo>
                  <a:lnTo>
                    <a:pt x="1092" y="930"/>
                  </a:lnTo>
                  <a:lnTo>
                    <a:pt x="1096" y="928"/>
                  </a:lnTo>
                  <a:lnTo>
                    <a:pt x="1106" y="926"/>
                  </a:lnTo>
                  <a:lnTo>
                    <a:pt x="1108" y="926"/>
                  </a:lnTo>
                  <a:lnTo>
                    <a:pt x="1108" y="930"/>
                  </a:lnTo>
                  <a:lnTo>
                    <a:pt x="1112" y="930"/>
                  </a:lnTo>
                  <a:lnTo>
                    <a:pt x="1124" y="924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28" y="928"/>
                  </a:lnTo>
                  <a:lnTo>
                    <a:pt x="1120" y="932"/>
                  </a:lnTo>
                  <a:lnTo>
                    <a:pt x="1110" y="936"/>
                  </a:lnTo>
                  <a:lnTo>
                    <a:pt x="1102" y="936"/>
                  </a:lnTo>
                  <a:lnTo>
                    <a:pt x="1100" y="936"/>
                  </a:lnTo>
                  <a:lnTo>
                    <a:pt x="1096" y="934"/>
                  </a:lnTo>
                  <a:lnTo>
                    <a:pt x="1088" y="934"/>
                  </a:lnTo>
                  <a:lnTo>
                    <a:pt x="1078" y="936"/>
                  </a:lnTo>
                  <a:lnTo>
                    <a:pt x="1072" y="938"/>
                  </a:lnTo>
                  <a:lnTo>
                    <a:pt x="1070" y="940"/>
                  </a:lnTo>
                  <a:lnTo>
                    <a:pt x="1074" y="942"/>
                  </a:lnTo>
                  <a:lnTo>
                    <a:pt x="1076" y="944"/>
                  </a:lnTo>
                  <a:lnTo>
                    <a:pt x="1076" y="946"/>
                  </a:lnTo>
                  <a:lnTo>
                    <a:pt x="1080" y="948"/>
                  </a:lnTo>
                  <a:lnTo>
                    <a:pt x="1086" y="948"/>
                  </a:lnTo>
                  <a:lnTo>
                    <a:pt x="1084" y="952"/>
                  </a:lnTo>
                  <a:lnTo>
                    <a:pt x="1080" y="958"/>
                  </a:lnTo>
                  <a:lnTo>
                    <a:pt x="1078" y="960"/>
                  </a:lnTo>
                  <a:lnTo>
                    <a:pt x="1076" y="964"/>
                  </a:lnTo>
                  <a:lnTo>
                    <a:pt x="1076" y="968"/>
                  </a:lnTo>
                  <a:lnTo>
                    <a:pt x="1074" y="966"/>
                  </a:lnTo>
                  <a:lnTo>
                    <a:pt x="1070" y="960"/>
                  </a:lnTo>
                  <a:lnTo>
                    <a:pt x="1070" y="954"/>
                  </a:lnTo>
                  <a:lnTo>
                    <a:pt x="1070" y="948"/>
                  </a:lnTo>
                  <a:lnTo>
                    <a:pt x="1068" y="944"/>
                  </a:lnTo>
                  <a:lnTo>
                    <a:pt x="1066" y="944"/>
                  </a:lnTo>
                  <a:lnTo>
                    <a:pt x="1064" y="948"/>
                  </a:lnTo>
                  <a:lnTo>
                    <a:pt x="1060" y="954"/>
                  </a:lnTo>
                  <a:lnTo>
                    <a:pt x="1058" y="954"/>
                  </a:lnTo>
                  <a:lnTo>
                    <a:pt x="1056" y="954"/>
                  </a:lnTo>
                  <a:lnTo>
                    <a:pt x="1056" y="952"/>
                  </a:lnTo>
                  <a:lnTo>
                    <a:pt x="1052" y="950"/>
                  </a:lnTo>
                  <a:lnTo>
                    <a:pt x="1046" y="952"/>
                  </a:lnTo>
                  <a:lnTo>
                    <a:pt x="1042" y="956"/>
                  </a:lnTo>
                  <a:lnTo>
                    <a:pt x="1040" y="956"/>
                  </a:lnTo>
                  <a:lnTo>
                    <a:pt x="1040" y="958"/>
                  </a:lnTo>
                  <a:lnTo>
                    <a:pt x="1042" y="960"/>
                  </a:lnTo>
                  <a:lnTo>
                    <a:pt x="1044" y="960"/>
                  </a:lnTo>
                  <a:lnTo>
                    <a:pt x="1048" y="958"/>
                  </a:lnTo>
                  <a:lnTo>
                    <a:pt x="1054" y="958"/>
                  </a:lnTo>
                  <a:lnTo>
                    <a:pt x="1062" y="960"/>
                  </a:lnTo>
                  <a:lnTo>
                    <a:pt x="1064" y="962"/>
                  </a:lnTo>
                  <a:lnTo>
                    <a:pt x="1064" y="964"/>
                  </a:lnTo>
                  <a:lnTo>
                    <a:pt x="1060" y="966"/>
                  </a:lnTo>
                  <a:lnTo>
                    <a:pt x="1050" y="966"/>
                  </a:lnTo>
                  <a:lnTo>
                    <a:pt x="1032" y="970"/>
                  </a:lnTo>
                  <a:lnTo>
                    <a:pt x="1020" y="974"/>
                  </a:lnTo>
                  <a:lnTo>
                    <a:pt x="1018" y="976"/>
                  </a:lnTo>
                  <a:lnTo>
                    <a:pt x="1020" y="978"/>
                  </a:lnTo>
                  <a:lnTo>
                    <a:pt x="1022" y="980"/>
                  </a:lnTo>
                  <a:lnTo>
                    <a:pt x="1018" y="984"/>
                  </a:lnTo>
                  <a:lnTo>
                    <a:pt x="1016" y="986"/>
                  </a:lnTo>
                  <a:lnTo>
                    <a:pt x="1020" y="988"/>
                  </a:lnTo>
                  <a:lnTo>
                    <a:pt x="1026" y="988"/>
                  </a:lnTo>
                  <a:lnTo>
                    <a:pt x="1030" y="986"/>
                  </a:lnTo>
                  <a:lnTo>
                    <a:pt x="1036" y="980"/>
                  </a:lnTo>
                  <a:lnTo>
                    <a:pt x="1042" y="976"/>
                  </a:lnTo>
                  <a:lnTo>
                    <a:pt x="1046" y="976"/>
                  </a:lnTo>
                  <a:lnTo>
                    <a:pt x="1052" y="976"/>
                  </a:lnTo>
                  <a:lnTo>
                    <a:pt x="1060" y="980"/>
                  </a:lnTo>
                  <a:lnTo>
                    <a:pt x="1058" y="980"/>
                  </a:lnTo>
                  <a:lnTo>
                    <a:pt x="1050" y="980"/>
                  </a:lnTo>
                  <a:lnTo>
                    <a:pt x="1040" y="982"/>
                  </a:lnTo>
                  <a:lnTo>
                    <a:pt x="1034" y="986"/>
                  </a:lnTo>
                  <a:lnTo>
                    <a:pt x="1034" y="988"/>
                  </a:lnTo>
                  <a:lnTo>
                    <a:pt x="1036" y="990"/>
                  </a:lnTo>
                  <a:lnTo>
                    <a:pt x="1034" y="990"/>
                  </a:lnTo>
                  <a:lnTo>
                    <a:pt x="1026" y="992"/>
                  </a:lnTo>
                  <a:lnTo>
                    <a:pt x="1016" y="996"/>
                  </a:lnTo>
                  <a:lnTo>
                    <a:pt x="1016" y="998"/>
                  </a:lnTo>
                  <a:lnTo>
                    <a:pt x="1020" y="1002"/>
                  </a:lnTo>
                  <a:lnTo>
                    <a:pt x="1022" y="1002"/>
                  </a:lnTo>
                  <a:lnTo>
                    <a:pt x="1022" y="1004"/>
                  </a:lnTo>
                  <a:lnTo>
                    <a:pt x="1020" y="1006"/>
                  </a:lnTo>
                  <a:lnTo>
                    <a:pt x="1016" y="1004"/>
                  </a:lnTo>
                  <a:lnTo>
                    <a:pt x="1014" y="1002"/>
                  </a:lnTo>
                  <a:lnTo>
                    <a:pt x="1010" y="1004"/>
                  </a:lnTo>
                  <a:lnTo>
                    <a:pt x="1004" y="1012"/>
                  </a:lnTo>
                  <a:lnTo>
                    <a:pt x="1008" y="1014"/>
                  </a:lnTo>
                  <a:lnTo>
                    <a:pt x="1012" y="1014"/>
                  </a:lnTo>
                  <a:lnTo>
                    <a:pt x="1016" y="1012"/>
                  </a:lnTo>
                  <a:lnTo>
                    <a:pt x="1024" y="1012"/>
                  </a:lnTo>
                  <a:lnTo>
                    <a:pt x="1036" y="1012"/>
                  </a:lnTo>
                  <a:lnTo>
                    <a:pt x="1050" y="1016"/>
                  </a:lnTo>
                  <a:lnTo>
                    <a:pt x="1048" y="1016"/>
                  </a:lnTo>
                  <a:lnTo>
                    <a:pt x="1046" y="1018"/>
                  </a:lnTo>
                  <a:lnTo>
                    <a:pt x="1046" y="1022"/>
                  </a:lnTo>
                  <a:lnTo>
                    <a:pt x="1046" y="1024"/>
                  </a:lnTo>
                  <a:lnTo>
                    <a:pt x="1044" y="1022"/>
                  </a:lnTo>
                  <a:lnTo>
                    <a:pt x="1038" y="1018"/>
                  </a:lnTo>
                  <a:lnTo>
                    <a:pt x="1034" y="1016"/>
                  </a:lnTo>
                  <a:lnTo>
                    <a:pt x="1028" y="1016"/>
                  </a:lnTo>
                  <a:lnTo>
                    <a:pt x="1020" y="1016"/>
                  </a:lnTo>
                  <a:lnTo>
                    <a:pt x="1014" y="1018"/>
                  </a:lnTo>
                  <a:lnTo>
                    <a:pt x="1008" y="1020"/>
                  </a:lnTo>
                  <a:lnTo>
                    <a:pt x="1002" y="1020"/>
                  </a:lnTo>
                  <a:lnTo>
                    <a:pt x="998" y="1020"/>
                  </a:lnTo>
                  <a:lnTo>
                    <a:pt x="996" y="1020"/>
                  </a:lnTo>
                  <a:lnTo>
                    <a:pt x="994" y="1022"/>
                  </a:lnTo>
                  <a:lnTo>
                    <a:pt x="990" y="1022"/>
                  </a:lnTo>
                  <a:lnTo>
                    <a:pt x="988" y="1024"/>
                  </a:lnTo>
                  <a:lnTo>
                    <a:pt x="988" y="1026"/>
                  </a:lnTo>
                  <a:lnTo>
                    <a:pt x="988" y="1028"/>
                  </a:lnTo>
                  <a:lnTo>
                    <a:pt x="988" y="1030"/>
                  </a:lnTo>
                  <a:lnTo>
                    <a:pt x="986" y="1032"/>
                  </a:lnTo>
                  <a:lnTo>
                    <a:pt x="982" y="1034"/>
                  </a:lnTo>
                  <a:lnTo>
                    <a:pt x="976" y="1034"/>
                  </a:lnTo>
                  <a:lnTo>
                    <a:pt x="968" y="1036"/>
                  </a:lnTo>
                  <a:lnTo>
                    <a:pt x="970" y="1038"/>
                  </a:lnTo>
                  <a:lnTo>
                    <a:pt x="974" y="1042"/>
                  </a:lnTo>
                  <a:lnTo>
                    <a:pt x="974" y="1044"/>
                  </a:lnTo>
                  <a:lnTo>
                    <a:pt x="972" y="1046"/>
                  </a:lnTo>
                  <a:lnTo>
                    <a:pt x="966" y="1050"/>
                  </a:lnTo>
                  <a:lnTo>
                    <a:pt x="964" y="1050"/>
                  </a:lnTo>
                  <a:lnTo>
                    <a:pt x="962" y="1050"/>
                  </a:lnTo>
                  <a:lnTo>
                    <a:pt x="956" y="1052"/>
                  </a:lnTo>
                  <a:lnTo>
                    <a:pt x="954" y="1056"/>
                  </a:lnTo>
                  <a:lnTo>
                    <a:pt x="956" y="1058"/>
                  </a:lnTo>
                  <a:lnTo>
                    <a:pt x="958" y="1058"/>
                  </a:lnTo>
                  <a:lnTo>
                    <a:pt x="958" y="1060"/>
                  </a:lnTo>
                  <a:lnTo>
                    <a:pt x="954" y="1062"/>
                  </a:lnTo>
                  <a:lnTo>
                    <a:pt x="954" y="1064"/>
                  </a:lnTo>
                  <a:lnTo>
                    <a:pt x="956" y="1066"/>
                  </a:lnTo>
                  <a:lnTo>
                    <a:pt x="954" y="1064"/>
                  </a:lnTo>
                  <a:lnTo>
                    <a:pt x="950" y="1064"/>
                  </a:lnTo>
                  <a:lnTo>
                    <a:pt x="946" y="1064"/>
                  </a:lnTo>
                  <a:lnTo>
                    <a:pt x="946" y="1066"/>
                  </a:lnTo>
                  <a:lnTo>
                    <a:pt x="948" y="1068"/>
                  </a:lnTo>
                  <a:lnTo>
                    <a:pt x="950" y="1070"/>
                  </a:lnTo>
                  <a:lnTo>
                    <a:pt x="950" y="1072"/>
                  </a:lnTo>
                  <a:lnTo>
                    <a:pt x="948" y="1076"/>
                  </a:lnTo>
                  <a:lnTo>
                    <a:pt x="948" y="1080"/>
                  </a:lnTo>
                  <a:lnTo>
                    <a:pt x="954" y="1080"/>
                  </a:lnTo>
                  <a:lnTo>
                    <a:pt x="958" y="1080"/>
                  </a:lnTo>
                  <a:lnTo>
                    <a:pt x="954" y="1082"/>
                  </a:lnTo>
                  <a:lnTo>
                    <a:pt x="948" y="1084"/>
                  </a:lnTo>
                  <a:lnTo>
                    <a:pt x="946" y="1086"/>
                  </a:lnTo>
                  <a:lnTo>
                    <a:pt x="954" y="1086"/>
                  </a:lnTo>
                  <a:lnTo>
                    <a:pt x="964" y="1084"/>
                  </a:lnTo>
                  <a:lnTo>
                    <a:pt x="988" y="1078"/>
                  </a:lnTo>
                  <a:lnTo>
                    <a:pt x="994" y="1078"/>
                  </a:lnTo>
                  <a:lnTo>
                    <a:pt x="990" y="1080"/>
                  </a:lnTo>
                  <a:lnTo>
                    <a:pt x="982" y="1084"/>
                  </a:lnTo>
                  <a:lnTo>
                    <a:pt x="972" y="1086"/>
                  </a:lnTo>
                  <a:lnTo>
                    <a:pt x="954" y="1090"/>
                  </a:lnTo>
                  <a:lnTo>
                    <a:pt x="946" y="1092"/>
                  </a:lnTo>
                  <a:lnTo>
                    <a:pt x="936" y="1094"/>
                  </a:lnTo>
                  <a:lnTo>
                    <a:pt x="932" y="1096"/>
                  </a:lnTo>
                  <a:lnTo>
                    <a:pt x="936" y="1096"/>
                  </a:lnTo>
                  <a:lnTo>
                    <a:pt x="942" y="1098"/>
                  </a:lnTo>
                  <a:lnTo>
                    <a:pt x="944" y="1098"/>
                  </a:lnTo>
                  <a:lnTo>
                    <a:pt x="946" y="1100"/>
                  </a:lnTo>
                  <a:lnTo>
                    <a:pt x="944" y="1104"/>
                  </a:lnTo>
                  <a:lnTo>
                    <a:pt x="940" y="1106"/>
                  </a:lnTo>
                  <a:lnTo>
                    <a:pt x="934" y="1108"/>
                  </a:lnTo>
                  <a:lnTo>
                    <a:pt x="932" y="1114"/>
                  </a:lnTo>
                  <a:lnTo>
                    <a:pt x="930" y="1118"/>
                  </a:lnTo>
                  <a:lnTo>
                    <a:pt x="928" y="1120"/>
                  </a:lnTo>
                  <a:lnTo>
                    <a:pt x="924" y="1122"/>
                  </a:lnTo>
                  <a:lnTo>
                    <a:pt x="920" y="1122"/>
                  </a:lnTo>
                  <a:lnTo>
                    <a:pt x="920" y="1128"/>
                  </a:lnTo>
                  <a:lnTo>
                    <a:pt x="922" y="1132"/>
                  </a:lnTo>
                  <a:lnTo>
                    <a:pt x="924" y="1134"/>
                  </a:lnTo>
                  <a:lnTo>
                    <a:pt x="926" y="1134"/>
                  </a:lnTo>
                  <a:lnTo>
                    <a:pt x="928" y="1138"/>
                  </a:lnTo>
                  <a:lnTo>
                    <a:pt x="928" y="1140"/>
                  </a:lnTo>
                  <a:lnTo>
                    <a:pt x="928" y="1142"/>
                  </a:lnTo>
                  <a:lnTo>
                    <a:pt x="922" y="1146"/>
                  </a:lnTo>
                  <a:lnTo>
                    <a:pt x="918" y="1150"/>
                  </a:lnTo>
                  <a:lnTo>
                    <a:pt x="918" y="1152"/>
                  </a:lnTo>
                  <a:lnTo>
                    <a:pt x="920" y="1152"/>
                  </a:lnTo>
                  <a:lnTo>
                    <a:pt x="922" y="1156"/>
                  </a:lnTo>
                  <a:lnTo>
                    <a:pt x="922" y="1160"/>
                  </a:lnTo>
                  <a:lnTo>
                    <a:pt x="918" y="1164"/>
                  </a:lnTo>
                  <a:lnTo>
                    <a:pt x="910" y="1166"/>
                  </a:lnTo>
                  <a:lnTo>
                    <a:pt x="904" y="1168"/>
                  </a:lnTo>
                  <a:lnTo>
                    <a:pt x="900" y="1168"/>
                  </a:lnTo>
                  <a:lnTo>
                    <a:pt x="898" y="1170"/>
                  </a:lnTo>
                  <a:lnTo>
                    <a:pt x="892" y="1172"/>
                  </a:lnTo>
                  <a:lnTo>
                    <a:pt x="888" y="1174"/>
                  </a:lnTo>
                  <a:lnTo>
                    <a:pt x="884" y="1174"/>
                  </a:lnTo>
                  <a:lnTo>
                    <a:pt x="880" y="1176"/>
                  </a:lnTo>
                  <a:lnTo>
                    <a:pt x="876" y="1176"/>
                  </a:lnTo>
                  <a:lnTo>
                    <a:pt x="866" y="1176"/>
                  </a:lnTo>
                  <a:lnTo>
                    <a:pt x="862" y="1176"/>
                  </a:lnTo>
                  <a:lnTo>
                    <a:pt x="860" y="1178"/>
                  </a:lnTo>
                  <a:lnTo>
                    <a:pt x="860" y="1180"/>
                  </a:lnTo>
                  <a:lnTo>
                    <a:pt x="864" y="1180"/>
                  </a:lnTo>
                  <a:lnTo>
                    <a:pt x="868" y="1180"/>
                  </a:lnTo>
                  <a:lnTo>
                    <a:pt x="876" y="1180"/>
                  </a:lnTo>
                  <a:lnTo>
                    <a:pt x="878" y="1182"/>
                  </a:lnTo>
                  <a:lnTo>
                    <a:pt x="880" y="1184"/>
                  </a:lnTo>
                  <a:lnTo>
                    <a:pt x="878" y="1186"/>
                  </a:lnTo>
                  <a:lnTo>
                    <a:pt x="878" y="1188"/>
                  </a:lnTo>
                  <a:lnTo>
                    <a:pt x="886" y="1184"/>
                  </a:lnTo>
                  <a:lnTo>
                    <a:pt x="892" y="1182"/>
                  </a:lnTo>
                  <a:lnTo>
                    <a:pt x="892" y="1184"/>
                  </a:lnTo>
                  <a:lnTo>
                    <a:pt x="890" y="1186"/>
                  </a:lnTo>
                  <a:lnTo>
                    <a:pt x="886" y="1190"/>
                  </a:lnTo>
                  <a:lnTo>
                    <a:pt x="884" y="1190"/>
                  </a:lnTo>
                  <a:lnTo>
                    <a:pt x="882" y="1192"/>
                  </a:lnTo>
                  <a:lnTo>
                    <a:pt x="886" y="1194"/>
                  </a:lnTo>
                  <a:lnTo>
                    <a:pt x="890" y="1196"/>
                  </a:lnTo>
                  <a:lnTo>
                    <a:pt x="890" y="1198"/>
                  </a:lnTo>
                  <a:lnTo>
                    <a:pt x="890" y="1200"/>
                  </a:lnTo>
                  <a:lnTo>
                    <a:pt x="886" y="1204"/>
                  </a:lnTo>
                  <a:lnTo>
                    <a:pt x="886" y="1206"/>
                  </a:lnTo>
                  <a:lnTo>
                    <a:pt x="884" y="1208"/>
                  </a:lnTo>
                  <a:lnTo>
                    <a:pt x="878" y="1208"/>
                  </a:lnTo>
                  <a:lnTo>
                    <a:pt x="874" y="1208"/>
                  </a:lnTo>
                  <a:lnTo>
                    <a:pt x="872" y="1208"/>
                  </a:lnTo>
                  <a:lnTo>
                    <a:pt x="870" y="1204"/>
                  </a:lnTo>
                  <a:lnTo>
                    <a:pt x="868" y="1198"/>
                  </a:lnTo>
                  <a:lnTo>
                    <a:pt x="866" y="1198"/>
                  </a:lnTo>
                  <a:lnTo>
                    <a:pt x="864" y="1198"/>
                  </a:lnTo>
                  <a:lnTo>
                    <a:pt x="862" y="1198"/>
                  </a:lnTo>
                  <a:lnTo>
                    <a:pt x="862" y="1200"/>
                  </a:lnTo>
                  <a:lnTo>
                    <a:pt x="862" y="1202"/>
                  </a:lnTo>
                  <a:lnTo>
                    <a:pt x="860" y="1204"/>
                  </a:lnTo>
                  <a:lnTo>
                    <a:pt x="852" y="1204"/>
                  </a:lnTo>
                  <a:lnTo>
                    <a:pt x="848" y="1208"/>
                  </a:lnTo>
                  <a:lnTo>
                    <a:pt x="846" y="1210"/>
                  </a:lnTo>
                  <a:lnTo>
                    <a:pt x="846" y="1214"/>
                  </a:lnTo>
                  <a:lnTo>
                    <a:pt x="846" y="1216"/>
                  </a:lnTo>
                  <a:lnTo>
                    <a:pt x="844" y="1218"/>
                  </a:lnTo>
                  <a:lnTo>
                    <a:pt x="840" y="1220"/>
                  </a:lnTo>
                  <a:lnTo>
                    <a:pt x="834" y="1222"/>
                  </a:lnTo>
                  <a:lnTo>
                    <a:pt x="832" y="1224"/>
                  </a:lnTo>
                  <a:lnTo>
                    <a:pt x="830" y="1228"/>
                  </a:lnTo>
                  <a:lnTo>
                    <a:pt x="828" y="1234"/>
                  </a:lnTo>
                  <a:lnTo>
                    <a:pt x="824" y="1240"/>
                  </a:lnTo>
                  <a:lnTo>
                    <a:pt x="818" y="1246"/>
                  </a:lnTo>
                  <a:lnTo>
                    <a:pt x="812" y="1250"/>
                  </a:lnTo>
                  <a:lnTo>
                    <a:pt x="808" y="1252"/>
                  </a:lnTo>
                  <a:lnTo>
                    <a:pt x="806" y="1256"/>
                  </a:lnTo>
                  <a:lnTo>
                    <a:pt x="806" y="1258"/>
                  </a:lnTo>
                  <a:lnTo>
                    <a:pt x="806" y="1260"/>
                  </a:lnTo>
                  <a:lnTo>
                    <a:pt x="810" y="1260"/>
                  </a:lnTo>
                  <a:lnTo>
                    <a:pt x="816" y="1258"/>
                  </a:lnTo>
                  <a:lnTo>
                    <a:pt x="818" y="1258"/>
                  </a:lnTo>
                  <a:lnTo>
                    <a:pt x="818" y="1262"/>
                  </a:lnTo>
                  <a:lnTo>
                    <a:pt x="820" y="1262"/>
                  </a:lnTo>
                  <a:lnTo>
                    <a:pt x="822" y="1264"/>
                  </a:lnTo>
                  <a:lnTo>
                    <a:pt x="822" y="1268"/>
                  </a:lnTo>
                  <a:lnTo>
                    <a:pt x="824" y="1270"/>
                  </a:lnTo>
                  <a:lnTo>
                    <a:pt x="826" y="1270"/>
                  </a:lnTo>
                  <a:lnTo>
                    <a:pt x="834" y="1270"/>
                  </a:lnTo>
                  <a:lnTo>
                    <a:pt x="848" y="1264"/>
                  </a:lnTo>
                  <a:lnTo>
                    <a:pt x="862" y="1254"/>
                  </a:lnTo>
                  <a:lnTo>
                    <a:pt x="868" y="1250"/>
                  </a:lnTo>
                  <a:lnTo>
                    <a:pt x="868" y="1246"/>
                  </a:lnTo>
                  <a:lnTo>
                    <a:pt x="864" y="1244"/>
                  </a:lnTo>
                  <a:lnTo>
                    <a:pt x="858" y="1244"/>
                  </a:lnTo>
                  <a:lnTo>
                    <a:pt x="862" y="1242"/>
                  </a:lnTo>
                  <a:lnTo>
                    <a:pt x="870" y="1238"/>
                  </a:lnTo>
                  <a:lnTo>
                    <a:pt x="874" y="1236"/>
                  </a:lnTo>
                  <a:lnTo>
                    <a:pt x="876" y="1234"/>
                  </a:lnTo>
                  <a:lnTo>
                    <a:pt x="880" y="1236"/>
                  </a:lnTo>
                  <a:lnTo>
                    <a:pt x="884" y="1236"/>
                  </a:lnTo>
                  <a:lnTo>
                    <a:pt x="884" y="1238"/>
                  </a:lnTo>
                  <a:lnTo>
                    <a:pt x="878" y="1240"/>
                  </a:lnTo>
                  <a:lnTo>
                    <a:pt x="874" y="1242"/>
                  </a:lnTo>
                  <a:lnTo>
                    <a:pt x="872" y="1244"/>
                  </a:lnTo>
                  <a:lnTo>
                    <a:pt x="874" y="1246"/>
                  </a:lnTo>
                  <a:lnTo>
                    <a:pt x="880" y="1248"/>
                  </a:lnTo>
                  <a:lnTo>
                    <a:pt x="884" y="1250"/>
                  </a:lnTo>
                  <a:lnTo>
                    <a:pt x="880" y="1254"/>
                  </a:lnTo>
                  <a:lnTo>
                    <a:pt x="860" y="1262"/>
                  </a:lnTo>
                  <a:lnTo>
                    <a:pt x="854" y="1266"/>
                  </a:lnTo>
                  <a:lnTo>
                    <a:pt x="858" y="1268"/>
                  </a:lnTo>
                  <a:lnTo>
                    <a:pt x="856" y="1268"/>
                  </a:lnTo>
                  <a:lnTo>
                    <a:pt x="856" y="1270"/>
                  </a:lnTo>
                  <a:lnTo>
                    <a:pt x="856" y="1272"/>
                  </a:lnTo>
                  <a:lnTo>
                    <a:pt x="858" y="1272"/>
                  </a:lnTo>
                  <a:lnTo>
                    <a:pt x="862" y="1274"/>
                  </a:lnTo>
                  <a:lnTo>
                    <a:pt x="860" y="1276"/>
                  </a:lnTo>
                  <a:lnTo>
                    <a:pt x="856" y="1276"/>
                  </a:lnTo>
                  <a:lnTo>
                    <a:pt x="852" y="1276"/>
                  </a:lnTo>
                  <a:lnTo>
                    <a:pt x="844" y="1276"/>
                  </a:lnTo>
                  <a:lnTo>
                    <a:pt x="836" y="1276"/>
                  </a:lnTo>
                  <a:lnTo>
                    <a:pt x="830" y="1276"/>
                  </a:lnTo>
                  <a:lnTo>
                    <a:pt x="826" y="1280"/>
                  </a:lnTo>
                  <a:lnTo>
                    <a:pt x="822" y="1282"/>
                  </a:lnTo>
                  <a:lnTo>
                    <a:pt x="822" y="1276"/>
                  </a:lnTo>
                  <a:lnTo>
                    <a:pt x="818" y="1268"/>
                  </a:lnTo>
                  <a:lnTo>
                    <a:pt x="814" y="1262"/>
                  </a:lnTo>
                  <a:lnTo>
                    <a:pt x="810" y="1262"/>
                  </a:lnTo>
                  <a:lnTo>
                    <a:pt x="806" y="1266"/>
                  </a:lnTo>
                  <a:lnTo>
                    <a:pt x="798" y="1268"/>
                  </a:lnTo>
                  <a:lnTo>
                    <a:pt x="796" y="1268"/>
                  </a:lnTo>
                  <a:lnTo>
                    <a:pt x="794" y="1270"/>
                  </a:lnTo>
                  <a:lnTo>
                    <a:pt x="792" y="1274"/>
                  </a:lnTo>
                  <a:lnTo>
                    <a:pt x="792" y="1276"/>
                  </a:lnTo>
                  <a:lnTo>
                    <a:pt x="790" y="1274"/>
                  </a:lnTo>
                  <a:lnTo>
                    <a:pt x="784" y="1274"/>
                  </a:lnTo>
                  <a:lnTo>
                    <a:pt x="778" y="1274"/>
                  </a:lnTo>
                  <a:lnTo>
                    <a:pt x="762" y="1280"/>
                  </a:lnTo>
                  <a:lnTo>
                    <a:pt x="760" y="1282"/>
                  </a:lnTo>
                  <a:lnTo>
                    <a:pt x="760" y="1284"/>
                  </a:lnTo>
                  <a:lnTo>
                    <a:pt x="766" y="1288"/>
                  </a:lnTo>
                  <a:lnTo>
                    <a:pt x="768" y="1290"/>
                  </a:lnTo>
                  <a:lnTo>
                    <a:pt x="768" y="1292"/>
                  </a:lnTo>
                  <a:lnTo>
                    <a:pt x="766" y="1294"/>
                  </a:lnTo>
                  <a:lnTo>
                    <a:pt x="760" y="1294"/>
                  </a:lnTo>
                  <a:lnTo>
                    <a:pt x="754" y="1296"/>
                  </a:lnTo>
                  <a:lnTo>
                    <a:pt x="752" y="1298"/>
                  </a:lnTo>
                  <a:lnTo>
                    <a:pt x="752" y="1300"/>
                  </a:lnTo>
                  <a:lnTo>
                    <a:pt x="756" y="1302"/>
                  </a:lnTo>
                  <a:lnTo>
                    <a:pt x="746" y="1300"/>
                  </a:lnTo>
                  <a:lnTo>
                    <a:pt x="738" y="1298"/>
                  </a:lnTo>
                  <a:lnTo>
                    <a:pt x="742" y="1300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0" y="1308"/>
                  </a:lnTo>
                  <a:lnTo>
                    <a:pt x="728" y="1308"/>
                  </a:lnTo>
                  <a:lnTo>
                    <a:pt x="716" y="1308"/>
                  </a:lnTo>
                  <a:lnTo>
                    <a:pt x="708" y="1306"/>
                  </a:lnTo>
                  <a:lnTo>
                    <a:pt x="704" y="1308"/>
                  </a:lnTo>
                  <a:lnTo>
                    <a:pt x="702" y="1310"/>
                  </a:lnTo>
                  <a:lnTo>
                    <a:pt x="702" y="1316"/>
                  </a:lnTo>
                  <a:lnTo>
                    <a:pt x="704" y="1318"/>
                  </a:lnTo>
                  <a:lnTo>
                    <a:pt x="708" y="1320"/>
                  </a:lnTo>
                  <a:lnTo>
                    <a:pt x="712" y="1320"/>
                  </a:lnTo>
                  <a:lnTo>
                    <a:pt x="718" y="1320"/>
                  </a:lnTo>
                  <a:lnTo>
                    <a:pt x="726" y="1318"/>
                  </a:lnTo>
                  <a:lnTo>
                    <a:pt x="724" y="1320"/>
                  </a:lnTo>
                  <a:lnTo>
                    <a:pt x="720" y="1324"/>
                  </a:lnTo>
                  <a:lnTo>
                    <a:pt x="720" y="1328"/>
                  </a:lnTo>
                  <a:lnTo>
                    <a:pt x="722" y="1332"/>
                  </a:lnTo>
                  <a:lnTo>
                    <a:pt x="724" y="1334"/>
                  </a:lnTo>
                  <a:lnTo>
                    <a:pt x="718" y="1332"/>
                  </a:lnTo>
                  <a:lnTo>
                    <a:pt x="704" y="1328"/>
                  </a:lnTo>
                  <a:lnTo>
                    <a:pt x="696" y="1328"/>
                  </a:lnTo>
                  <a:lnTo>
                    <a:pt x="686" y="1330"/>
                  </a:lnTo>
                  <a:lnTo>
                    <a:pt x="678" y="1334"/>
                  </a:lnTo>
                  <a:lnTo>
                    <a:pt x="676" y="1336"/>
                  </a:lnTo>
                  <a:lnTo>
                    <a:pt x="678" y="1336"/>
                  </a:lnTo>
                  <a:lnTo>
                    <a:pt x="682" y="1338"/>
                  </a:lnTo>
                  <a:lnTo>
                    <a:pt x="694" y="1340"/>
                  </a:lnTo>
                  <a:lnTo>
                    <a:pt x="698" y="1342"/>
                  </a:lnTo>
                  <a:lnTo>
                    <a:pt x="702" y="1344"/>
                  </a:lnTo>
                  <a:lnTo>
                    <a:pt x="704" y="1348"/>
                  </a:lnTo>
                  <a:lnTo>
                    <a:pt x="700" y="1346"/>
                  </a:lnTo>
                  <a:lnTo>
                    <a:pt x="696" y="1344"/>
                  </a:lnTo>
                  <a:lnTo>
                    <a:pt x="692" y="1344"/>
                  </a:lnTo>
                  <a:lnTo>
                    <a:pt x="684" y="1344"/>
                  </a:lnTo>
                  <a:lnTo>
                    <a:pt x="676" y="1346"/>
                  </a:lnTo>
                  <a:lnTo>
                    <a:pt x="668" y="1350"/>
                  </a:lnTo>
                  <a:lnTo>
                    <a:pt x="664" y="1354"/>
                  </a:lnTo>
                  <a:lnTo>
                    <a:pt x="662" y="1356"/>
                  </a:lnTo>
                  <a:lnTo>
                    <a:pt x="662" y="1358"/>
                  </a:lnTo>
                  <a:lnTo>
                    <a:pt x="664" y="1358"/>
                  </a:lnTo>
                  <a:lnTo>
                    <a:pt x="658" y="1358"/>
                  </a:lnTo>
                  <a:lnTo>
                    <a:pt x="654" y="1358"/>
                  </a:lnTo>
                  <a:lnTo>
                    <a:pt x="652" y="1358"/>
                  </a:lnTo>
                  <a:lnTo>
                    <a:pt x="652" y="1360"/>
                  </a:lnTo>
                  <a:lnTo>
                    <a:pt x="654" y="1362"/>
                  </a:lnTo>
                  <a:lnTo>
                    <a:pt x="652" y="1364"/>
                  </a:lnTo>
                  <a:lnTo>
                    <a:pt x="646" y="1362"/>
                  </a:lnTo>
                  <a:lnTo>
                    <a:pt x="628" y="1360"/>
                  </a:lnTo>
                  <a:lnTo>
                    <a:pt x="628" y="1362"/>
                  </a:lnTo>
                  <a:lnTo>
                    <a:pt x="632" y="1366"/>
                  </a:lnTo>
                  <a:lnTo>
                    <a:pt x="632" y="1368"/>
                  </a:lnTo>
                  <a:lnTo>
                    <a:pt x="626" y="1370"/>
                  </a:lnTo>
                  <a:lnTo>
                    <a:pt x="622" y="1370"/>
                  </a:lnTo>
                  <a:lnTo>
                    <a:pt x="624" y="1372"/>
                  </a:lnTo>
                  <a:lnTo>
                    <a:pt x="628" y="1374"/>
                  </a:lnTo>
                  <a:lnTo>
                    <a:pt x="632" y="1376"/>
                  </a:lnTo>
                  <a:lnTo>
                    <a:pt x="644" y="1376"/>
                  </a:lnTo>
                  <a:lnTo>
                    <a:pt x="660" y="1378"/>
                  </a:lnTo>
                  <a:lnTo>
                    <a:pt x="666" y="1378"/>
                  </a:lnTo>
                  <a:lnTo>
                    <a:pt x="674" y="1382"/>
                  </a:lnTo>
                  <a:lnTo>
                    <a:pt x="682" y="1386"/>
                  </a:lnTo>
                  <a:lnTo>
                    <a:pt x="680" y="1386"/>
                  </a:lnTo>
                  <a:lnTo>
                    <a:pt x="672" y="1384"/>
                  </a:lnTo>
                  <a:lnTo>
                    <a:pt x="668" y="1384"/>
                  </a:lnTo>
                  <a:lnTo>
                    <a:pt x="664" y="1386"/>
                  </a:lnTo>
                  <a:lnTo>
                    <a:pt x="662" y="1386"/>
                  </a:lnTo>
                  <a:lnTo>
                    <a:pt x="660" y="1386"/>
                  </a:lnTo>
                  <a:lnTo>
                    <a:pt x="654" y="1382"/>
                  </a:lnTo>
                  <a:lnTo>
                    <a:pt x="648" y="1380"/>
                  </a:lnTo>
                  <a:lnTo>
                    <a:pt x="644" y="1378"/>
                  </a:lnTo>
                  <a:lnTo>
                    <a:pt x="638" y="1380"/>
                  </a:lnTo>
                  <a:lnTo>
                    <a:pt x="630" y="1384"/>
                  </a:lnTo>
                  <a:lnTo>
                    <a:pt x="624" y="1390"/>
                  </a:lnTo>
                  <a:lnTo>
                    <a:pt x="622" y="1394"/>
                  </a:lnTo>
                  <a:lnTo>
                    <a:pt x="624" y="1396"/>
                  </a:lnTo>
                  <a:lnTo>
                    <a:pt x="626" y="1398"/>
                  </a:lnTo>
                  <a:lnTo>
                    <a:pt x="632" y="1404"/>
                  </a:lnTo>
                  <a:lnTo>
                    <a:pt x="628" y="1406"/>
                  </a:lnTo>
                  <a:lnTo>
                    <a:pt x="622" y="1410"/>
                  </a:lnTo>
                  <a:lnTo>
                    <a:pt x="622" y="1412"/>
                  </a:lnTo>
                  <a:lnTo>
                    <a:pt x="624" y="1412"/>
                  </a:lnTo>
                  <a:lnTo>
                    <a:pt x="628" y="1416"/>
                  </a:lnTo>
                  <a:lnTo>
                    <a:pt x="626" y="1418"/>
                  </a:lnTo>
                  <a:lnTo>
                    <a:pt x="626" y="1420"/>
                  </a:lnTo>
                  <a:lnTo>
                    <a:pt x="624" y="1424"/>
                  </a:lnTo>
                  <a:lnTo>
                    <a:pt x="626" y="1426"/>
                  </a:lnTo>
                  <a:lnTo>
                    <a:pt x="628" y="1428"/>
                  </a:lnTo>
                  <a:lnTo>
                    <a:pt x="632" y="1430"/>
                  </a:lnTo>
                  <a:lnTo>
                    <a:pt x="636" y="1430"/>
                  </a:lnTo>
                  <a:lnTo>
                    <a:pt x="642" y="1430"/>
                  </a:lnTo>
                  <a:lnTo>
                    <a:pt x="648" y="1428"/>
                  </a:lnTo>
                  <a:lnTo>
                    <a:pt x="654" y="1424"/>
                  </a:lnTo>
                  <a:lnTo>
                    <a:pt x="660" y="1424"/>
                  </a:lnTo>
                  <a:lnTo>
                    <a:pt x="670" y="1426"/>
                  </a:lnTo>
                  <a:lnTo>
                    <a:pt x="678" y="1428"/>
                  </a:lnTo>
                  <a:lnTo>
                    <a:pt x="680" y="1426"/>
                  </a:lnTo>
                  <a:lnTo>
                    <a:pt x="684" y="1422"/>
                  </a:lnTo>
                  <a:lnTo>
                    <a:pt x="686" y="1420"/>
                  </a:lnTo>
                  <a:lnTo>
                    <a:pt x="688" y="1418"/>
                  </a:lnTo>
                  <a:lnTo>
                    <a:pt x="692" y="1420"/>
                  </a:lnTo>
                  <a:lnTo>
                    <a:pt x="700" y="1424"/>
                  </a:lnTo>
                  <a:lnTo>
                    <a:pt x="704" y="1426"/>
                  </a:lnTo>
                  <a:lnTo>
                    <a:pt x="710" y="1426"/>
                  </a:lnTo>
                  <a:lnTo>
                    <a:pt x="720" y="1424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4" y="1426"/>
                  </a:lnTo>
                  <a:lnTo>
                    <a:pt x="716" y="1430"/>
                  </a:lnTo>
                  <a:lnTo>
                    <a:pt x="710" y="1432"/>
                  </a:lnTo>
                  <a:lnTo>
                    <a:pt x="708" y="1434"/>
                  </a:lnTo>
                  <a:lnTo>
                    <a:pt x="708" y="1436"/>
                  </a:lnTo>
                  <a:lnTo>
                    <a:pt x="708" y="1438"/>
                  </a:lnTo>
                  <a:lnTo>
                    <a:pt x="708" y="1440"/>
                  </a:lnTo>
                  <a:lnTo>
                    <a:pt x="700" y="1434"/>
                  </a:lnTo>
                  <a:lnTo>
                    <a:pt x="694" y="1428"/>
                  </a:lnTo>
                  <a:lnTo>
                    <a:pt x="690" y="1428"/>
                  </a:lnTo>
                  <a:lnTo>
                    <a:pt x="688" y="1428"/>
                  </a:lnTo>
                  <a:lnTo>
                    <a:pt x="686" y="1430"/>
                  </a:lnTo>
                  <a:lnTo>
                    <a:pt x="682" y="1434"/>
                  </a:lnTo>
                  <a:lnTo>
                    <a:pt x="680" y="1434"/>
                  </a:lnTo>
                  <a:lnTo>
                    <a:pt x="676" y="1432"/>
                  </a:lnTo>
                  <a:lnTo>
                    <a:pt x="672" y="1430"/>
                  </a:lnTo>
                  <a:lnTo>
                    <a:pt x="666" y="1430"/>
                  </a:lnTo>
                  <a:lnTo>
                    <a:pt x="656" y="1432"/>
                  </a:lnTo>
                  <a:lnTo>
                    <a:pt x="646" y="1436"/>
                  </a:lnTo>
                  <a:lnTo>
                    <a:pt x="640" y="1436"/>
                  </a:lnTo>
                  <a:lnTo>
                    <a:pt x="636" y="1436"/>
                  </a:lnTo>
                  <a:lnTo>
                    <a:pt x="626" y="1434"/>
                  </a:lnTo>
                  <a:lnTo>
                    <a:pt x="624" y="1436"/>
                  </a:lnTo>
                  <a:lnTo>
                    <a:pt x="626" y="1442"/>
                  </a:lnTo>
                  <a:lnTo>
                    <a:pt x="626" y="1446"/>
                  </a:lnTo>
                  <a:lnTo>
                    <a:pt x="626" y="1448"/>
                  </a:lnTo>
                  <a:lnTo>
                    <a:pt x="632" y="1448"/>
                  </a:lnTo>
                  <a:lnTo>
                    <a:pt x="636" y="1448"/>
                  </a:lnTo>
                  <a:lnTo>
                    <a:pt x="636" y="1450"/>
                  </a:lnTo>
                  <a:lnTo>
                    <a:pt x="638" y="1454"/>
                  </a:lnTo>
                  <a:lnTo>
                    <a:pt x="636" y="1456"/>
                  </a:lnTo>
                  <a:lnTo>
                    <a:pt x="630" y="1454"/>
                  </a:lnTo>
                  <a:lnTo>
                    <a:pt x="626" y="1454"/>
                  </a:lnTo>
                  <a:lnTo>
                    <a:pt x="624" y="1454"/>
                  </a:lnTo>
                  <a:lnTo>
                    <a:pt x="626" y="1458"/>
                  </a:lnTo>
                  <a:lnTo>
                    <a:pt x="628" y="1460"/>
                  </a:lnTo>
                  <a:lnTo>
                    <a:pt x="630" y="1462"/>
                  </a:lnTo>
                  <a:lnTo>
                    <a:pt x="634" y="1462"/>
                  </a:lnTo>
                  <a:lnTo>
                    <a:pt x="638" y="1462"/>
                  </a:lnTo>
                  <a:lnTo>
                    <a:pt x="640" y="1464"/>
                  </a:lnTo>
                  <a:lnTo>
                    <a:pt x="638" y="1468"/>
                  </a:lnTo>
                  <a:lnTo>
                    <a:pt x="638" y="1472"/>
                  </a:lnTo>
                  <a:lnTo>
                    <a:pt x="636" y="1476"/>
                  </a:lnTo>
                  <a:lnTo>
                    <a:pt x="630" y="1478"/>
                  </a:lnTo>
                  <a:lnTo>
                    <a:pt x="626" y="1480"/>
                  </a:lnTo>
                  <a:lnTo>
                    <a:pt x="626" y="1482"/>
                  </a:lnTo>
                  <a:lnTo>
                    <a:pt x="636" y="1490"/>
                  </a:lnTo>
                  <a:lnTo>
                    <a:pt x="638" y="1492"/>
                  </a:lnTo>
                  <a:lnTo>
                    <a:pt x="642" y="1490"/>
                  </a:lnTo>
                  <a:lnTo>
                    <a:pt x="646" y="1488"/>
                  </a:lnTo>
                  <a:lnTo>
                    <a:pt x="648" y="1490"/>
                  </a:lnTo>
                  <a:lnTo>
                    <a:pt x="650" y="1494"/>
                  </a:lnTo>
                  <a:lnTo>
                    <a:pt x="652" y="1492"/>
                  </a:lnTo>
                  <a:lnTo>
                    <a:pt x="654" y="1492"/>
                  </a:lnTo>
                  <a:lnTo>
                    <a:pt x="654" y="1496"/>
                  </a:lnTo>
                  <a:lnTo>
                    <a:pt x="654" y="1500"/>
                  </a:lnTo>
                  <a:lnTo>
                    <a:pt x="654" y="1502"/>
                  </a:lnTo>
                  <a:lnTo>
                    <a:pt x="656" y="1502"/>
                  </a:lnTo>
                  <a:lnTo>
                    <a:pt x="658" y="1502"/>
                  </a:lnTo>
                  <a:lnTo>
                    <a:pt x="658" y="1500"/>
                  </a:lnTo>
                  <a:lnTo>
                    <a:pt x="660" y="1494"/>
                  </a:lnTo>
                  <a:lnTo>
                    <a:pt x="662" y="1488"/>
                  </a:lnTo>
                  <a:lnTo>
                    <a:pt x="662" y="1486"/>
                  </a:lnTo>
                  <a:lnTo>
                    <a:pt x="666" y="1486"/>
                  </a:lnTo>
                  <a:lnTo>
                    <a:pt x="668" y="1486"/>
                  </a:lnTo>
                  <a:lnTo>
                    <a:pt x="670" y="1488"/>
                  </a:lnTo>
                  <a:lnTo>
                    <a:pt x="666" y="1496"/>
                  </a:lnTo>
                  <a:lnTo>
                    <a:pt x="660" y="1504"/>
                  </a:lnTo>
                  <a:lnTo>
                    <a:pt x="654" y="1508"/>
                  </a:lnTo>
                  <a:lnTo>
                    <a:pt x="652" y="1510"/>
                  </a:lnTo>
                  <a:lnTo>
                    <a:pt x="650" y="1512"/>
                  </a:lnTo>
                  <a:lnTo>
                    <a:pt x="654" y="1514"/>
                  </a:lnTo>
                  <a:lnTo>
                    <a:pt x="658" y="1518"/>
                  </a:lnTo>
                  <a:lnTo>
                    <a:pt x="658" y="1520"/>
                  </a:lnTo>
                  <a:lnTo>
                    <a:pt x="656" y="1522"/>
                  </a:lnTo>
                  <a:lnTo>
                    <a:pt x="650" y="1524"/>
                  </a:lnTo>
                  <a:lnTo>
                    <a:pt x="648" y="1522"/>
                  </a:lnTo>
                  <a:lnTo>
                    <a:pt x="644" y="1522"/>
                  </a:lnTo>
                  <a:lnTo>
                    <a:pt x="636" y="1526"/>
                  </a:lnTo>
                  <a:lnTo>
                    <a:pt x="632" y="1530"/>
                  </a:lnTo>
                  <a:lnTo>
                    <a:pt x="632" y="1536"/>
                  </a:lnTo>
                  <a:lnTo>
                    <a:pt x="632" y="1540"/>
                  </a:lnTo>
                  <a:lnTo>
                    <a:pt x="634" y="1544"/>
                  </a:lnTo>
                  <a:lnTo>
                    <a:pt x="640" y="1548"/>
                  </a:lnTo>
                  <a:lnTo>
                    <a:pt x="644" y="1548"/>
                  </a:lnTo>
                  <a:lnTo>
                    <a:pt x="646" y="1548"/>
                  </a:lnTo>
                  <a:lnTo>
                    <a:pt x="646" y="1546"/>
                  </a:lnTo>
                  <a:lnTo>
                    <a:pt x="648" y="1546"/>
                  </a:lnTo>
                  <a:lnTo>
                    <a:pt x="650" y="1546"/>
                  </a:lnTo>
                  <a:lnTo>
                    <a:pt x="654" y="1548"/>
                  </a:lnTo>
                  <a:lnTo>
                    <a:pt x="656" y="1544"/>
                  </a:lnTo>
                  <a:lnTo>
                    <a:pt x="658" y="1542"/>
                  </a:lnTo>
                  <a:lnTo>
                    <a:pt x="660" y="1540"/>
                  </a:lnTo>
                  <a:lnTo>
                    <a:pt x="664" y="1542"/>
                  </a:lnTo>
                  <a:lnTo>
                    <a:pt x="666" y="1544"/>
                  </a:lnTo>
                  <a:lnTo>
                    <a:pt x="664" y="1548"/>
                  </a:lnTo>
                  <a:lnTo>
                    <a:pt x="662" y="1548"/>
                  </a:lnTo>
                  <a:lnTo>
                    <a:pt x="660" y="1550"/>
                  </a:lnTo>
                  <a:lnTo>
                    <a:pt x="660" y="1552"/>
                  </a:lnTo>
                  <a:lnTo>
                    <a:pt x="662" y="1554"/>
                  </a:lnTo>
                  <a:lnTo>
                    <a:pt x="664" y="1556"/>
                  </a:lnTo>
                  <a:lnTo>
                    <a:pt x="662" y="1558"/>
                  </a:lnTo>
                  <a:lnTo>
                    <a:pt x="660" y="1560"/>
                  </a:lnTo>
                  <a:lnTo>
                    <a:pt x="660" y="1562"/>
                  </a:lnTo>
                  <a:lnTo>
                    <a:pt x="662" y="1564"/>
                  </a:lnTo>
                  <a:lnTo>
                    <a:pt x="662" y="1568"/>
                  </a:lnTo>
                  <a:lnTo>
                    <a:pt x="658" y="1570"/>
                  </a:lnTo>
                  <a:lnTo>
                    <a:pt x="654" y="1572"/>
                  </a:lnTo>
                  <a:lnTo>
                    <a:pt x="652" y="1570"/>
                  </a:lnTo>
                  <a:lnTo>
                    <a:pt x="648" y="1568"/>
                  </a:lnTo>
                  <a:lnTo>
                    <a:pt x="646" y="1566"/>
                  </a:lnTo>
                  <a:lnTo>
                    <a:pt x="644" y="1576"/>
                  </a:lnTo>
                  <a:lnTo>
                    <a:pt x="642" y="1586"/>
                  </a:lnTo>
                  <a:lnTo>
                    <a:pt x="646" y="1592"/>
                  </a:lnTo>
                  <a:lnTo>
                    <a:pt x="652" y="1598"/>
                  </a:lnTo>
                  <a:lnTo>
                    <a:pt x="658" y="1600"/>
                  </a:lnTo>
                  <a:lnTo>
                    <a:pt x="662" y="1600"/>
                  </a:lnTo>
                  <a:lnTo>
                    <a:pt x="664" y="1604"/>
                  </a:lnTo>
                  <a:lnTo>
                    <a:pt x="668" y="1608"/>
                  </a:lnTo>
                  <a:lnTo>
                    <a:pt x="674" y="1612"/>
                  </a:lnTo>
                  <a:lnTo>
                    <a:pt x="688" y="1616"/>
                  </a:lnTo>
                  <a:lnTo>
                    <a:pt x="690" y="1618"/>
                  </a:lnTo>
                  <a:lnTo>
                    <a:pt x="688" y="1620"/>
                  </a:lnTo>
                  <a:lnTo>
                    <a:pt x="688" y="1624"/>
                  </a:lnTo>
                  <a:lnTo>
                    <a:pt x="690" y="1626"/>
                  </a:lnTo>
                  <a:lnTo>
                    <a:pt x="692" y="1628"/>
                  </a:lnTo>
                  <a:lnTo>
                    <a:pt x="694" y="1628"/>
                  </a:lnTo>
                  <a:lnTo>
                    <a:pt x="696" y="1626"/>
                  </a:lnTo>
                  <a:lnTo>
                    <a:pt x="700" y="1626"/>
                  </a:lnTo>
                  <a:lnTo>
                    <a:pt x="704" y="1630"/>
                  </a:lnTo>
                  <a:lnTo>
                    <a:pt x="706" y="1632"/>
                  </a:lnTo>
                  <a:lnTo>
                    <a:pt x="710" y="1630"/>
                  </a:lnTo>
                  <a:lnTo>
                    <a:pt x="720" y="1628"/>
                  </a:lnTo>
                  <a:lnTo>
                    <a:pt x="734" y="1628"/>
                  </a:lnTo>
                  <a:lnTo>
                    <a:pt x="746" y="1626"/>
                  </a:lnTo>
                  <a:lnTo>
                    <a:pt x="752" y="1624"/>
                  </a:lnTo>
                  <a:lnTo>
                    <a:pt x="756" y="1620"/>
                  </a:lnTo>
                  <a:lnTo>
                    <a:pt x="760" y="1618"/>
                  </a:lnTo>
                  <a:lnTo>
                    <a:pt x="766" y="1614"/>
                  </a:lnTo>
                  <a:lnTo>
                    <a:pt x="774" y="1608"/>
                  </a:lnTo>
                  <a:lnTo>
                    <a:pt x="780" y="1600"/>
                  </a:lnTo>
                  <a:lnTo>
                    <a:pt x="782" y="1596"/>
                  </a:lnTo>
                  <a:lnTo>
                    <a:pt x="784" y="1594"/>
                  </a:lnTo>
                  <a:lnTo>
                    <a:pt x="790" y="1592"/>
                  </a:lnTo>
                  <a:lnTo>
                    <a:pt x="792" y="1592"/>
                  </a:lnTo>
                  <a:lnTo>
                    <a:pt x="794" y="1588"/>
                  </a:lnTo>
                  <a:lnTo>
                    <a:pt x="794" y="1586"/>
                  </a:lnTo>
                  <a:lnTo>
                    <a:pt x="796" y="1586"/>
                  </a:lnTo>
                  <a:lnTo>
                    <a:pt x="800" y="1584"/>
                  </a:lnTo>
                  <a:lnTo>
                    <a:pt x="804" y="1582"/>
                  </a:lnTo>
                  <a:lnTo>
                    <a:pt x="800" y="1578"/>
                  </a:lnTo>
                  <a:lnTo>
                    <a:pt x="798" y="1576"/>
                  </a:lnTo>
                  <a:lnTo>
                    <a:pt x="802" y="1574"/>
                  </a:lnTo>
                  <a:lnTo>
                    <a:pt x="810" y="1572"/>
                  </a:lnTo>
                  <a:lnTo>
                    <a:pt x="812" y="1570"/>
                  </a:lnTo>
                  <a:lnTo>
                    <a:pt x="812" y="1566"/>
                  </a:lnTo>
                  <a:lnTo>
                    <a:pt x="812" y="1562"/>
                  </a:lnTo>
                  <a:lnTo>
                    <a:pt x="816" y="1564"/>
                  </a:lnTo>
                  <a:lnTo>
                    <a:pt x="820" y="1568"/>
                  </a:lnTo>
                  <a:lnTo>
                    <a:pt x="822" y="1570"/>
                  </a:lnTo>
                  <a:lnTo>
                    <a:pt x="824" y="1568"/>
                  </a:lnTo>
                  <a:lnTo>
                    <a:pt x="828" y="1566"/>
                  </a:lnTo>
                  <a:lnTo>
                    <a:pt x="834" y="1566"/>
                  </a:lnTo>
                  <a:lnTo>
                    <a:pt x="838" y="1564"/>
                  </a:lnTo>
                  <a:lnTo>
                    <a:pt x="838" y="1558"/>
                  </a:lnTo>
                  <a:lnTo>
                    <a:pt x="838" y="1554"/>
                  </a:lnTo>
                  <a:lnTo>
                    <a:pt x="840" y="1552"/>
                  </a:lnTo>
                  <a:lnTo>
                    <a:pt x="844" y="1550"/>
                  </a:lnTo>
                  <a:lnTo>
                    <a:pt x="846" y="1548"/>
                  </a:lnTo>
                  <a:lnTo>
                    <a:pt x="842" y="1540"/>
                  </a:lnTo>
                  <a:lnTo>
                    <a:pt x="840" y="1536"/>
                  </a:lnTo>
                  <a:lnTo>
                    <a:pt x="838" y="1532"/>
                  </a:lnTo>
                  <a:lnTo>
                    <a:pt x="840" y="1528"/>
                  </a:lnTo>
                  <a:lnTo>
                    <a:pt x="844" y="1532"/>
                  </a:lnTo>
                  <a:lnTo>
                    <a:pt x="846" y="1534"/>
                  </a:lnTo>
                  <a:lnTo>
                    <a:pt x="848" y="1534"/>
                  </a:lnTo>
                  <a:lnTo>
                    <a:pt x="850" y="1530"/>
                  </a:lnTo>
                  <a:lnTo>
                    <a:pt x="850" y="1528"/>
                  </a:lnTo>
                  <a:lnTo>
                    <a:pt x="852" y="1530"/>
                  </a:lnTo>
                  <a:lnTo>
                    <a:pt x="852" y="1536"/>
                  </a:lnTo>
                  <a:lnTo>
                    <a:pt x="850" y="1538"/>
                  </a:lnTo>
                  <a:lnTo>
                    <a:pt x="850" y="1540"/>
                  </a:lnTo>
                  <a:lnTo>
                    <a:pt x="852" y="1542"/>
                  </a:lnTo>
                  <a:lnTo>
                    <a:pt x="854" y="1548"/>
                  </a:lnTo>
                  <a:lnTo>
                    <a:pt x="854" y="1552"/>
                  </a:lnTo>
                  <a:lnTo>
                    <a:pt x="856" y="1554"/>
                  </a:lnTo>
                  <a:lnTo>
                    <a:pt x="862" y="1556"/>
                  </a:lnTo>
                  <a:lnTo>
                    <a:pt x="866" y="1556"/>
                  </a:lnTo>
                  <a:lnTo>
                    <a:pt x="866" y="1558"/>
                  </a:lnTo>
                  <a:lnTo>
                    <a:pt x="868" y="1558"/>
                  </a:lnTo>
                  <a:lnTo>
                    <a:pt x="876" y="1560"/>
                  </a:lnTo>
                  <a:lnTo>
                    <a:pt x="874" y="1564"/>
                  </a:lnTo>
                  <a:lnTo>
                    <a:pt x="872" y="1566"/>
                  </a:lnTo>
                  <a:lnTo>
                    <a:pt x="872" y="1570"/>
                  </a:lnTo>
                  <a:lnTo>
                    <a:pt x="874" y="1576"/>
                  </a:lnTo>
                  <a:lnTo>
                    <a:pt x="876" y="1584"/>
                  </a:lnTo>
                  <a:lnTo>
                    <a:pt x="876" y="1594"/>
                  </a:lnTo>
                  <a:lnTo>
                    <a:pt x="876" y="1602"/>
                  </a:lnTo>
                  <a:lnTo>
                    <a:pt x="876" y="1608"/>
                  </a:lnTo>
                  <a:lnTo>
                    <a:pt x="878" y="1612"/>
                  </a:lnTo>
                  <a:lnTo>
                    <a:pt x="882" y="1616"/>
                  </a:lnTo>
                  <a:lnTo>
                    <a:pt x="886" y="1616"/>
                  </a:lnTo>
                  <a:lnTo>
                    <a:pt x="890" y="1614"/>
                  </a:lnTo>
                  <a:lnTo>
                    <a:pt x="896" y="1610"/>
                  </a:lnTo>
                  <a:lnTo>
                    <a:pt x="898" y="1612"/>
                  </a:lnTo>
                  <a:lnTo>
                    <a:pt x="900" y="1614"/>
                  </a:lnTo>
                  <a:lnTo>
                    <a:pt x="902" y="1618"/>
                  </a:lnTo>
                  <a:lnTo>
                    <a:pt x="902" y="1622"/>
                  </a:lnTo>
                  <a:lnTo>
                    <a:pt x="900" y="1628"/>
                  </a:lnTo>
                  <a:lnTo>
                    <a:pt x="896" y="1638"/>
                  </a:lnTo>
                  <a:lnTo>
                    <a:pt x="898" y="1644"/>
                  </a:lnTo>
                  <a:lnTo>
                    <a:pt x="900" y="1652"/>
                  </a:lnTo>
                  <a:lnTo>
                    <a:pt x="906" y="1672"/>
                  </a:lnTo>
                  <a:lnTo>
                    <a:pt x="916" y="1694"/>
                  </a:lnTo>
                  <a:lnTo>
                    <a:pt x="928" y="1710"/>
                  </a:lnTo>
                  <a:lnTo>
                    <a:pt x="932" y="1716"/>
                  </a:lnTo>
                  <a:lnTo>
                    <a:pt x="936" y="1716"/>
                  </a:lnTo>
                  <a:lnTo>
                    <a:pt x="942" y="1716"/>
                  </a:lnTo>
                  <a:lnTo>
                    <a:pt x="944" y="1718"/>
                  </a:lnTo>
                  <a:lnTo>
                    <a:pt x="944" y="1720"/>
                  </a:lnTo>
                  <a:lnTo>
                    <a:pt x="942" y="1726"/>
                  </a:lnTo>
                  <a:lnTo>
                    <a:pt x="934" y="1728"/>
                  </a:lnTo>
                  <a:lnTo>
                    <a:pt x="932" y="1730"/>
                  </a:lnTo>
                  <a:lnTo>
                    <a:pt x="934" y="1732"/>
                  </a:lnTo>
                  <a:lnTo>
                    <a:pt x="936" y="1738"/>
                  </a:lnTo>
                  <a:lnTo>
                    <a:pt x="938" y="1742"/>
                  </a:lnTo>
                  <a:lnTo>
                    <a:pt x="932" y="1740"/>
                  </a:lnTo>
                  <a:lnTo>
                    <a:pt x="926" y="1740"/>
                  </a:lnTo>
                  <a:lnTo>
                    <a:pt x="934" y="1752"/>
                  </a:lnTo>
                  <a:lnTo>
                    <a:pt x="940" y="1760"/>
                  </a:lnTo>
                  <a:lnTo>
                    <a:pt x="944" y="1768"/>
                  </a:lnTo>
                  <a:lnTo>
                    <a:pt x="946" y="1778"/>
                  </a:lnTo>
                  <a:lnTo>
                    <a:pt x="946" y="1782"/>
                  </a:lnTo>
                  <a:lnTo>
                    <a:pt x="944" y="1786"/>
                  </a:lnTo>
                  <a:lnTo>
                    <a:pt x="940" y="1792"/>
                  </a:lnTo>
                  <a:lnTo>
                    <a:pt x="942" y="1796"/>
                  </a:lnTo>
                  <a:lnTo>
                    <a:pt x="946" y="1798"/>
                  </a:lnTo>
                  <a:lnTo>
                    <a:pt x="954" y="1798"/>
                  </a:lnTo>
                  <a:lnTo>
                    <a:pt x="972" y="1796"/>
                  </a:lnTo>
                  <a:lnTo>
                    <a:pt x="982" y="1794"/>
                  </a:lnTo>
                  <a:lnTo>
                    <a:pt x="990" y="1794"/>
                  </a:lnTo>
                  <a:lnTo>
                    <a:pt x="996" y="1794"/>
                  </a:lnTo>
                  <a:lnTo>
                    <a:pt x="998" y="1788"/>
                  </a:lnTo>
                  <a:lnTo>
                    <a:pt x="1000" y="1774"/>
                  </a:lnTo>
                  <a:lnTo>
                    <a:pt x="1000" y="1768"/>
                  </a:lnTo>
                  <a:lnTo>
                    <a:pt x="1002" y="1760"/>
                  </a:lnTo>
                  <a:lnTo>
                    <a:pt x="1004" y="1756"/>
                  </a:lnTo>
                  <a:lnTo>
                    <a:pt x="1010" y="1756"/>
                  </a:lnTo>
                  <a:lnTo>
                    <a:pt x="1018" y="1756"/>
                  </a:lnTo>
                  <a:lnTo>
                    <a:pt x="1018" y="1754"/>
                  </a:lnTo>
                  <a:lnTo>
                    <a:pt x="1018" y="1752"/>
                  </a:lnTo>
                  <a:lnTo>
                    <a:pt x="1020" y="1750"/>
                  </a:lnTo>
                  <a:lnTo>
                    <a:pt x="1024" y="1748"/>
                  </a:lnTo>
                  <a:lnTo>
                    <a:pt x="1034" y="1746"/>
                  </a:lnTo>
                  <a:lnTo>
                    <a:pt x="1042" y="1746"/>
                  </a:lnTo>
                  <a:lnTo>
                    <a:pt x="1050" y="1746"/>
                  </a:lnTo>
                  <a:lnTo>
                    <a:pt x="1058" y="1750"/>
                  </a:lnTo>
                  <a:lnTo>
                    <a:pt x="1062" y="1750"/>
                  </a:lnTo>
                  <a:lnTo>
                    <a:pt x="1064" y="1750"/>
                  </a:lnTo>
                  <a:lnTo>
                    <a:pt x="1070" y="1736"/>
                  </a:lnTo>
                  <a:lnTo>
                    <a:pt x="1076" y="1720"/>
                  </a:lnTo>
                  <a:lnTo>
                    <a:pt x="1082" y="1708"/>
                  </a:lnTo>
                  <a:lnTo>
                    <a:pt x="1086" y="1700"/>
                  </a:lnTo>
                  <a:lnTo>
                    <a:pt x="1088" y="1692"/>
                  </a:lnTo>
                  <a:lnTo>
                    <a:pt x="1088" y="1684"/>
                  </a:lnTo>
                  <a:lnTo>
                    <a:pt x="1090" y="1676"/>
                  </a:lnTo>
                  <a:lnTo>
                    <a:pt x="1092" y="1666"/>
                  </a:lnTo>
                  <a:lnTo>
                    <a:pt x="1092" y="1658"/>
                  </a:lnTo>
                  <a:lnTo>
                    <a:pt x="1090" y="1654"/>
                  </a:lnTo>
                  <a:lnTo>
                    <a:pt x="1092" y="1650"/>
                  </a:lnTo>
                  <a:lnTo>
                    <a:pt x="1094" y="1644"/>
                  </a:lnTo>
                  <a:lnTo>
                    <a:pt x="1098" y="1638"/>
                  </a:lnTo>
                  <a:lnTo>
                    <a:pt x="1098" y="1634"/>
                  </a:lnTo>
                  <a:lnTo>
                    <a:pt x="1098" y="1632"/>
                  </a:lnTo>
                  <a:lnTo>
                    <a:pt x="1096" y="1626"/>
                  </a:lnTo>
                  <a:lnTo>
                    <a:pt x="1098" y="1622"/>
                  </a:lnTo>
                  <a:lnTo>
                    <a:pt x="1100" y="1618"/>
                  </a:lnTo>
                  <a:lnTo>
                    <a:pt x="1098" y="1610"/>
                  </a:lnTo>
                  <a:lnTo>
                    <a:pt x="1096" y="1606"/>
                  </a:lnTo>
                  <a:lnTo>
                    <a:pt x="1096" y="1604"/>
                  </a:lnTo>
                  <a:lnTo>
                    <a:pt x="1098" y="1604"/>
                  </a:lnTo>
                  <a:lnTo>
                    <a:pt x="1100" y="1602"/>
                  </a:lnTo>
                  <a:lnTo>
                    <a:pt x="1102" y="1600"/>
                  </a:lnTo>
                  <a:lnTo>
                    <a:pt x="1100" y="1598"/>
                  </a:lnTo>
                  <a:lnTo>
                    <a:pt x="1100" y="1596"/>
                  </a:lnTo>
                  <a:lnTo>
                    <a:pt x="1102" y="1592"/>
                  </a:lnTo>
                  <a:lnTo>
                    <a:pt x="1112" y="1588"/>
                  </a:lnTo>
                  <a:lnTo>
                    <a:pt x="1124" y="1582"/>
                  </a:lnTo>
                  <a:lnTo>
                    <a:pt x="1130" y="1578"/>
                  </a:lnTo>
                  <a:lnTo>
                    <a:pt x="1132" y="1574"/>
                  </a:lnTo>
                  <a:lnTo>
                    <a:pt x="1134" y="1570"/>
                  </a:lnTo>
                  <a:lnTo>
                    <a:pt x="1134" y="1568"/>
                  </a:lnTo>
                  <a:lnTo>
                    <a:pt x="1138" y="1572"/>
                  </a:lnTo>
                  <a:lnTo>
                    <a:pt x="1142" y="1576"/>
                  </a:lnTo>
                  <a:lnTo>
                    <a:pt x="1144" y="1574"/>
                  </a:lnTo>
                  <a:lnTo>
                    <a:pt x="1146" y="1572"/>
                  </a:lnTo>
                  <a:lnTo>
                    <a:pt x="1152" y="1566"/>
                  </a:lnTo>
                  <a:lnTo>
                    <a:pt x="1158" y="1562"/>
                  </a:lnTo>
                  <a:lnTo>
                    <a:pt x="1164" y="1560"/>
                  </a:lnTo>
                  <a:lnTo>
                    <a:pt x="1164" y="1558"/>
                  </a:lnTo>
                  <a:lnTo>
                    <a:pt x="1164" y="1556"/>
                  </a:lnTo>
                  <a:lnTo>
                    <a:pt x="1166" y="1554"/>
                  </a:lnTo>
                  <a:lnTo>
                    <a:pt x="1170" y="1552"/>
                  </a:lnTo>
                  <a:lnTo>
                    <a:pt x="1172" y="1550"/>
                  </a:lnTo>
                  <a:lnTo>
                    <a:pt x="1172" y="1548"/>
                  </a:lnTo>
                  <a:lnTo>
                    <a:pt x="1172" y="1546"/>
                  </a:lnTo>
                  <a:lnTo>
                    <a:pt x="1170" y="1542"/>
                  </a:lnTo>
                  <a:lnTo>
                    <a:pt x="1168" y="1540"/>
                  </a:lnTo>
                  <a:lnTo>
                    <a:pt x="1164" y="1540"/>
                  </a:lnTo>
                  <a:lnTo>
                    <a:pt x="1152" y="1546"/>
                  </a:lnTo>
                  <a:lnTo>
                    <a:pt x="1144" y="1550"/>
                  </a:lnTo>
                  <a:lnTo>
                    <a:pt x="1136" y="1550"/>
                  </a:lnTo>
                  <a:lnTo>
                    <a:pt x="1128" y="1550"/>
                  </a:lnTo>
                  <a:lnTo>
                    <a:pt x="1122" y="1546"/>
                  </a:lnTo>
                  <a:lnTo>
                    <a:pt x="1112" y="1540"/>
                  </a:lnTo>
                  <a:lnTo>
                    <a:pt x="1104" y="1538"/>
                  </a:lnTo>
                  <a:lnTo>
                    <a:pt x="1094" y="1538"/>
                  </a:lnTo>
                  <a:lnTo>
                    <a:pt x="1086" y="1538"/>
                  </a:lnTo>
                  <a:lnTo>
                    <a:pt x="1076" y="1538"/>
                  </a:lnTo>
                  <a:lnTo>
                    <a:pt x="1084" y="1534"/>
                  </a:lnTo>
                  <a:lnTo>
                    <a:pt x="1092" y="1530"/>
                  </a:lnTo>
                  <a:lnTo>
                    <a:pt x="1098" y="1530"/>
                  </a:lnTo>
                  <a:lnTo>
                    <a:pt x="1110" y="1530"/>
                  </a:lnTo>
                  <a:lnTo>
                    <a:pt x="1118" y="1534"/>
                  </a:lnTo>
                  <a:lnTo>
                    <a:pt x="1122" y="1534"/>
                  </a:lnTo>
                  <a:lnTo>
                    <a:pt x="1124" y="1532"/>
                  </a:lnTo>
                  <a:lnTo>
                    <a:pt x="1126" y="1532"/>
                  </a:lnTo>
                  <a:lnTo>
                    <a:pt x="1128" y="1532"/>
                  </a:lnTo>
                  <a:lnTo>
                    <a:pt x="1134" y="1538"/>
                  </a:lnTo>
                  <a:lnTo>
                    <a:pt x="1142" y="1544"/>
                  </a:lnTo>
                  <a:lnTo>
                    <a:pt x="1146" y="1544"/>
                  </a:lnTo>
                  <a:lnTo>
                    <a:pt x="1150" y="1542"/>
                  </a:lnTo>
                  <a:lnTo>
                    <a:pt x="1178" y="1528"/>
                  </a:lnTo>
                  <a:lnTo>
                    <a:pt x="1190" y="1518"/>
                  </a:lnTo>
                  <a:lnTo>
                    <a:pt x="1192" y="1516"/>
                  </a:lnTo>
                  <a:lnTo>
                    <a:pt x="1192" y="1512"/>
                  </a:lnTo>
                  <a:lnTo>
                    <a:pt x="1184" y="1500"/>
                  </a:lnTo>
                  <a:lnTo>
                    <a:pt x="1178" y="1496"/>
                  </a:lnTo>
                  <a:lnTo>
                    <a:pt x="1172" y="1496"/>
                  </a:lnTo>
                  <a:lnTo>
                    <a:pt x="1168" y="1496"/>
                  </a:lnTo>
                  <a:lnTo>
                    <a:pt x="1168" y="1494"/>
                  </a:lnTo>
                  <a:lnTo>
                    <a:pt x="1168" y="1490"/>
                  </a:lnTo>
                  <a:lnTo>
                    <a:pt x="1170" y="1484"/>
                  </a:lnTo>
                  <a:lnTo>
                    <a:pt x="1168" y="1482"/>
                  </a:lnTo>
                  <a:lnTo>
                    <a:pt x="1164" y="1480"/>
                  </a:lnTo>
                  <a:lnTo>
                    <a:pt x="1158" y="1476"/>
                  </a:lnTo>
                  <a:lnTo>
                    <a:pt x="1154" y="1472"/>
                  </a:lnTo>
                  <a:lnTo>
                    <a:pt x="1148" y="1468"/>
                  </a:lnTo>
                  <a:lnTo>
                    <a:pt x="1144" y="1466"/>
                  </a:lnTo>
                  <a:lnTo>
                    <a:pt x="1138" y="1468"/>
                  </a:lnTo>
                  <a:lnTo>
                    <a:pt x="1132" y="1468"/>
                  </a:lnTo>
                  <a:lnTo>
                    <a:pt x="1132" y="1466"/>
                  </a:lnTo>
                  <a:lnTo>
                    <a:pt x="1132" y="1462"/>
                  </a:lnTo>
                  <a:lnTo>
                    <a:pt x="1130" y="1462"/>
                  </a:lnTo>
                  <a:lnTo>
                    <a:pt x="1126" y="1460"/>
                  </a:lnTo>
                  <a:lnTo>
                    <a:pt x="1124" y="1460"/>
                  </a:lnTo>
                  <a:lnTo>
                    <a:pt x="1122" y="1458"/>
                  </a:lnTo>
                  <a:lnTo>
                    <a:pt x="1118" y="1450"/>
                  </a:lnTo>
                  <a:lnTo>
                    <a:pt x="1116" y="1440"/>
                  </a:lnTo>
                  <a:lnTo>
                    <a:pt x="1116" y="1428"/>
                  </a:lnTo>
                  <a:lnTo>
                    <a:pt x="1116" y="1416"/>
                  </a:lnTo>
                  <a:lnTo>
                    <a:pt x="1116" y="1406"/>
                  </a:lnTo>
                  <a:lnTo>
                    <a:pt x="1120" y="1398"/>
                  </a:lnTo>
                  <a:lnTo>
                    <a:pt x="1120" y="1396"/>
                  </a:lnTo>
                  <a:lnTo>
                    <a:pt x="1124" y="1396"/>
                  </a:lnTo>
                  <a:lnTo>
                    <a:pt x="1126" y="1394"/>
                  </a:lnTo>
                  <a:lnTo>
                    <a:pt x="1128" y="1392"/>
                  </a:lnTo>
                  <a:lnTo>
                    <a:pt x="1126" y="1386"/>
                  </a:lnTo>
                  <a:lnTo>
                    <a:pt x="1126" y="1374"/>
                  </a:lnTo>
                  <a:lnTo>
                    <a:pt x="1126" y="1368"/>
                  </a:lnTo>
                  <a:lnTo>
                    <a:pt x="1128" y="1360"/>
                  </a:lnTo>
                  <a:lnTo>
                    <a:pt x="1132" y="1356"/>
                  </a:lnTo>
                  <a:lnTo>
                    <a:pt x="1132" y="1352"/>
                  </a:lnTo>
                  <a:lnTo>
                    <a:pt x="1130" y="1352"/>
                  </a:lnTo>
                  <a:lnTo>
                    <a:pt x="1128" y="1350"/>
                  </a:lnTo>
                  <a:lnTo>
                    <a:pt x="1124" y="1350"/>
                  </a:lnTo>
                  <a:lnTo>
                    <a:pt x="1122" y="1348"/>
                  </a:lnTo>
                  <a:lnTo>
                    <a:pt x="1122" y="1342"/>
                  </a:lnTo>
                  <a:lnTo>
                    <a:pt x="1122" y="1336"/>
                  </a:lnTo>
                  <a:lnTo>
                    <a:pt x="1124" y="1338"/>
                  </a:lnTo>
                  <a:lnTo>
                    <a:pt x="1130" y="1340"/>
                  </a:lnTo>
                  <a:lnTo>
                    <a:pt x="1136" y="1340"/>
                  </a:lnTo>
                  <a:lnTo>
                    <a:pt x="1142" y="1338"/>
                  </a:lnTo>
                  <a:lnTo>
                    <a:pt x="1148" y="1334"/>
                  </a:lnTo>
                  <a:lnTo>
                    <a:pt x="1148" y="1332"/>
                  </a:lnTo>
                  <a:lnTo>
                    <a:pt x="1148" y="1330"/>
                  </a:lnTo>
                  <a:lnTo>
                    <a:pt x="1146" y="1326"/>
                  </a:lnTo>
                  <a:lnTo>
                    <a:pt x="1144" y="1324"/>
                  </a:lnTo>
                  <a:lnTo>
                    <a:pt x="1142" y="1322"/>
                  </a:lnTo>
                  <a:lnTo>
                    <a:pt x="1144" y="1322"/>
                  </a:lnTo>
                  <a:lnTo>
                    <a:pt x="1152" y="1320"/>
                  </a:lnTo>
                  <a:lnTo>
                    <a:pt x="1160" y="1318"/>
                  </a:lnTo>
                  <a:lnTo>
                    <a:pt x="1166" y="1312"/>
                  </a:lnTo>
                  <a:lnTo>
                    <a:pt x="1170" y="1308"/>
                  </a:lnTo>
                  <a:lnTo>
                    <a:pt x="1172" y="1302"/>
                  </a:lnTo>
                  <a:lnTo>
                    <a:pt x="1178" y="1294"/>
                  </a:lnTo>
                  <a:lnTo>
                    <a:pt x="1180" y="1292"/>
                  </a:lnTo>
                  <a:lnTo>
                    <a:pt x="1186" y="1292"/>
                  </a:lnTo>
                  <a:lnTo>
                    <a:pt x="1190" y="1294"/>
                  </a:lnTo>
                  <a:lnTo>
                    <a:pt x="1194" y="1292"/>
                  </a:lnTo>
                  <a:lnTo>
                    <a:pt x="1196" y="1286"/>
                  </a:lnTo>
                  <a:lnTo>
                    <a:pt x="1200" y="1278"/>
                  </a:lnTo>
                  <a:lnTo>
                    <a:pt x="1204" y="1274"/>
                  </a:lnTo>
                  <a:lnTo>
                    <a:pt x="1208" y="1274"/>
                  </a:lnTo>
                  <a:lnTo>
                    <a:pt x="1214" y="1274"/>
                  </a:lnTo>
                  <a:lnTo>
                    <a:pt x="1218" y="1274"/>
                  </a:lnTo>
                  <a:lnTo>
                    <a:pt x="1222" y="1268"/>
                  </a:lnTo>
                  <a:lnTo>
                    <a:pt x="1226" y="1264"/>
                  </a:lnTo>
                  <a:lnTo>
                    <a:pt x="1228" y="1264"/>
                  </a:lnTo>
                  <a:lnTo>
                    <a:pt x="1232" y="1264"/>
                  </a:lnTo>
                  <a:lnTo>
                    <a:pt x="1236" y="1264"/>
                  </a:lnTo>
                  <a:lnTo>
                    <a:pt x="1238" y="1264"/>
                  </a:lnTo>
                  <a:lnTo>
                    <a:pt x="1240" y="1260"/>
                  </a:lnTo>
                  <a:lnTo>
                    <a:pt x="1244" y="1254"/>
                  </a:lnTo>
                  <a:lnTo>
                    <a:pt x="1246" y="1254"/>
                  </a:lnTo>
                  <a:lnTo>
                    <a:pt x="1250" y="1254"/>
                  </a:lnTo>
                  <a:lnTo>
                    <a:pt x="1254" y="1252"/>
                  </a:lnTo>
                  <a:lnTo>
                    <a:pt x="1258" y="1250"/>
                  </a:lnTo>
                  <a:lnTo>
                    <a:pt x="1262" y="1240"/>
                  </a:lnTo>
                  <a:lnTo>
                    <a:pt x="1268" y="1226"/>
                  </a:lnTo>
                  <a:lnTo>
                    <a:pt x="1274" y="1220"/>
                  </a:lnTo>
                  <a:lnTo>
                    <a:pt x="1284" y="1214"/>
                  </a:lnTo>
                  <a:lnTo>
                    <a:pt x="1290" y="1208"/>
                  </a:lnTo>
                  <a:lnTo>
                    <a:pt x="1292" y="1206"/>
                  </a:lnTo>
                  <a:lnTo>
                    <a:pt x="1292" y="1204"/>
                  </a:lnTo>
                  <a:lnTo>
                    <a:pt x="1290" y="1202"/>
                  </a:lnTo>
                  <a:lnTo>
                    <a:pt x="1284" y="1198"/>
                  </a:lnTo>
                  <a:lnTo>
                    <a:pt x="1280" y="1194"/>
                  </a:lnTo>
                  <a:lnTo>
                    <a:pt x="1276" y="1190"/>
                  </a:lnTo>
                  <a:lnTo>
                    <a:pt x="1276" y="1184"/>
                  </a:lnTo>
                  <a:lnTo>
                    <a:pt x="1276" y="1180"/>
                  </a:lnTo>
                  <a:lnTo>
                    <a:pt x="1282" y="1174"/>
                  </a:lnTo>
                  <a:lnTo>
                    <a:pt x="1288" y="1168"/>
                  </a:lnTo>
                  <a:lnTo>
                    <a:pt x="1290" y="1164"/>
                  </a:lnTo>
                  <a:lnTo>
                    <a:pt x="1292" y="1156"/>
                  </a:lnTo>
                  <a:lnTo>
                    <a:pt x="1292" y="1150"/>
                  </a:lnTo>
                  <a:lnTo>
                    <a:pt x="1294" y="1146"/>
                  </a:lnTo>
                  <a:lnTo>
                    <a:pt x="1298" y="1144"/>
                  </a:lnTo>
                  <a:lnTo>
                    <a:pt x="1300" y="1144"/>
                  </a:lnTo>
                  <a:lnTo>
                    <a:pt x="1306" y="1142"/>
                  </a:lnTo>
                  <a:lnTo>
                    <a:pt x="1310" y="1140"/>
                  </a:lnTo>
                  <a:lnTo>
                    <a:pt x="1310" y="1138"/>
                  </a:lnTo>
                  <a:lnTo>
                    <a:pt x="1314" y="1132"/>
                  </a:lnTo>
                  <a:lnTo>
                    <a:pt x="1320" y="1126"/>
                  </a:lnTo>
                  <a:lnTo>
                    <a:pt x="1338" y="1114"/>
                  </a:lnTo>
                  <a:lnTo>
                    <a:pt x="1340" y="1112"/>
                  </a:lnTo>
                  <a:lnTo>
                    <a:pt x="1344" y="1112"/>
                  </a:lnTo>
                  <a:lnTo>
                    <a:pt x="1346" y="1116"/>
                  </a:lnTo>
                  <a:lnTo>
                    <a:pt x="1348" y="1118"/>
                  </a:lnTo>
                  <a:lnTo>
                    <a:pt x="1350" y="1120"/>
                  </a:lnTo>
                  <a:lnTo>
                    <a:pt x="1354" y="1120"/>
                  </a:lnTo>
                  <a:lnTo>
                    <a:pt x="1358" y="1118"/>
                  </a:lnTo>
                  <a:lnTo>
                    <a:pt x="1364" y="1116"/>
                  </a:lnTo>
                  <a:lnTo>
                    <a:pt x="1368" y="1116"/>
                  </a:lnTo>
                  <a:lnTo>
                    <a:pt x="1378" y="1116"/>
                  </a:lnTo>
                  <a:lnTo>
                    <a:pt x="1386" y="1116"/>
                  </a:lnTo>
                  <a:lnTo>
                    <a:pt x="1392" y="1116"/>
                  </a:lnTo>
                  <a:lnTo>
                    <a:pt x="1396" y="1114"/>
                  </a:lnTo>
                  <a:lnTo>
                    <a:pt x="1408" y="1116"/>
                  </a:lnTo>
                  <a:lnTo>
                    <a:pt x="1414" y="1120"/>
                  </a:lnTo>
                  <a:lnTo>
                    <a:pt x="1418" y="1124"/>
                  </a:lnTo>
                  <a:lnTo>
                    <a:pt x="1428" y="1126"/>
                  </a:lnTo>
                  <a:lnTo>
                    <a:pt x="1438" y="1130"/>
                  </a:lnTo>
                  <a:lnTo>
                    <a:pt x="1440" y="1134"/>
                  </a:lnTo>
                  <a:lnTo>
                    <a:pt x="1442" y="1136"/>
                  </a:lnTo>
                  <a:lnTo>
                    <a:pt x="1442" y="1144"/>
                  </a:lnTo>
                  <a:lnTo>
                    <a:pt x="1440" y="1154"/>
                  </a:lnTo>
                  <a:lnTo>
                    <a:pt x="1440" y="1162"/>
                  </a:lnTo>
                  <a:lnTo>
                    <a:pt x="1442" y="1166"/>
                  </a:lnTo>
                  <a:lnTo>
                    <a:pt x="1446" y="1168"/>
                  </a:lnTo>
                  <a:lnTo>
                    <a:pt x="1444" y="1174"/>
                  </a:lnTo>
                  <a:lnTo>
                    <a:pt x="1442" y="1176"/>
                  </a:lnTo>
                  <a:lnTo>
                    <a:pt x="1440" y="1176"/>
                  </a:lnTo>
                  <a:lnTo>
                    <a:pt x="1434" y="1176"/>
                  </a:lnTo>
                  <a:lnTo>
                    <a:pt x="1422" y="1178"/>
                  </a:lnTo>
                  <a:lnTo>
                    <a:pt x="1416" y="1180"/>
                  </a:lnTo>
                  <a:lnTo>
                    <a:pt x="1412" y="1184"/>
                  </a:lnTo>
                  <a:lnTo>
                    <a:pt x="1406" y="1196"/>
                  </a:lnTo>
                  <a:lnTo>
                    <a:pt x="1398" y="1208"/>
                  </a:lnTo>
                  <a:lnTo>
                    <a:pt x="1390" y="1216"/>
                  </a:lnTo>
                  <a:lnTo>
                    <a:pt x="1382" y="1222"/>
                  </a:lnTo>
                  <a:lnTo>
                    <a:pt x="1372" y="1228"/>
                  </a:lnTo>
                  <a:lnTo>
                    <a:pt x="1368" y="1232"/>
                  </a:lnTo>
                  <a:lnTo>
                    <a:pt x="1366" y="1236"/>
                  </a:lnTo>
                  <a:lnTo>
                    <a:pt x="1366" y="1238"/>
                  </a:lnTo>
                  <a:lnTo>
                    <a:pt x="1366" y="1242"/>
                  </a:lnTo>
                  <a:lnTo>
                    <a:pt x="1358" y="1244"/>
                  </a:lnTo>
                  <a:lnTo>
                    <a:pt x="1354" y="1246"/>
                  </a:lnTo>
                  <a:lnTo>
                    <a:pt x="1350" y="1248"/>
                  </a:lnTo>
                  <a:lnTo>
                    <a:pt x="1346" y="1254"/>
                  </a:lnTo>
                  <a:lnTo>
                    <a:pt x="1344" y="1258"/>
                  </a:lnTo>
                  <a:lnTo>
                    <a:pt x="1342" y="1260"/>
                  </a:lnTo>
                  <a:lnTo>
                    <a:pt x="1338" y="1260"/>
                  </a:lnTo>
                  <a:lnTo>
                    <a:pt x="1334" y="1260"/>
                  </a:lnTo>
                  <a:lnTo>
                    <a:pt x="1332" y="1260"/>
                  </a:lnTo>
                  <a:lnTo>
                    <a:pt x="1328" y="1264"/>
                  </a:lnTo>
                  <a:lnTo>
                    <a:pt x="1326" y="1268"/>
                  </a:lnTo>
                  <a:lnTo>
                    <a:pt x="1324" y="1270"/>
                  </a:lnTo>
                  <a:lnTo>
                    <a:pt x="1322" y="1270"/>
                  </a:lnTo>
                  <a:lnTo>
                    <a:pt x="1320" y="1272"/>
                  </a:lnTo>
                  <a:lnTo>
                    <a:pt x="1318" y="1272"/>
                  </a:lnTo>
                  <a:lnTo>
                    <a:pt x="1318" y="1278"/>
                  </a:lnTo>
                  <a:lnTo>
                    <a:pt x="1318" y="1286"/>
                  </a:lnTo>
                  <a:lnTo>
                    <a:pt x="1318" y="1288"/>
                  </a:lnTo>
                  <a:lnTo>
                    <a:pt x="1314" y="1292"/>
                  </a:lnTo>
                  <a:lnTo>
                    <a:pt x="1310" y="1294"/>
                  </a:lnTo>
                  <a:lnTo>
                    <a:pt x="1308" y="1294"/>
                  </a:lnTo>
                  <a:lnTo>
                    <a:pt x="1300" y="1292"/>
                  </a:lnTo>
                  <a:lnTo>
                    <a:pt x="1294" y="1290"/>
                  </a:lnTo>
                  <a:lnTo>
                    <a:pt x="1292" y="1292"/>
                  </a:lnTo>
                  <a:lnTo>
                    <a:pt x="1290" y="1296"/>
                  </a:lnTo>
                  <a:lnTo>
                    <a:pt x="1290" y="1300"/>
                  </a:lnTo>
                  <a:lnTo>
                    <a:pt x="1286" y="1304"/>
                  </a:lnTo>
                  <a:lnTo>
                    <a:pt x="1278" y="1314"/>
                  </a:lnTo>
                  <a:lnTo>
                    <a:pt x="1276" y="1322"/>
                  </a:lnTo>
                  <a:lnTo>
                    <a:pt x="1274" y="1328"/>
                  </a:lnTo>
                  <a:lnTo>
                    <a:pt x="1274" y="1338"/>
                  </a:lnTo>
                  <a:lnTo>
                    <a:pt x="1278" y="1346"/>
                  </a:lnTo>
                  <a:lnTo>
                    <a:pt x="1282" y="1354"/>
                  </a:lnTo>
                  <a:lnTo>
                    <a:pt x="1282" y="1360"/>
                  </a:lnTo>
                  <a:lnTo>
                    <a:pt x="1282" y="1364"/>
                  </a:lnTo>
                  <a:lnTo>
                    <a:pt x="1280" y="1366"/>
                  </a:lnTo>
                  <a:lnTo>
                    <a:pt x="1278" y="1368"/>
                  </a:lnTo>
                  <a:lnTo>
                    <a:pt x="1278" y="1372"/>
                  </a:lnTo>
                  <a:lnTo>
                    <a:pt x="1280" y="1378"/>
                  </a:lnTo>
                  <a:lnTo>
                    <a:pt x="1288" y="1388"/>
                  </a:lnTo>
                  <a:lnTo>
                    <a:pt x="1292" y="1394"/>
                  </a:lnTo>
                  <a:lnTo>
                    <a:pt x="1294" y="1396"/>
                  </a:lnTo>
                  <a:lnTo>
                    <a:pt x="1294" y="1398"/>
                  </a:lnTo>
                  <a:lnTo>
                    <a:pt x="1292" y="1400"/>
                  </a:lnTo>
                  <a:lnTo>
                    <a:pt x="1288" y="1402"/>
                  </a:lnTo>
                  <a:lnTo>
                    <a:pt x="1286" y="1404"/>
                  </a:lnTo>
                  <a:lnTo>
                    <a:pt x="1286" y="1406"/>
                  </a:lnTo>
                  <a:lnTo>
                    <a:pt x="1288" y="1416"/>
                  </a:lnTo>
                  <a:lnTo>
                    <a:pt x="1288" y="1424"/>
                  </a:lnTo>
                  <a:lnTo>
                    <a:pt x="1282" y="1444"/>
                  </a:lnTo>
                  <a:lnTo>
                    <a:pt x="1280" y="1456"/>
                  </a:lnTo>
                  <a:lnTo>
                    <a:pt x="1280" y="1462"/>
                  </a:lnTo>
                  <a:lnTo>
                    <a:pt x="1282" y="1464"/>
                  </a:lnTo>
                  <a:lnTo>
                    <a:pt x="1286" y="1466"/>
                  </a:lnTo>
                  <a:lnTo>
                    <a:pt x="1298" y="1470"/>
                  </a:lnTo>
                  <a:lnTo>
                    <a:pt x="1322" y="1476"/>
                  </a:lnTo>
                  <a:lnTo>
                    <a:pt x="1328" y="1478"/>
                  </a:lnTo>
                  <a:lnTo>
                    <a:pt x="1330" y="1480"/>
                  </a:lnTo>
                  <a:lnTo>
                    <a:pt x="1328" y="1484"/>
                  </a:lnTo>
                  <a:lnTo>
                    <a:pt x="1328" y="1492"/>
                  </a:lnTo>
                  <a:lnTo>
                    <a:pt x="1328" y="1500"/>
                  </a:lnTo>
                  <a:lnTo>
                    <a:pt x="1330" y="1504"/>
                  </a:lnTo>
                  <a:lnTo>
                    <a:pt x="1334" y="1504"/>
                  </a:lnTo>
                  <a:lnTo>
                    <a:pt x="1336" y="1504"/>
                  </a:lnTo>
                  <a:lnTo>
                    <a:pt x="1340" y="1500"/>
                  </a:lnTo>
                  <a:lnTo>
                    <a:pt x="1346" y="1494"/>
                  </a:lnTo>
                  <a:lnTo>
                    <a:pt x="1352" y="1494"/>
                  </a:lnTo>
                  <a:lnTo>
                    <a:pt x="1354" y="1496"/>
                  </a:lnTo>
                  <a:lnTo>
                    <a:pt x="1354" y="1498"/>
                  </a:lnTo>
                  <a:lnTo>
                    <a:pt x="1354" y="1500"/>
                  </a:lnTo>
                  <a:lnTo>
                    <a:pt x="1352" y="1506"/>
                  </a:lnTo>
                  <a:lnTo>
                    <a:pt x="1346" y="1512"/>
                  </a:lnTo>
                  <a:lnTo>
                    <a:pt x="1346" y="1516"/>
                  </a:lnTo>
                  <a:lnTo>
                    <a:pt x="1352" y="1514"/>
                  </a:lnTo>
                  <a:lnTo>
                    <a:pt x="1366" y="1508"/>
                  </a:lnTo>
                  <a:lnTo>
                    <a:pt x="1376" y="1504"/>
                  </a:lnTo>
                  <a:lnTo>
                    <a:pt x="1390" y="1504"/>
                  </a:lnTo>
                  <a:lnTo>
                    <a:pt x="1408" y="1500"/>
                  </a:lnTo>
                  <a:lnTo>
                    <a:pt x="1436" y="1488"/>
                  </a:lnTo>
                  <a:lnTo>
                    <a:pt x="1448" y="1484"/>
                  </a:lnTo>
                  <a:lnTo>
                    <a:pt x="1454" y="1484"/>
                  </a:lnTo>
                  <a:lnTo>
                    <a:pt x="1458" y="1484"/>
                  </a:lnTo>
                  <a:lnTo>
                    <a:pt x="1462" y="1484"/>
                  </a:lnTo>
                  <a:lnTo>
                    <a:pt x="1466" y="1486"/>
                  </a:lnTo>
                  <a:lnTo>
                    <a:pt x="1470" y="1482"/>
                  </a:lnTo>
                  <a:lnTo>
                    <a:pt x="1476" y="1476"/>
                  </a:lnTo>
                  <a:lnTo>
                    <a:pt x="1478" y="1476"/>
                  </a:lnTo>
                  <a:lnTo>
                    <a:pt x="1484" y="1478"/>
                  </a:lnTo>
                  <a:lnTo>
                    <a:pt x="1490" y="1476"/>
                  </a:lnTo>
                  <a:lnTo>
                    <a:pt x="1498" y="1474"/>
                  </a:lnTo>
                  <a:lnTo>
                    <a:pt x="1506" y="1472"/>
                  </a:lnTo>
                  <a:lnTo>
                    <a:pt x="1512" y="1470"/>
                  </a:lnTo>
                  <a:lnTo>
                    <a:pt x="1522" y="1470"/>
                  </a:lnTo>
                  <a:lnTo>
                    <a:pt x="1532" y="1470"/>
                  </a:lnTo>
                  <a:lnTo>
                    <a:pt x="1538" y="1470"/>
                  </a:lnTo>
                  <a:lnTo>
                    <a:pt x="1546" y="1466"/>
                  </a:lnTo>
                  <a:lnTo>
                    <a:pt x="1550" y="1468"/>
                  </a:lnTo>
                  <a:lnTo>
                    <a:pt x="1556" y="1468"/>
                  </a:lnTo>
                  <a:lnTo>
                    <a:pt x="1566" y="1462"/>
                  </a:lnTo>
                  <a:lnTo>
                    <a:pt x="1574" y="1456"/>
                  </a:lnTo>
                  <a:lnTo>
                    <a:pt x="1578" y="1454"/>
                  </a:lnTo>
                  <a:lnTo>
                    <a:pt x="1580" y="1456"/>
                  </a:lnTo>
                  <a:lnTo>
                    <a:pt x="1582" y="1458"/>
                  </a:lnTo>
                  <a:lnTo>
                    <a:pt x="1578" y="1458"/>
                  </a:lnTo>
                  <a:lnTo>
                    <a:pt x="1576" y="1462"/>
                  </a:lnTo>
                  <a:lnTo>
                    <a:pt x="1578" y="1466"/>
                  </a:lnTo>
                  <a:lnTo>
                    <a:pt x="1580" y="1470"/>
                  </a:lnTo>
                  <a:lnTo>
                    <a:pt x="1578" y="1472"/>
                  </a:lnTo>
                  <a:lnTo>
                    <a:pt x="1572" y="1470"/>
                  </a:lnTo>
                  <a:lnTo>
                    <a:pt x="1568" y="1468"/>
                  </a:lnTo>
                  <a:lnTo>
                    <a:pt x="1572" y="1474"/>
                  </a:lnTo>
                  <a:lnTo>
                    <a:pt x="1578" y="1480"/>
                  </a:lnTo>
                  <a:lnTo>
                    <a:pt x="1582" y="1480"/>
                  </a:lnTo>
                  <a:lnTo>
                    <a:pt x="1584" y="1482"/>
                  </a:lnTo>
                  <a:lnTo>
                    <a:pt x="1588" y="1486"/>
                  </a:lnTo>
                  <a:lnTo>
                    <a:pt x="1592" y="1490"/>
                  </a:lnTo>
                  <a:lnTo>
                    <a:pt x="1596" y="1490"/>
                  </a:lnTo>
                  <a:lnTo>
                    <a:pt x="1608" y="1490"/>
                  </a:lnTo>
                  <a:lnTo>
                    <a:pt x="1618" y="1490"/>
                  </a:lnTo>
                  <a:lnTo>
                    <a:pt x="1622" y="1492"/>
                  </a:lnTo>
                  <a:lnTo>
                    <a:pt x="1626" y="1494"/>
                  </a:lnTo>
                  <a:lnTo>
                    <a:pt x="1628" y="1498"/>
                  </a:lnTo>
                  <a:lnTo>
                    <a:pt x="1632" y="1500"/>
                  </a:lnTo>
                  <a:lnTo>
                    <a:pt x="1638" y="1502"/>
                  </a:lnTo>
                  <a:lnTo>
                    <a:pt x="1642" y="1504"/>
                  </a:lnTo>
                  <a:lnTo>
                    <a:pt x="1642" y="1508"/>
                  </a:lnTo>
                  <a:lnTo>
                    <a:pt x="1638" y="1510"/>
                  </a:lnTo>
                  <a:lnTo>
                    <a:pt x="1634" y="1510"/>
                  </a:lnTo>
                  <a:lnTo>
                    <a:pt x="1610" y="1504"/>
                  </a:lnTo>
                  <a:lnTo>
                    <a:pt x="1602" y="1502"/>
                  </a:lnTo>
                  <a:lnTo>
                    <a:pt x="1596" y="1504"/>
                  </a:lnTo>
                  <a:lnTo>
                    <a:pt x="1594" y="1506"/>
                  </a:lnTo>
                  <a:lnTo>
                    <a:pt x="1592" y="1510"/>
                  </a:lnTo>
                  <a:lnTo>
                    <a:pt x="1590" y="1512"/>
                  </a:lnTo>
                  <a:lnTo>
                    <a:pt x="1588" y="1516"/>
                  </a:lnTo>
                  <a:lnTo>
                    <a:pt x="1584" y="1516"/>
                  </a:lnTo>
                  <a:lnTo>
                    <a:pt x="1578" y="1514"/>
                  </a:lnTo>
                  <a:lnTo>
                    <a:pt x="1574" y="1512"/>
                  </a:lnTo>
                  <a:lnTo>
                    <a:pt x="1570" y="1514"/>
                  </a:lnTo>
                  <a:lnTo>
                    <a:pt x="1568" y="1516"/>
                  </a:lnTo>
                  <a:lnTo>
                    <a:pt x="1568" y="1518"/>
                  </a:lnTo>
                  <a:lnTo>
                    <a:pt x="1568" y="1522"/>
                  </a:lnTo>
                  <a:lnTo>
                    <a:pt x="1568" y="1524"/>
                  </a:lnTo>
                  <a:lnTo>
                    <a:pt x="1564" y="1524"/>
                  </a:lnTo>
                  <a:lnTo>
                    <a:pt x="1560" y="1520"/>
                  </a:lnTo>
                  <a:lnTo>
                    <a:pt x="1556" y="1518"/>
                  </a:lnTo>
                  <a:lnTo>
                    <a:pt x="1552" y="1516"/>
                  </a:lnTo>
                  <a:lnTo>
                    <a:pt x="1552" y="1518"/>
                  </a:lnTo>
                  <a:lnTo>
                    <a:pt x="1552" y="1520"/>
                  </a:lnTo>
                  <a:lnTo>
                    <a:pt x="1554" y="1530"/>
                  </a:lnTo>
                  <a:lnTo>
                    <a:pt x="1554" y="1534"/>
                  </a:lnTo>
                  <a:lnTo>
                    <a:pt x="1552" y="1536"/>
                  </a:lnTo>
                  <a:lnTo>
                    <a:pt x="1540" y="1540"/>
                  </a:lnTo>
                  <a:lnTo>
                    <a:pt x="1530" y="1542"/>
                  </a:lnTo>
                  <a:lnTo>
                    <a:pt x="1518" y="1540"/>
                  </a:lnTo>
                  <a:lnTo>
                    <a:pt x="1508" y="1536"/>
                  </a:lnTo>
                  <a:lnTo>
                    <a:pt x="1498" y="1532"/>
                  </a:lnTo>
                  <a:lnTo>
                    <a:pt x="1488" y="1530"/>
                  </a:lnTo>
                  <a:lnTo>
                    <a:pt x="1476" y="1528"/>
                  </a:lnTo>
                  <a:lnTo>
                    <a:pt x="1460" y="1526"/>
                  </a:lnTo>
                  <a:lnTo>
                    <a:pt x="1454" y="1524"/>
                  </a:lnTo>
                  <a:lnTo>
                    <a:pt x="1450" y="1524"/>
                  </a:lnTo>
                  <a:lnTo>
                    <a:pt x="1448" y="1526"/>
                  </a:lnTo>
                  <a:lnTo>
                    <a:pt x="1448" y="1528"/>
                  </a:lnTo>
                  <a:lnTo>
                    <a:pt x="1446" y="1532"/>
                  </a:lnTo>
                  <a:lnTo>
                    <a:pt x="1442" y="1534"/>
                  </a:lnTo>
                  <a:lnTo>
                    <a:pt x="1436" y="1534"/>
                  </a:lnTo>
                  <a:lnTo>
                    <a:pt x="1422" y="1534"/>
                  </a:lnTo>
                  <a:lnTo>
                    <a:pt x="1408" y="1534"/>
                  </a:lnTo>
                  <a:lnTo>
                    <a:pt x="1398" y="1538"/>
                  </a:lnTo>
                  <a:lnTo>
                    <a:pt x="1394" y="1542"/>
                  </a:lnTo>
                  <a:lnTo>
                    <a:pt x="1392" y="1544"/>
                  </a:lnTo>
                  <a:lnTo>
                    <a:pt x="1390" y="1548"/>
                  </a:lnTo>
                  <a:lnTo>
                    <a:pt x="1388" y="1550"/>
                  </a:lnTo>
                  <a:lnTo>
                    <a:pt x="1380" y="1552"/>
                  </a:lnTo>
                  <a:lnTo>
                    <a:pt x="1374" y="1554"/>
                  </a:lnTo>
                  <a:lnTo>
                    <a:pt x="1372" y="1558"/>
                  </a:lnTo>
                  <a:lnTo>
                    <a:pt x="1370" y="1562"/>
                  </a:lnTo>
                  <a:lnTo>
                    <a:pt x="1368" y="1572"/>
                  </a:lnTo>
                  <a:lnTo>
                    <a:pt x="1368" y="1580"/>
                  </a:lnTo>
                  <a:lnTo>
                    <a:pt x="1370" y="1588"/>
                  </a:lnTo>
                  <a:lnTo>
                    <a:pt x="1372" y="1594"/>
                  </a:lnTo>
                  <a:lnTo>
                    <a:pt x="1378" y="1604"/>
                  </a:lnTo>
                  <a:lnTo>
                    <a:pt x="1382" y="1610"/>
                  </a:lnTo>
                  <a:lnTo>
                    <a:pt x="1386" y="1614"/>
                  </a:lnTo>
                  <a:lnTo>
                    <a:pt x="1390" y="1614"/>
                  </a:lnTo>
                  <a:lnTo>
                    <a:pt x="1396" y="1614"/>
                  </a:lnTo>
                  <a:lnTo>
                    <a:pt x="1402" y="1610"/>
                  </a:lnTo>
                  <a:lnTo>
                    <a:pt x="1410" y="1606"/>
                  </a:lnTo>
                  <a:lnTo>
                    <a:pt x="1410" y="1608"/>
                  </a:lnTo>
                  <a:lnTo>
                    <a:pt x="1410" y="1610"/>
                  </a:lnTo>
                  <a:lnTo>
                    <a:pt x="1402" y="1640"/>
                  </a:lnTo>
                  <a:lnTo>
                    <a:pt x="1402" y="1646"/>
                  </a:lnTo>
                  <a:lnTo>
                    <a:pt x="1404" y="1654"/>
                  </a:lnTo>
                  <a:lnTo>
                    <a:pt x="1406" y="1668"/>
                  </a:lnTo>
                  <a:lnTo>
                    <a:pt x="1408" y="1676"/>
                  </a:lnTo>
                  <a:lnTo>
                    <a:pt x="1406" y="1682"/>
                  </a:lnTo>
                  <a:lnTo>
                    <a:pt x="1402" y="1686"/>
                  </a:lnTo>
                  <a:lnTo>
                    <a:pt x="1392" y="1692"/>
                  </a:lnTo>
                  <a:lnTo>
                    <a:pt x="1380" y="1694"/>
                  </a:lnTo>
                  <a:lnTo>
                    <a:pt x="1370" y="1694"/>
                  </a:lnTo>
                  <a:lnTo>
                    <a:pt x="1364" y="1690"/>
                  </a:lnTo>
                  <a:lnTo>
                    <a:pt x="1360" y="1684"/>
                  </a:lnTo>
                  <a:lnTo>
                    <a:pt x="1354" y="1672"/>
                  </a:lnTo>
                  <a:lnTo>
                    <a:pt x="1348" y="1666"/>
                  </a:lnTo>
                  <a:lnTo>
                    <a:pt x="1342" y="1662"/>
                  </a:lnTo>
                  <a:lnTo>
                    <a:pt x="1336" y="1660"/>
                  </a:lnTo>
                  <a:lnTo>
                    <a:pt x="1334" y="1656"/>
                  </a:lnTo>
                  <a:lnTo>
                    <a:pt x="1332" y="1652"/>
                  </a:lnTo>
                  <a:lnTo>
                    <a:pt x="1332" y="1650"/>
                  </a:lnTo>
                  <a:lnTo>
                    <a:pt x="1332" y="1648"/>
                  </a:lnTo>
                  <a:lnTo>
                    <a:pt x="1324" y="1648"/>
                  </a:lnTo>
                  <a:lnTo>
                    <a:pt x="1302" y="1656"/>
                  </a:lnTo>
                  <a:lnTo>
                    <a:pt x="1294" y="1660"/>
                  </a:lnTo>
                  <a:lnTo>
                    <a:pt x="1292" y="1664"/>
                  </a:lnTo>
                  <a:lnTo>
                    <a:pt x="1286" y="1674"/>
                  </a:lnTo>
                  <a:lnTo>
                    <a:pt x="1284" y="1678"/>
                  </a:lnTo>
                  <a:lnTo>
                    <a:pt x="1286" y="1684"/>
                  </a:lnTo>
                  <a:lnTo>
                    <a:pt x="1286" y="1688"/>
                  </a:lnTo>
                  <a:lnTo>
                    <a:pt x="1286" y="1690"/>
                  </a:lnTo>
                  <a:lnTo>
                    <a:pt x="1280" y="1694"/>
                  </a:lnTo>
                  <a:lnTo>
                    <a:pt x="1274" y="1700"/>
                  </a:lnTo>
                  <a:lnTo>
                    <a:pt x="1272" y="1704"/>
                  </a:lnTo>
                  <a:lnTo>
                    <a:pt x="1270" y="1710"/>
                  </a:lnTo>
                  <a:lnTo>
                    <a:pt x="1266" y="1720"/>
                  </a:lnTo>
                  <a:lnTo>
                    <a:pt x="1266" y="1732"/>
                  </a:lnTo>
                  <a:lnTo>
                    <a:pt x="1268" y="1752"/>
                  </a:lnTo>
                  <a:lnTo>
                    <a:pt x="1268" y="1766"/>
                  </a:lnTo>
                  <a:lnTo>
                    <a:pt x="1270" y="1772"/>
                  </a:lnTo>
                  <a:lnTo>
                    <a:pt x="1274" y="1776"/>
                  </a:lnTo>
                  <a:lnTo>
                    <a:pt x="1278" y="1782"/>
                  </a:lnTo>
                  <a:lnTo>
                    <a:pt x="1280" y="1790"/>
                  </a:lnTo>
                  <a:lnTo>
                    <a:pt x="1280" y="1804"/>
                  </a:lnTo>
                  <a:lnTo>
                    <a:pt x="1278" y="1806"/>
                  </a:lnTo>
                  <a:lnTo>
                    <a:pt x="1276" y="1808"/>
                  </a:lnTo>
                  <a:lnTo>
                    <a:pt x="1276" y="1816"/>
                  </a:lnTo>
                  <a:lnTo>
                    <a:pt x="1278" y="1818"/>
                  </a:lnTo>
                  <a:lnTo>
                    <a:pt x="1276" y="1822"/>
                  </a:lnTo>
                  <a:lnTo>
                    <a:pt x="1270" y="1824"/>
                  </a:lnTo>
                  <a:lnTo>
                    <a:pt x="1264" y="1826"/>
                  </a:lnTo>
                  <a:lnTo>
                    <a:pt x="1258" y="1824"/>
                  </a:lnTo>
                  <a:lnTo>
                    <a:pt x="1256" y="1824"/>
                  </a:lnTo>
                  <a:lnTo>
                    <a:pt x="1256" y="1822"/>
                  </a:lnTo>
                  <a:lnTo>
                    <a:pt x="1258" y="1816"/>
                  </a:lnTo>
                  <a:lnTo>
                    <a:pt x="1268" y="1804"/>
                  </a:lnTo>
                  <a:lnTo>
                    <a:pt x="1270" y="1800"/>
                  </a:lnTo>
                  <a:lnTo>
                    <a:pt x="1268" y="1800"/>
                  </a:lnTo>
                  <a:lnTo>
                    <a:pt x="1256" y="1814"/>
                  </a:lnTo>
                  <a:lnTo>
                    <a:pt x="1248" y="1820"/>
                  </a:lnTo>
                  <a:lnTo>
                    <a:pt x="1246" y="1822"/>
                  </a:lnTo>
                  <a:lnTo>
                    <a:pt x="1240" y="1820"/>
                  </a:lnTo>
                  <a:lnTo>
                    <a:pt x="1232" y="1820"/>
                  </a:lnTo>
                  <a:lnTo>
                    <a:pt x="1226" y="1822"/>
                  </a:lnTo>
                  <a:lnTo>
                    <a:pt x="1224" y="1824"/>
                  </a:lnTo>
                  <a:lnTo>
                    <a:pt x="1224" y="1830"/>
                  </a:lnTo>
                  <a:lnTo>
                    <a:pt x="1224" y="1836"/>
                  </a:lnTo>
                  <a:lnTo>
                    <a:pt x="1224" y="1840"/>
                  </a:lnTo>
                  <a:lnTo>
                    <a:pt x="1220" y="1846"/>
                  </a:lnTo>
                  <a:lnTo>
                    <a:pt x="1214" y="1852"/>
                  </a:lnTo>
                  <a:lnTo>
                    <a:pt x="1202" y="1858"/>
                  </a:lnTo>
                  <a:lnTo>
                    <a:pt x="1188" y="1860"/>
                  </a:lnTo>
                  <a:lnTo>
                    <a:pt x="1182" y="1858"/>
                  </a:lnTo>
                  <a:lnTo>
                    <a:pt x="1176" y="1856"/>
                  </a:lnTo>
                  <a:lnTo>
                    <a:pt x="1172" y="1854"/>
                  </a:lnTo>
                  <a:lnTo>
                    <a:pt x="1170" y="1848"/>
                  </a:lnTo>
                  <a:lnTo>
                    <a:pt x="1166" y="1836"/>
                  </a:lnTo>
                  <a:lnTo>
                    <a:pt x="1172" y="1840"/>
                  </a:lnTo>
                  <a:lnTo>
                    <a:pt x="1180" y="1844"/>
                  </a:lnTo>
                  <a:lnTo>
                    <a:pt x="1184" y="1844"/>
                  </a:lnTo>
                  <a:lnTo>
                    <a:pt x="1184" y="1842"/>
                  </a:lnTo>
                  <a:lnTo>
                    <a:pt x="1180" y="1840"/>
                  </a:lnTo>
                  <a:lnTo>
                    <a:pt x="1168" y="1832"/>
                  </a:lnTo>
                  <a:lnTo>
                    <a:pt x="1160" y="1828"/>
                  </a:lnTo>
                  <a:lnTo>
                    <a:pt x="1152" y="1828"/>
                  </a:lnTo>
                  <a:lnTo>
                    <a:pt x="1136" y="1832"/>
                  </a:lnTo>
                  <a:lnTo>
                    <a:pt x="1118" y="1836"/>
                  </a:lnTo>
                  <a:lnTo>
                    <a:pt x="1112" y="1838"/>
                  </a:lnTo>
                  <a:lnTo>
                    <a:pt x="1110" y="1840"/>
                  </a:lnTo>
                  <a:lnTo>
                    <a:pt x="1098" y="1844"/>
                  </a:lnTo>
                  <a:lnTo>
                    <a:pt x="1090" y="1848"/>
                  </a:lnTo>
                  <a:lnTo>
                    <a:pt x="1086" y="1850"/>
                  </a:lnTo>
                  <a:lnTo>
                    <a:pt x="1082" y="1856"/>
                  </a:lnTo>
                  <a:lnTo>
                    <a:pt x="1080" y="1858"/>
                  </a:lnTo>
                  <a:lnTo>
                    <a:pt x="1074" y="1862"/>
                  </a:lnTo>
                  <a:lnTo>
                    <a:pt x="1066" y="1864"/>
                  </a:lnTo>
                  <a:lnTo>
                    <a:pt x="1054" y="1868"/>
                  </a:lnTo>
                  <a:lnTo>
                    <a:pt x="1034" y="1874"/>
                  </a:lnTo>
                  <a:lnTo>
                    <a:pt x="1020" y="1880"/>
                  </a:lnTo>
                  <a:lnTo>
                    <a:pt x="1008" y="1884"/>
                  </a:lnTo>
                  <a:lnTo>
                    <a:pt x="1002" y="1884"/>
                  </a:lnTo>
                  <a:lnTo>
                    <a:pt x="996" y="1884"/>
                  </a:lnTo>
                  <a:lnTo>
                    <a:pt x="992" y="1882"/>
                  </a:lnTo>
                  <a:lnTo>
                    <a:pt x="986" y="1878"/>
                  </a:lnTo>
                  <a:lnTo>
                    <a:pt x="980" y="1870"/>
                  </a:lnTo>
                  <a:lnTo>
                    <a:pt x="978" y="1870"/>
                  </a:lnTo>
                  <a:lnTo>
                    <a:pt x="980" y="1874"/>
                  </a:lnTo>
                  <a:lnTo>
                    <a:pt x="984" y="1884"/>
                  </a:lnTo>
                  <a:lnTo>
                    <a:pt x="984" y="1886"/>
                  </a:lnTo>
                  <a:lnTo>
                    <a:pt x="984" y="1888"/>
                  </a:lnTo>
                  <a:lnTo>
                    <a:pt x="982" y="1888"/>
                  </a:lnTo>
                  <a:lnTo>
                    <a:pt x="982" y="1890"/>
                  </a:lnTo>
                  <a:lnTo>
                    <a:pt x="984" y="1890"/>
                  </a:lnTo>
                  <a:lnTo>
                    <a:pt x="988" y="1890"/>
                  </a:lnTo>
                  <a:lnTo>
                    <a:pt x="992" y="1888"/>
                  </a:lnTo>
                  <a:lnTo>
                    <a:pt x="996" y="1890"/>
                  </a:lnTo>
                  <a:lnTo>
                    <a:pt x="998" y="1892"/>
                  </a:lnTo>
                  <a:lnTo>
                    <a:pt x="1002" y="1892"/>
                  </a:lnTo>
                  <a:lnTo>
                    <a:pt x="1004" y="1890"/>
                  </a:lnTo>
                  <a:lnTo>
                    <a:pt x="1008" y="1890"/>
                  </a:lnTo>
                  <a:lnTo>
                    <a:pt x="1010" y="1894"/>
                  </a:lnTo>
                  <a:lnTo>
                    <a:pt x="1010" y="1900"/>
                  </a:lnTo>
                  <a:lnTo>
                    <a:pt x="1010" y="1902"/>
                  </a:lnTo>
                  <a:lnTo>
                    <a:pt x="1008" y="1902"/>
                  </a:lnTo>
                  <a:lnTo>
                    <a:pt x="1004" y="1900"/>
                  </a:lnTo>
                  <a:lnTo>
                    <a:pt x="998" y="1898"/>
                  </a:lnTo>
                  <a:lnTo>
                    <a:pt x="996" y="1898"/>
                  </a:lnTo>
                  <a:lnTo>
                    <a:pt x="986" y="1896"/>
                  </a:lnTo>
                  <a:lnTo>
                    <a:pt x="980" y="1892"/>
                  </a:lnTo>
                  <a:lnTo>
                    <a:pt x="980" y="1890"/>
                  </a:lnTo>
                  <a:lnTo>
                    <a:pt x="980" y="1886"/>
                  </a:lnTo>
                  <a:lnTo>
                    <a:pt x="980" y="1884"/>
                  </a:lnTo>
                  <a:lnTo>
                    <a:pt x="978" y="1882"/>
                  </a:lnTo>
                  <a:lnTo>
                    <a:pt x="976" y="1878"/>
                  </a:lnTo>
                  <a:lnTo>
                    <a:pt x="976" y="1872"/>
                  </a:lnTo>
                  <a:lnTo>
                    <a:pt x="976" y="1870"/>
                  </a:lnTo>
                  <a:lnTo>
                    <a:pt x="974" y="1870"/>
                  </a:lnTo>
                  <a:lnTo>
                    <a:pt x="970" y="1872"/>
                  </a:lnTo>
                  <a:lnTo>
                    <a:pt x="962" y="1872"/>
                  </a:lnTo>
                  <a:lnTo>
                    <a:pt x="958" y="1870"/>
                  </a:lnTo>
                  <a:lnTo>
                    <a:pt x="954" y="1868"/>
                  </a:lnTo>
                  <a:lnTo>
                    <a:pt x="950" y="1860"/>
                  </a:lnTo>
                  <a:lnTo>
                    <a:pt x="948" y="1856"/>
                  </a:lnTo>
                  <a:lnTo>
                    <a:pt x="946" y="1854"/>
                  </a:lnTo>
                  <a:lnTo>
                    <a:pt x="944" y="1854"/>
                  </a:lnTo>
                  <a:lnTo>
                    <a:pt x="938" y="1854"/>
                  </a:lnTo>
                  <a:lnTo>
                    <a:pt x="932" y="1852"/>
                  </a:lnTo>
                  <a:lnTo>
                    <a:pt x="930" y="1850"/>
                  </a:lnTo>
                  <a:lnTo>
                    <a:pt x="926" y="1850"/>
                  </a:lnTo>
                  <a:lnTo>
                    <a:pt x="924" y="1854"/>
                  </a:lnTo>
                  <a:lnTo>
                    <a:pt x="920" y="1862"/>
                  </a:lnTo>
                  <a:lnTo>
                    <a:pt x="912" y="1868"/>
                  </a:lnTo>
                  <a:lnTo>
                    <a:pt x="908" y="1870"/>
                  </a:lnTo>
                  <a:lnTo>
                    <a:pt x="900" y="1870"/>
                  </a:lnTo>
                  <a:lnTo>
                    <a:pt x="894" y="1872"/>
                  </a:lnTo>
                  <a:lnTo>
                    <a:pt x="890" y="1874"/>
                  </a:lnTo>
                  <a:lnTo>
                    <a:pt x="886" y="1880"/>
                  </a:lnTo>
                  <a:lnTo>
                    <a:pt x="884" y="1884"/>
                  </a:lnTo>
                  <a:lnTo>
                    <a:pt x="882" y="1884"/>
                  </a:lnTo>
                  <a:lnTo>
                    <a:pt x="878" y="1882"/>
                  </a:lnTo>
                  <a:lnTo>
                    <a:pt x="874" y="1880"/>
                  </a:lnTo>
                  <a:lnTo>
                    <a:pt x="870" y="1880"/>
                  </a:lnTo>
                  <a:lnTo>
                    <a:pt x="864" y="1882"/>
                  </a:lnTo>
                  <a:lnTo>
                    <a:pt x="860" y="1882"/>
                  </a:lnTo>
                  <a:lnTo>
                    <a:pt x="858" y="1882"/>
                  </a:lnTo>
                  <a:lnTo>
                    <a:pt x="856" y="1880"/>
                  </a:lnTo>
                  <a:lnTo>
                    <a:pt x="856" y="1878"/>
                  </a:lnTo>
                  <a:lnTo>
                    <a:pt x="858" y="1876"/>
                  </a:lnTo>
                  <a:lnTo>
                    <a:pt x="864" y="1872"/>
                  </a:lnTo>
                  <a:lnTo>
                    <a:pt x="870" y="1870"/>
                  </a:lnTo>
                  <a:lnTo>
                    <a:pt x="870" y="1868"/>
                  </a:lnTo>
                  <a:lnTo>
                    <a:pt x="870" y="1864"/>
                  </a:lnTo>
                  <a:lnTo>
                    <a:pt x="870" y="1862"/>
                  </a:lnTo>
                  <a:lnTo>
                    <a:pt x="870" y="1858"/>
                  </a:lnTo>
                  <a:lnTo>
                    <a:pt x="870" y="1856"/>
                  </a:lnTo>
                  <a:lnTo>
                    <a:pt x="862" y="1858"/>
                  </a:lnTo>
                  <a:lnTo>
                    <a:pt x="856" y="1860"/>
                  </a:lnTo>
                  <a:lnTo>
                    <a:pt x="852" y="1860"/>
                  </a:lnTo>
                  <a:lnTo>
                    <a:pt x="848" y="1860"/>
                  </a:lnTo>
                  <a:lnTo>
                    <a:pt x="846" y="1858"/>
                  </a:lnTo>
                  <a:lnTo>
                    <a:pt x="842" y="1854"/>
                  </a:lnTo>
                  <a:lnTo>
                    <a:pt x="840" y="1854"/>
                  </a:lnTo>
                  <a:lnTo>
                    <a:pt x="838" y="1854"/>
                  </a:lnTo>
                  <a:lnTo>
                    <a:pt x="834" y="1856"/>
                  </a:lnTo>
                  <a:lnTo>
                    <a:pt x="832" y="1854"/>
                  </a:lnTo>
                  <a:lnTo>
                    <a:pt x="830" y="1852"/>
                  </a:lnTo>
                  <a:lnTo>
                    <a:pt x="826" y="1850"/>
                  </a:lnTo>
                  <a:lnTo>
                    <a:pt x="822" y="1850"/>
                  </a:lnTo>
                  <a:lnTo>
                    <a:pt x="824" y="1848"/>
                  </a:lnTo>
                  <a:lnTo>
                    <a:pt x="826" y="1844"/>
                  </a:lnTo>
                  <a:lnTo>
                    <a:pt x="828" y="1842"/>
                  </a:lnTo>
                  <a:lnTo>
                    <a:pt x="826" y="1838"/>
                  </a:lnTo>
                  <a:lnTo>
                    <a:pt x="824" y="1834"/>
                  </a:lnTo>
                  <a:lnTo>
                    <a:pt x="822" y="1832"/>
                  </a:lnTo>
                  <a:lnTo>
                    <a:pt x="820" y="1834"/>
                  </a:lnTo>
                  <a:lnTo>
                    <a:pt x="816" y="1832"/>
                  </a:lnTo>
                  <a:lnTo>
                    <a:pt x="812" y="1830"/>
                  </a:lnTo>
                  <a:lnTo>
                    <a:pt x="808" y="1830"/>
                  </a:lnTo>
                  <a:lnTo>
                    <a:pt x="806" y="1832"/>
                  </a:lnTo>
                  <a:lnTo>
                    <a:pt x="802" y="1830"/>
                  </a:lnTo>
                  <a:lnTo>
                    <a:pt x="808" y="1826"/>
                  </a:lnTo>
                  <a:lnTo>
                    <a:pt x="810" y="1824"/>
                  </a:lnTo>
                  <a:lnTo>
                    <a:pt x="810" y="1826"/>
                  </a:lnTo>
                  <a:lnTo>
                    <a:pt x="812" y="1828"/>
                  </a:lnTo>
                  <a:lnTo>
                    <a:pt x="816" y="1828"/>
                  </a:lnTo>
                  <a:lnTo>
                    <a:pt x="818" y="1826"/>
                  </a:lnTo>
                  <a:lnTo>
                    <a:pt x="820" y="1826"/>
                  </a:lnTo>
                  <a:lnTo>
                    <a:pt x="824" y="1828"/>
                  </a:lnTo>
                  <a:lnTo>
                    <a:pt x="826" y="1826"/>
                  </a:lnTo>
                  <a:lnTo>
                    <a:pt x="828" y="1824"/>
                  </a:lnTo>
                  <a:lnTo>
                    <a:pt x="828" y="1822"/>
                  </a:lnTo>
                  <a:lnTo>
                    <a:pt x="822" y="1818"/>
                  </a:lnTo>
                  <a:lnTo>
                    <a:pt x="816" y="1814"/>
                  </a:lnTo>
                  <a:lnTo>
                    <a:pt x="812" y="1816"/>
                  </a:lnTo>
                  <a:lnTo>
                    <a:pt x="810" y="1818"/>
                  </a:lnTo>
                  <a:lnTo>
                    <a:pt x="806" y="1814"/>
                  </a:lnTo>
                  <a:lnTo>
                    <a:pt x="806" y="1812"/>
                  </a:lnTo>
                  <a:lnTo>
                    <a:pt x="806" y="1810"/>
                  </a:lnTo>
                  <a:lnTo>
                    <a:pt x="810" y="1808"/>
                  </a:lnTo>
                  <a:lnTo>
                    <a:pt x="812" y="1804"/>
                  </a:lnTo>
                  <a:lnTo>
                    <a:pt x="814" y="1804"/>
                  </a:lnTo>
                  <a:lnTo>
                    <a:pt x="812" y="1802"/>
                  </a:lnTo>
                  <a:lnTo>
                    <a:pt x="810" y="1798"/>
                  </a:lnTo>
                  <a:lnTo>
                    <a:pt x="810" y="1794"/>
                  </a:lnTo>
                  <a:lnTo>
                    <a:pt x="810" y="1792"/>
                  </a:lnTo>
                  <a:lnTo>
                    <a:pt x="808" y="1790"/>
                  </a:lnTo>
                  <a:lnTo>
                    <a:pt x="808" y="1788"/>
                  </a:lnTo>
                  <a:lnTo>
                    <a:pt x="808" y="1786"/>
                  </a:lnTo>
                  <a:lnTo>
                    <a:pt x="814" y="1784"/>
                  </a:lnTo>
                  <a:lnTo>
                    <a:pt x="818" y="1782"/>
                  </a:lnTo>
                  <a:lnTo>
                    <a:pt x="818" y="1780"/>
                  </a:lnTo>
                  <a:lnTo>
                    <a:pt x="818" y="1778"/>
                  </a:lnTo>
                  <a:lnTo>
                    <a:pt x="818" y="1776"/>
                  </a:lnTo>
                  <a:lnTo>
                    <a:pt x="822" y="1776"/>
                  </a:lnTo>
                  <a:lnTo>
                    <a:pt x="826" y="1774"/>
                  </a:lnTo>
                  <a:lnTo>
                    <a:pt x="826" y="1772"/>
                  </a:lnTo>
                  <a:lnTo>
                    <a:pt x="824" y="1768"/>
                  </a:lnTo>
                  <a:lnTo>
                    <a:pt x="820" y="1764"/>
                  </a:lnTo>
                  <a:lnTo>
                    <a:pt x="824" y="1766"/>
                  </a:lnTo>
                  <a:lnTo>
                    <a:pt x="828" y="1768"/>
                  </a:lnTo>
                  <a:lnTo>
                    <a:pt x="832" y="1768"/>
                  </a:lnTo>
                  <a:lnTo>
                    <a:pt x="834" y="1766"/>
                  </a:lnTo>
                  <a:lnTo>
                    <a:pt x="834" y="1764"/>
                  </a:lnTo>
                  <a:lnTo>
                    <a:pt x="834" y="1760"/>
                  </a:lnTo>
                  <a:lnTo>
                    <a:pt x="834" y="1750"/>
                  </a:lnTo>
                  <a:lnTo>
                    <a:pt x="836" y="1742"/>
                  </a:lnTo>
                  <a:lnTo>
                    <a:pt x="836" y="1740"/>
                  </a:lnTo>
                  <a:lnTo>
                    <a:pt x="840" y="1738"/>
                  </a:lnTo>
                  <a:lnTo>
                    <a:pt x="844" y="1738"/>
                  </a:lnTo>
                  <a:lnTo>
                    <a:pt x="844" y="1742"/>
                  </a:lnTo>
                  <a:lnTo>
                    <a:pt x="842" y="1744"/>
                  </a:lnTo>
                  <a:lnTo>
                    <a:pt x="842" y="1746"/>
                  </a:lnTo>
                  <a:lnTo>
                    <a:pt x="844" y="1748"/>
                  </a:lnTo>
                  <a:lnTo>
                    <a:pt x="848" y="1750"/>
                  </a:lnTo>
                  <a:lnTo>
                    <a:pt x="848" y="1748"/>
                  </a:lnTo>
                  <a:lnTo>
                    <a:pt x="850" y="1746"/>
                  </a:lnTo>
                  <a:lnTo>
                    <a:pt x="852" y="1746"/>
                  </a:lnTo>
                  <a:lnTo>
                    <a:pt x="854" y="1748"/>
                  </a:lnTo>
                  <a:lnTo>
                    <a:pt x="856" y="1746"/>
                  </a:lnTo>
                  <a:lnTo>
                    <a:pt x="858" y="1744"/>
                  </a:lnTo>
                  <a:lnTo>
                    <a:pt x="864" y="1732"/>
                  </a:lnTo>
                  <a:lnTo>
                    <a:pt x="864" y="1730"/>
                  </a:lnTo>
                  <a:lnTo>
                    <a:pt x="864" y="1728"/>
                  </a:lnTo>
                  <a:lnTo>
                    <a:pt x="858" y="1726"/>
                  </a:lnTo>
                  <a:lnTo>
                    <a:pt x="844" y="1724"/>
                  </a:lnTo>
                  <a:lnTo>
                    <a:pt x="840" y="1722"/>
                  </a:lnTo>
                  <a:lnTo>
                    <a:pt x="838" y="1722"/>
                  </a:lnTo>
                  <a:lnTo>
                    <a:pt x="840" y="1718"/>
                  </a:lnTo>
                  <a:lnTo>
                    <a:pt x="842" y="1714"/>
                  </a:lnTo>
                  <a:lnTo>
                    <a:pt x="840" y="1710"/>
                  </a:lnTo>
                  <a:lnTo>
                    <a:pt x="838" y="1706"/>
                  </a:lnTo>
                  <a:lnTo>
                    <a:pt x="838" y="1700"/>
                  </a:lnTo>
                  <a:lnTo>
                    <a:pt x="840" y="1690"/>
                  </a:lnTo>
                  <a:lnTo>
                    <a:pt x="842" y="1686"/>
                  </a:lnTo>
                  <a:lnTo>
                    <a:pt x="844" y="1684"/>
                  </a:lnTo>
                  <a:lnTo>
                    <a:pt x="846" y="1680"/>
                  </a:lnTo>
                  <a:lnTo>
                    <a:pt x="848" y="1676"/>
                  </a:lnTo>
                  <a:lnTo>
                    <a:pt x="848" y="1670"/>
                  </a:lnTo>
                  <a:lnTo>
                    <a:pt x="846" y="1662"/>
                  </a:lnTo>
                  <a:lnTo>
                    <a:pt x="844" y="1658"/>
                  </a:lnTo>
                  <a:lnTo>
                    <a:pt x="844" y="1656"/>
                  </a:lnTo>
                  <a:lnTo>
                    <a:pt x="846" y="1652"/>
                  </a:lnTo>
                  <a:lnTo>
                    <a:pt x="850" y="1648"/>
                  </a:lnTo>
                  <a:lnTo>
                    <a:pt x="850" y="1646"/>
                  </a:lnTo>
                  <a:lnTo>
                    <a:pt x="846" y="1646"/>
                  </a:lnTo>
                  <a:lnTo>
                    <a:pt x="844" y="1650"/>
                  </a:lnTo>
                  <a:lnTo>
                    <a:pt x="838" y="1654"/>
                  </a:lnTo>
                  <a:lnTo>
                    <a:pt x="830" y="1656"/>
                  </a:lnTo>
                  <a:lnTo>
                    <a:pt x="824" y="1658"/>
                  </a:lnTo>
                  <a:lnTo>
                    <a:pt x="822" y="1660"/>
                  </a:lnTo>
                  <a:lnTo>
                    <a:pt x="814" y="1672"/>
                  </a:lnTo>
                  <a:lnTo>
                    <a:pt x="810" y="1676"/>
                  </a:lnTo>
                  <a:lnTo>
                    <a:pt x="804" y="1680"/>
                  </a:lnTo>
                  <a:lnTo>
                    <a:pt x="796" y="1684"/>
                  </a:lnTo>
                  <a:lnTo>
                    <a:pt x="786" y="1686"/>
                  </a:lnTo>
                  <a:lnTo>
                    <a:pt x="776" y="1686"/>
                  </a:lnTo>
                  <a:lnTo>
                    <a:pt x="768" y="1690"/>
                  </a:lnTo>
                  <a:lnTo>
                    <a:pt x="762" y="1694"/>
                  </a:lnTo>
                  <a:lnTo>
                    <a:pt x="758" y="1700"/>
                  </a:lnTo>
                  <a:lnTo>
                    <a:pt x="754" y="1708"/>
                  </a:lnTo>
                  <a:lnTo>
                    <a:pt x="752" y="1718"/>
                  </a:lnTo>
                  <a:lnTo>
                    <a:pt x="748" y="1736"/>
                  </a:lnTo>
                  <a:lnTo>
                    <a:pt x="748" y="1752"/>
                  </a:lnTo>
                  <a:lnTo>
                    <a:pt x="750" y="1762"/>
                  </a:lnTo>
                  <a:lnTo>
                    <a:pt x="752" y="1770"/>
                  </a:lnTo>
                  <a:lnTo>
                    <a:pt x="750" y="1778"/>
                  </a:lnTo>
                  <a:lnTo>
                    <a:pt x="746" y="1784"/>
                  </a:lnTo>
                  <a:lnTo>
                    <a:pt x="748" y="1786"/>
                  </a:lnTo>
                  <a:lnTo>
                    <a:pt x="750" y="1786"/>
                  </a:lnTo>
                  <a:lnTo>
                    <a:pt x="754" y="1790"/>
                  </a:lnTo>
                  <a:lnTo>
                    <a:pt x="758" y="1792"/>
                  </a:lnTo>
                  <a:lnTo>
                    <a:pt x="758" y="1790"/>
                  </a:lnTo>
                  <a:lnTo>
                    <a:pt x="758" y="1788"/>
                  </a:lnTo>
                  <a:lnTo>
                    <a:pt x="762" y="1790"/>
                  </a:lnTo>
                  <a:lnTo>
                    <a:pt x="764" y="1792"/>
                  </a:lnTo>
                  <a:lnTo>
                    <a:pt x="768" y="1792"/>
                  </a:lnTo>
                  <a:lnTo>
                    <a:pt x="772" y="1796"/>
                  </a:lnTo>
                  <a:lnTo>
                    <a:pt x="772" y="1804"/>
                  </a:lnTo>
                  <a:lnTo>
                    <a:pt x="770" y="1810"/>
                  </a:lnTo>
                  <a:lnTo>
                    <a:pt x="768" y="1808"/>
                  </a:lnTo>
                  <a:lnTo>
                    <a:pt x="766" y="1806"/>
                  </a:lnTo>
                  <a:lnTo>
                    <a:pt x="764" y="1806"/>
                  </a:lnTo>
                  <a:lnTo>
                    <a:pt x="764" y="1810"/>
                  </a:lnTo>
                  <a:lnTo>
                    <a:pt x="764" y="1814"/>
                  </a:lnTo>
                  <a:lnTo>
                    <a:pt x="768" y="1812"/>
                  </a:lnTo>
                  <a:lnTo>
                    <a:pt x="770" y="1812"/>
                  </a:lnTo>
                  <a:lnTo>
                    <a:pt x="770" y="1814"/>
                  </a:lnTo>
                  <a:lnTo>
                    <a:pt x="770" y="1826"/>
                  </a:lnTo>
                  <a:lnTo>
                    <a:pt x="770" y="1830"/>
                  </a:lnTo>
                  <a:lnTo>
                    <a:pt x="774" y="1836"/>
                  </a:lnTo>
                  <a:lnTo>
                    <a:pt x="784" y="1848"/>
                  </a:lnTo>
                  <a:lnTo>
                    <a:pt x="786" y="1850"/>
                  </a:lnTo>
                  <a:lnTo>
                    <a:pt x="786" y="1852"/>
                  </a:lnTo>
                  <a:lnTo>
                    <a:pt x="782" y="1854"/>
                  </a:lnTo>
                  <a:lnTo>
                    <a:pt x="774" y="1856"/>
                  </a:lnTo>
                  <a:lnTo>
                    <a:pt x="772" y="1858"/>
                  </a:lnTo>
                  <a:lnTo>
                    <a:pt x="770" y="1860"/>
                  </a:lnTo>
                  <a:lnTo>
                    <a:pt x="770" y="1864"/>
                  </a:lnTo>
                  <a:lnTo>
                    <a:pt x="776" y="1864"/>
                  </a:lnTo>
                  <a:lnTo>
                    <a:pt x="780" y="1862"/>
                  </a:lnTo>
                  <a:lnTo>
                    <a:pt x="780" y="1864"/>
                  </a:lnTo>
                  <a:lnTo>
                    <a:pt x="778" y="1866"/>
                  </a:lnTo>
                  <a:lnTo>
                    <a:pt x="778" y="1870"/>
                  </a:lnTo>
                  <a:lnTo>
                    <a:pt x="778" y="1872"/>
                  </a:lnTo>
                  <a:lnTo>
                    <a:pt x="782" y="1874"/>
                  </a:lnTo>
                  <a:lnTo>
                    <a:pt x="786" y="1876"/>
                  </a:lnTo>
                  <a:lnTo>
                    <a:pt x="784" y="1878"/>
                  </a:lnTo>
                  <a:lnTo>
                    <a:pt x="780" y="1880"/>
                  </a:lnTo>
                  <a:lnTo>
                    <a:pt x="780" y="1882"/>
                  </a:lnTo>
                  <a:lnTo>
                    <a:pt x="782" y="1886"/>
                  </a:lnTo>
                  <a:lnTo>
                    <a:pt x="790" y="1886"/>
                  </a:lnTo>
                  <a:lnTo>
                    <a:pt x="798" y="1890"/>
                  </a:lnTo>
                  <a:lnTo>
                    <a:pt x="804" y="1894"/>
                  </a:lnTo>
                  <a:lnTo>
                    <a:pt x="804" y="1898"/>
                  </a:lnTo>
                  <a:lnTo>
                    <a:pt x="800" y="1896"/>
                  </a:lnTo>
                  <a:lnTo>
                    <a:pt x="794" y="1892"/>
                  </a:lnTo>
                  <a:lnTo>
                    <a:pt x="786" y="1890"/>
                  </a:lnTo>
                  <a:lnTo>
                    <a:pt x="780" y="1890"/>
                  </a:lnTo>
                  <a:lnTo>
                    <a:pt x="772" y="1888"/>
                  </a:lnTo>
                  <a:lnTo>
                    <a:pt x="770" y="1888"/>
                  </a:lnTo>
                  <a:lnTo>
                    <a:pt x="768" y="1890"/>
                  </a:lnTo>
                  <a:lnTo>
                    <a:pt x="768" y="1900"/>
                  </a:lnTo>
                  <a:lnTo>
                    <a:pt x="770" y="1910"/>
                  </a:lnTo>
                  <a:lnTo>
                    <a:pt x="768" y="1916"/>
                  </a:lnTo>
                  <a:lnTo>
                    <a:pt x="766" y="1918"/>
                  </a:lnTo>
                  <a:lnTo>
                    <a:pt x="764" y="1920"/>
                  </a:lnTo>
                  <a:lnTo>
                    <a:pt x="764" y="1918"/>
                  </a:lnTo>
                  <a:lnTo>
                    <a:pt x="764" y="1914"/>
                  </a:lnTo>
                  <a:lnTo>
                    <a:pt x="764" y="1908"/>
                  </a:lnTo>
                  <a:lnTo>
                    <a:pt x="764" y="1906"/>
                  </a:lnTo>
                  <a:lnTo>
                    <a:pt x="762" y="1904"/>
                  </a:lnTo>
                  <a:lnTo>
                    <a:pt x="758" y="1904"/>
                  </a:lnTo>
                  <a:lnTo>
                    <a:pt x="756" y="1906"/>
                  </a:lnTo>
                  <a:lnTo>
                    <a:pt x="756" y="1912"/>
                  </a:lnTo>
                  <a:lnTo>
                    <a:pt x="754" y="1916"/>
                  </a:lnTo>
                  <a:lnTo>
                    <a:pt x="750" y="1914"/>
                  </a:lnTo>
                  <a:lnTo>
                    <a:pt x="748" y="1912"/>
                  </a:lnTo>
                  <a:lnTo>
                    <a:pt x="748" y="1910"/>
                  </a:lnTo>
                  <a:lnTo>
                    <a:pt x="750" y="1904"/>
                  </a:lnTo>
                  <a:lnTo>
                    <a:pt x="748" y="1902"/>
                  </a:lnTo>
                  <a:lnTo>
                    <a:pt x="746" y="1900"/>
                  </a:lnTo>
                  <a:lnTo>
                    <a:pt x="742" y="1898"/>
                  </a:lnTo>
                  <a:lnTo>
                    <a:pt x="734" y="1898"/>
                  </a:lnTo>
                  <a:lnTo>
                    <a:pt x="720" y="1898"/>
                  </a:lnTo>
                  <a:lnTo>
                    <a:pt x="714" y="1900"/>
                  </a:lnTo>
                  <a:lnTo>
                    <a:pt x="710" y="1906"/>
                  </a:lnTo>
                  <a:lnTo>
                    <a:pt x="708" y="1914"/>
                  </a:lnTo>
                  <a:lnTo>
                    <a:pt x="706" y="1916"/>
                  </a:lnTo>
                  <a:lnTo>
                    <a:pt x="706" y="1920"/>
                  </a:lnTo>
                  <a:lnTo>
                    <a:pt x="710" y="1922"/>
                  </a:lnTo>
                  <a:lnTo>
                    <a:pt x="714" y="1922"/>
                  </a:lnTo>
                  <a:lnTo>
                    <a:pt x="714" y="1924"/>
                  </a:lnTo>
                  <a:lnTo>
                    <a:pt x="712" y="1926"/>
                  </a:lnTo>
                  <a:lnTo>
                    <a:pt x="708" y="1926"/>
                  </a:lnTo>
                  <a:lnTo>
                    <a:pt x="706" y="1926"/>
                  </a:lnTo>
                  <a:lnTo>
                    <a:pt x="700" y="1918"/>
                  </a:lnTo>
                  <a:lnTo>
                    <a:pt x="696" y="1914"/>
                  </a:lnTo>
                  <a:lnTo>
                    <a:pt x="688" y="1914"/>
                  </a:lnTo>
                  <a:lnTo>
                    <a:pt x="664" y="1918"/>
                  </a:lnTo>
                  <a:lnTo>
                    <a:pt x="654" y="1920"/>
                  </a:lnTo>
                  <a:lnTo>
                    <a:pt x="646" y="1924"/>
                  </a:lnTo>
                  <a:lnTo>
                    <a:pt x="640" y="1926"/>
                  </a:lnTo>
                  <a:lnTo>
                    <a:pt x="636" y="1930"/>
                  </a:lnTo>
                  <a:lnTo>
                    <a:pt x="634" y="1934"/>
                  </a:lnTo>
                  <a:lnTo>
                    <a:pt x="634" y="1938"/>
                  </a:lnTo>
                  <a:lnTo>
                    <a:pt x="634" y="1940"/>
                  </a:lnTo>
                  <a:lnTo>
                    <a:pt x="636" y="1940"/>
                  </a:lnTo>
                  <a:lnTo>
                    <a:pt x="638" y="1940"/>
                  </a:lnTo>
                  <a:lnTo>
                    <a:pt x="640" y="1942"/>
                  </a:lnTo>
                  <a:lnTo>
                    <a:pt x="640" y="1946"/>
                  </a:lnTo>
                  <a:lnTo>
                    <a:pt x="640" y="1950"/>
                  </a:lnTo>
                  <a:lnTo>
                    <a:pt x="642" y="1950"/>
                  </a:lnTo>
                  <a:lnTo>
                    <a:pt x="644" y="1952"/>
                  </a:lnTo>
                  <a:lnTo>
                    <a:pt x="646" y="1952"/>
                  </a:lnTo>
                  <a:lnTo>
                    <a:pt x="646" y="1954"/>
                  </a:lnTo>
                  <a:lnTo>
                    <a:pt x="646" y="1958"/>
                  </a:lnTo>
                  <a:lnTo>
                    <a:pt x="646" y="1962"/>
                  </a:lnTo>
                  <a:lnTo>
                    <a:pt x="648" y="1964"/>
                  </a:lnTo>
                  <a:lnTo>
                    <a:pt x="650" y="1966"/>
                  </a:lnTo>
                  <a:lnTo>
                    <a:pt x="654" y="1968"/>
                  </a:lnTo>
                  <a:lnTo>
                    <a:pt x="656" y="1972"/>
                  </a:lnTo>
                  <a:lnTo>
                    <a:pt x="654" y="1976"/>
                  </a:lnTo>
                  <a:lnTo>
                    <a:pt x="652" y="1980"/>
                  </a:lnTo>
                  <a:lnTo>
                    <a:pt x="648" y="1984"/>
                  </a:lnTo>
                  <a:lnTo>
                    <a:pt x="644" y="1986"/>
                  </a:lnTo>
                  <a:lnTo>
                    <a:pt x="638" y="1988"/>
                  </a:lnTo>
                  <a:lnTo>
                    <a:pt x="634" y="1986"/>
                  </a:lnTo>
                  <a:lnTo>
                    <a:pt x="628" y="1980"/>
                  </a:lnTo>
                  <a:lnTo>
                    <a:pt x="624" y="1974"/>
                  </a:lnTo>
                  <a:lnTo>
                    <a:pt x="624" y="1970"/>
                  </a:lnTo>
                  <a:lnTo>
                    <a:pt x="624" y="1968"/>
                  </a:lnTo>
                  <a:lnTo>
                    <a:pt x="626" y="1966"/>
                  </a:lnTo>
                  <a:lnTo>
                    <a:pt x="630" y="1964"/>
                  </a:lnTo>
                  <a:lnTo>
                    <a:pt x="634" y="1960"/>
                  </a:lnTo>
                  <a:lnTo>
                    <a:pt x="632" y="1958"/>
                  </a:lnTo>
                  <a:lnTo>
                    <a:pt x="628" y="1956"/>
                  </a:lnTo>
                  <a:lnTo>
                    <a:pt x="626" y="1952"/>
                  </a:lnTo>
                  <a:lnTo>
                    <a:pt x="626" y="1946"/>
                  </a:lnTo>
                  <a:lnTo>
                    <a:pt x="630" y="1942"/>
                  </a:lnTo>
                  <a:lnTo>
                    <a:pt x="630" y="1940"/>
                  </a:lnTo>
                  <a:lnTo>
                    <a:pt x="628" y="1940"/>
                  </a:lnTo>
                  <a:lnTo>
                    <a:pt x="618" y="1946"/>
                  </a:lnTo>
                  <a:lnTo>
                    <a:pt x="614" y="1944"/>
                  </a:lnTo>
                  <a:lnTo>
                    <a:pt x="612" y="1946"/>
                  </a:lnTo>
                  <a:lnTo>
                    <a:pt x="610" y="1954"/>
                  </a:lnTo>
                  <a:lnTo>
                    <a:pt x="606" y="1968"/>
                  </a:lnTo>
                  <a:lnTo>
                    <a:pt x="604" y="1978"/>
                  </a:lnTo>
                  <a:lnTo>
                    <a:pt x="600" y="1986"/>
                  </a:lnTo>
                  <a:lnTo>
                    <a:pt x="592" y="2000"/>
                  </a:lnTo>
                  <a:lnTo>
                    <a:pt x="588" y="2004"/>
                  </a:lnTo>
                  <a:lnTo>
                    <a:pt x="586" y="2004"/>
                  </a:lnTo>
                  <a:lnTo>
                    <a:pt x="586" y="2008"/>
                  </a:lnTo>
                  <a:lnTo>
                    <a:pt x="586" y="2010"/>
                  </a:lnTo>
                  <a:lnTo>
                    <a:pt x="584" y="2012"/>
                  </a:lnTo>
                  <a:lnTo>
                    <a:pt x="578" y="2014"/>
                  </a:lnTo>
                  <a:lnTo>
                    <a:pt x="572" y="2016"/>
                  </a:lnTo>
                  <a:lnTo>
                    <a:pt x="570" y="2018"/>
                  </a:lnTo>
                  <a:lnTo>
                    <a:pt x="572" y="2020"/>
                  </a:lnTo>
                  <a:lnTo>
                    <a:pt x="578" y="2024"/>
                  </a:lnTo>
                  <a:lnTo>
                    <a:pt x="586" y="2024"/>
                  </a:lnTo>
                  <a:lnTo>
                    <a:pt x="590" y="2026"/>
                  </a:lnTo>
                  <a:lnTo>
                    <a:pt x="584" y="2030"/>
                  </a:lnTo>
                  <a:lnTo>
                    <a:pt x="570" y="2026"/>
                  </a:lnTo>
                  <a:lnTo>
                    <a:pt x="564" y="2026"/>
                  </a:lnTo>
                  <a:lnTo>
                    <a:pt x="562" y="2028"/>
                  </a:lnTo>
                  <a:lnTo>
                    <a:pt x="562" y="2030"/>
                  </a:lnTo>
                  <a:lnTo>
                    <a:pt x="562" y="2032"/>
                  </a:lnTo>
                  <a:lnTo>
                    <a:pt x="568" y="2034"/>
                  </a:lnTo>
                  <a:lnTo>
                    <a:pt x="574" y="2036"/>
                  </a:lnTo>
                  <a:lnTo>
                    <a:pt x="580" y="2036"/>
                  </a:lnTo>
                  <a:lnTo>
                    <a:pt x="586" y="2036"/>
                  </a:lnTo>
                  <a:lnTo>
                    <a:pt x="588" y="2036"/>
                  </a:lnTo>
                  <a:lnTo>
                    <a:pt x="588" y="2038"/>
                  </a:lnTo>
                  <a:lnTo>
                    <a:pt x="588" y="2040"/>
                  </a:lnTo>
                  <a:lnTo>
                    <a:pt x="580" y="2042"/>
                  </a:lnTo>
                  <a:lnTo>
                    <a:pt x="576" y="2042"/>
                  </a:lnTo>
                  <a:lnTo>
                    <a:pt x="572" y="2042"/>
                  </a:lnTo>
                  <a:lnTo>
                    <a:pt x="566" y="2038"/>
                  </a:lnTo>
                  <a:lnTo>
                    <a:pt x="564" y="2038"/>
                  </a:lnTo>
                  <a:lnTo>
                    <a:pt x="558" y="2040"/>
                  </a:lnTo>
                  <a:lnTo>
                    <a:pt x="550" y="2044"/>
                  </a:lnTo>
                  <a:lnTo>
                    <a:pt x="540" y="2048"/>
                  </a:lnTo>
                  <a:lnTo>
                    <a:pt x="532" y="2054"/>
                  </a:lnTo>
                  <a:lnTo>
                    <a:pt x="524" y="2058"/>
                  </a:lnTo>
                  <a:lnTo>
                    <a:pt x="504" y="2060"/>
                  </a:lnTo>
                  <a:lnTo>
                    <a:pt x="492" y="2064"/>
                  </a:lnTo>
                  <a:lnTo>
                    <a:pt x="488" y="2068"/>
                  </a:lnTo>
                  <a:lnTo>
                    <a:pt x="486" y="2070"/>
                  </a:lnTo>
                  <a:lnTo>
                    <a:pt x="484" y="2074"/>
                  </a:lnTo>
                  <a:lnTo>
                    <a:pt x="484" y="2078"/>
                  </a:lnTo>
                  <a:lnTo>
                    <a:pt x="486" y="2086"/>
                  </a:lnTo>
                  <a:lnTo>
                    <a:pt x="484" y="2090"/>
                  </a:lnTo>
                  <a:lnTo>
                    <a:pt x="484" y="2094"/>
                  </a:lnTo>
                  <a:lnTo>
                    <a:pt x="486" y="2098"/>
                  </a:lnTo>
                  <a:lnTo>
                    <a:pt x="486" y="2100"/>
                  </a:lnTo>
                  <a:lnTo>
                    <a:pt x="484" y="2100"/>
                  </a:lnTo>
                  <a:lnTo>
                    <a:pt x="484" y="2102"/>
                  </a:lnTo>
                  <a:lnTo>
                    <a:pt x="486" y="2106"/>
                  </a:lnTo>
                  <a:lnTo>
                    <a:pt x="488" y="2108"/>
                  </a:lnTo>
                  <a:lnTo>
                    <a:pt x="486" y="2110"/>
                  </a:lnTo>
                  <a:lnTo>
                    <a:pt x="482" y="2112"/>
                  </a:lnTo>
                  <a:lnTo>
                    <a:pt x="480" y="2114"/>
                  </a:lnTo>
                  <a:lnTo>
                    <a:pt x="478" y="2118"/>
                  </a:lnTo>
                  <a:lnTo>
                    <a:pt x="472" y="2120"/>
                  </a:lnTo>
                  <a:lnTo>
                    <a:pt x="444" y="2132"/>
                  </a:lnTo>
                  <a:lnTo>
                    <a:pt x="434" y="2136"/>
                  </a:lnTo>
                  <a:lnTo>
                    <a:pt x="428" y="2140"/>
                  </a:lnTo>
                  <a:lnTo>
                    <a:pt x="426" y="2144"/>
                  </a:lnTo>
                  <a:lnTo>
                    <a:pt x="426" y="2146"/>
                  </a:lnTo>
                  <a:lnTo>
                    <a:pt x="426" y="2150"/>
                  </a:lnTo>
                  <a:lnTo>
                    <a:pt x="428" y="2152"/>
                  </a:lnTo>
                  <a:lnTo>
                    <a:pt x="432" y="2154"/>
                  </a:lnTo>
                  <a:lnTo>
                    <a:pt x="434" y="2154"/>
                  </a:lnTo>
                  <a:lnTo>
                    <a:pt x="432" y="2156"/>
                  </a:lnTo>
                  <a:lnTo>
                    <a:pt x="420" y="2162"/>
                  </a:lnTo>
                  <a:lnTo>
                    <a:pt x="416" y="2164"/>
                  </a:lnTo>
                  <a:lnTo>
                    <a:pt x="412" y="2164"/>
                  </a:lnTo>
                  <a:lnTo>
                    <a:pt x="402" y="2162"/>
                  </a:lnTo>
                  <a:lnTo>
                    <a:pt x="392" y="2158"/>
                  </a:lnTo>
                  <a:lnTo>
                    <a:pt x="384" y="2158"/>
                  </a:lnTo>
                  <a:lnTo>
                    <a:pt x="376" y="2160"/>
                  </a:lnTo>
                  <a:lnTo>
                    <a:pt x="374" y="2160"/>
                  </a:lnTo>
                  <a:lnTo>
                    <a:pt x="372" y="2156"/>
                  </a:lnTo>
                  <a:lnTo>
                    <a:pt x="372" y="2148"/>
                  </a:lnTo>
                  <a:lnTo>
                    <a:pt x="370" y="2142"/>
                  </a:lnTo>
                  <a:lnTo>
                    <a:pt x="368" y="2140"/>
                  </a:lnTo>
                  <a:lnTo>
                    <a:pt x="364" y="2140"/>
                  </a:lnTo>
                  <a:lnTo>
                    <a:pt x="356" y="2140"/>
                  </a:lnTo>
                  <a:lnTo>
                    <a:pt x="348" y="2140"/>
                  </a:lnTo>
                  <a:lnTo>
                    <a:pt x="346" y="2138"/>
                  </a:lnTo>
                  <a:lnTo>
                    <a:pt x="346" y="2142"/>
                  </a:lnTo>
                  <a:lnTo>
                    <a:pt x="348" y="2148"/>
                  </a:lnTo>
                  <a:lnTo>
                    <a:pt x="348" y="2152"/>
                  </a:lnTo>
                  <a:lnTo>
                    <a:pt x="348" y="2156"/>
                  </a:lnTo>
                  <a:lnTo>
                    <a:pt x="352" y="2160"/>
                  </a:lnTo>
                  <a:lnTo>
                    <a:pt x="356" y="2164"/>
                  </a:lnTo>
                  <a:lnTo>
                    <a:pt x="358" y="2172"/>
                  </a:lnTo>
                  <a:lnTo>
                    <a:pt x="360" y="2180"/>
                  </a:lnTo>
                  <a:lnTo>
                    <a:pt x="360" y="2188"/>
                  </a:lnTo>
                  <a:lnTo>
                    <a:pt x="360" y="2192"/>
                  </a:lnTo>
                  <a:lnTo>
                    <a:pt x="360" y="2194"/>
                  </a:lnTo>
                  <a:lnTo>
                    <a:pt x="362" y="2200"/>
                  </a:lnTo>
                  <a:lnTo>
                    <a:pt x="364" y="2202"/>
                  </a:lnTo>
                  <a:lnTo>
                    <a:pt x="358" y="2204"/>
                  </a:lnTo>
                  <a:lnTo>
                    <a:pt x="352" y="2204"/>
                  </a:lnTo>
                  <a:lnTo>
                    <a:pt x="350" y="2202"/>
                  </a:lnTo>
                  <a:lnTo>
                    <a:pt x="348" y="2198"/>
                  </a:lnTo>
                  <a:lnTo>
                    <a:pt x="346" y="2198"/>
                  </a:lnTo>
                  <a:lnTo>
                    <a:pt x="344" y="2198"/>
                  </a:lnTo>
                  <a:lnTo>
                    <a:pt x="344" y="2200"/>
                  </a:lnTo>
                  <a:lnTo>
                    <a:pt x="342" y="2202"/>
                  </a:lnTo>
                  <a:lnTo>
                    <a:pt x="338" y="2202"/>
                  </a:lnTo>
                  <a:lnTo>
                    <a:pt x="334" y="2202"/>
                  </a:lnTo>
                  <a:lnTo>
                    <a:pt x="332" y="2200"/>
                  </a:lnTo>
                  <a:lnTo>
                    <a:pt x="330" y="2198"/>
                  </a:lnTo>
                  <a:lnTo>
                    <a:pt x="326" y="2200"/>
                  </a:lnTo>
                  <a:lnTo>
                    <a:pt x="318" y="2206"/>
                  </a:lnTo>
                  <a:lnTo>
                    <a:pt x="314" y="2208"/>
                  </a:lnTo>
                  <a:lnTo>
                    <a:pt x="310" y="2206"/>
                  </a:lnTo>
                  <a:lnTo>
                    <a:pt x="302" y="2192"/>
                  </a:lnTo>
                  <a:lnTo>
                    <a:pt x="298" y="2186"/>
                  </a:lnTo>
                  <a:lnTo>
                    <a:pt x="296" y="2186"/>
                  </a:lnTo>
                  <a:lnTo>
                    <a:pt x="292" y="2188"/>
                  </a:lnTo>
                  <a:lnTo>
                    <a:pt x="286" y="2190"/>
                  </a:lnTo>
                  <a:lnTo>
                    <a:pt x="282" y="2190"/>
                  </a:lnTo>
                  <a:lnTo>
                    <a:pt x="280" y="2190"/>
                  </a:lnTo>
                  <a:lnTo>
                    <a:pt x="278" y="2194"/>
                  </a:lnTo>
                  <a:lnTo>
                    <a:pt x="278" y="2198"/>
                  </a:lnTo>
                  <a:lnTo>
                    <a:pt x="276" y="2200"/>
                  </a:lnTo>
                  <a:lnTo>
                    <a:pt x="270" y="2200"/>
                  </a:lnTo>
                  <a:lnTo>
                    <a:pt x="264" y="2198"/>
                  </a:lnTo>
                  <a:lnTo>
                    <a:pt x="260" y="2196"/>
                  </a:lnTo>
                  <a:lnTo>
                    <a:pt x="258" y="2198"/>
                  </a:lnTo>
                  <a:lnTo>
                    <a:pt x="250" y="2200"/>
                  </a:lnTo>
                  <a:lnTo>
                    <a:pt x="240" y="2202"/>
                  </a:lnTo>
                  <a:lnTo>
                    <a:pt x="234" y="2206"/>
                  </a:lnTo>
                  <a:lnTo>
                    <a:pt x="230" y="2212"/>
                  </a:lnTo>
                  <a:lnTo>
                    <a:pt x="230" y="2216"/>
                  </a:lnTo>
                  <a:lnTo>
                    <a:pt x="232" y="2218"/>
                  </a:lnTo>
                  <a:lnTo>
                    <a:pt x="236" y="2218"/>
                  </a:lnTo>
                  <a:lnTo>
                    <a:pt x="240" y="2218"/>
                  </a:lnTo>
                  <a:lnTo>
                    <a:pt x="244" y="2218"/>
                  </a:lnTo>
                  <a:lnTo>
                    <a:pt x="246" y="2220"/>
                  </a:lnTo>
                  <a:lnTo>
                    <a:pt x="242" y="2220"/>
                  </a:lnTo>
                  <a:lnTo>
                    <a:pt x="238" y="2222"/>
                  </a:lnTo>
                  <a:lnTo>
                    <a:pt x="238" y="2224"/>
                  </a:lnTo>
                  <a:lnTo>
                    <a:pt x="236" y="2226"/>
                  </a:lnTo>
                  <a:lnTo>
                    <a:pt x="238" y="2228"/>
                  </a:lnTo>
                  <a:lnTo>
                    <a:pt x="242" y="2228"/>
                  </a:lnTo>
                  <a:lnTo>
                    <a:pt x="246" y="2228"/>
                  </a:lnTo>
                  <a:lnTo>
                    <a:pt x="250" y="2230"/>
                  </a:lnTo>
                  <a:lnTo>
                    <a:pt x="246" y="2232"/>
                  </a:lnTo>
                  <a:lnTo>
                    <a:pt x="240" y="2234"/>
                  </a:lnTo>
                  <a:lnTo>
                    <a:pt x="234" y="2234"/>
                  </a:lnTo>
                  <a:lnTo>
                    <a:pt x="234" y="2236"/>
                  </a:lnTo>
                  <a:lnTo>
                    <a:pt x="236" y="2238"/>
                  </a:lnTo>
                  <a:lnTo>
                    <a:pt x="242" y="2244"/>
                  </a:lnTo>
                  <a:lnTo>
                    <a:pt x="244" y="2248"/>
                  </a:lnTo>
                  <a:lnTo>
                    <a:pt x="248" y="2250"/>
                  </a:lnTo>
                  <a:lnTo>
                    <a:pt x="252" y="2250"/>
                  </a:lnTo>
                  <a:lnTo>
                    <a:pt x="258" y="2248"/>
                  </a:lnTo>
                  <a:lnTo>
                    <a:pt x="264" y="2248"/>
                  </a:lnTo>
                  <a:lnTo>
                    <a:pt x="280" y="2254"/>
                  </a:lnTo>
                  <a:lnTo>
                    <a:pt x="286" y="2258"/>
                  </a:lnTo>
                  <a:lnTo>
                    <a:pt x="292" y="2260"/>
                  </a:lnTo>
                  <a:lnTo>
                    <a:pt x="296" y="2262"/>
                  </a:lnTo>
                  <a:lnTo>
                    <a:pt x="302" y="2262"/>
                  </a:lnTo>
                  <a:lnTo>
                    <a:pt x="306" y="2262"/>
                  </a:lnTo>
                  <a:lnTo>
                    <a:pt x="306" y="2266"/>
                  </a:lnTo>
                  <a:lnTo>
                    <a:pt x="306" y="2268"/>
                  </a:lnTo>
                  <a:lnTo>
                    <a:pt x="314" y="2268"/>
                  </a:lnTo>
                  <a:lnTo>
                    <a:pt x="318" y="2268"/>
                  </a:lnTo>
                  <a:lnTo>
                    <a:pt x="322" y="2268"/>
                  </a:lnTo>
                  <a:lnTo>
                    <a:pt x="324" y="2270"/>
                  </a:lnTo>
                  <a:lnTo>
                    <a:pt x="322" y="2272"/>
                  </a:lnTo>
                  <a:lnTo>
                    <a:pt x="320" y="2276"/>
                  </a:lnTo>
                  <a:lnTo>
                    <a:pt x="320" y="2280"/>
                  </a:lnTo>
                  <a:lnTo>
                    <a:pt x="322" y="2282"/>
                  </a:lnTo>
                  <a:lnTo>
                    <a:pt x="330" y="2282"/>
                  </a:lnTo>
                  <a:lnTo>
                    <a:pt x="334" y="2282"/>
                  </a:lnTo>
                  <a:lnTo>
                    <a:pt x="334" y="2286"/>
                  </a:lnTo>
                  <a:lnTo>
                    <a:pt x="332" y="2290"/>
                  </a:lnTo>
                  <a:lnTo>
                    <a:pt x="334" y="2290"/>
                  </a:lnTo>
                  <a:lnTo>
                    <a:pt x="336" y="2292"/>
                  </a:lnTo>
                  <a:lnTo>
                    <a:pt x="340" y="2292"/>
                  </a:lnTo>
                  <a:lnTo>
                    <a:pt x="342" y="2294"/>
                  </a:lnTo>
                  <a:lnTo>
                    <a:pt x="342" y="2298"/>
                  </a:lnTo>
                  <a:lnTo>
                    <a:pt x="338" y="2300"/>
                  </a:lnTo>
                  <a:lnTo>
                    <a:pt x="336" y="2302"/>
                  </a:lnTo>
                  <a:lnTo>
                    <a:pt x="336" y="2306"/>
                  </a:lnTo>
                  <a:lnTo>
                    <a:pt x="340" y="2314"/>
                  </a:lnTo>
                  <a:lnTo>
                    <a:pt x="348" y="2324"/>
                  </a:lnTo>
                  <a:lnTo>
                    <a:pt x="358" y="2332"/>
                  </a:lnTo>
                  <a:lnTo>
                    <a:pt x="368" y="2336"/>
                  </a:lnTo>
                  <a:lnTo>
                    <a:pt x="374" y="2338"/>
                  </a:lnTo>
                  <a:lnTo>
                    <a:pt x="376" y="2338"/>
                  </a:lnTo>
                  <a:lnTo>
                    <a:pt x="374" y="2342"/>
                  </a:lnTo>
                  <a:lnTo>
                    <a:pt x="374" y="2346"/>
                  </a:lnTo>
                  <a:lnTo>
                    <a:pt x="376" y="2348"/>
                  </a:lnTo>
                  <a:lnTo>
                    <a:pt x="378" y="2352"/>
                  </a:lnTo>
                  <a:lnTo>
                    <a:pt x="378" y="2360"/>
                  </a:lnTo>
                  <a:lnTo>
                    <a:pt x="376" y="2364"/>
                  </a:lnTo>
                  <a:lnTo>
                    <a:pt x="374" y="2366"/>
                  </a:lnTo>
                  <a:lnTo>
                    <a:pt x="370" y="2368"/>
                  </a:lnTo>
                  <a:lnTo>
                    <a:pt x="370" y="2370"/>
                  </a:lnTo>
                  <a:lnTo>
                    <a:pt x="378" y="2376"/>
                  </a:lnTo>
                  <a:lnTo>
                    <a:pt x="388" y="2382"/>
                  </a:lnTo>
                  <a:lnTo>
                    <a:pt x="392" y="2388"/>
                  </a:lnTo>
                  <a:lnTo>
                    <a:pt x="394" y="2396"/>
                  </a:lnTo>
                  <a:lnTo>
                    <a:pt x="394" y="2402"/>
                  </a:lnTo>
                  <a:lnTo>
                    <a:pt x="394" y="2404"/>
                  </a:lnTo>
                  <a:lnTo>
                    <a:pt x="392" y="2398"/>
                  </a:lnTo>
                  <a:lnTo>
                    <a:pt x="388" y="2388"/>
                  </a:lnTo>
                  <a:lnTo>
                    <a:pt x="384" y="2384"/>
                  </a:lnTo>
                  <a:lnTo>
                    <a:pt x="380" y="2382"/>
                  </a:lnTo>
                  <a:lnTo>
                    <a:pt x="378" y="2390"/>
                  </a:lnTo>
                  <a:lnTo>
                    <a:pt x="372" y="2410"/>
                  </a:lnTo>
                  <a:lnTo>
                    <a:pt x="370" y="2426"/>
                  </a:lnTo>
                  <a:lnTo>
                    <a:pt x="372" y="2428"/>
                  </a:lnTo>
                  <a:lnTo>
                    <a:pt x="374" y="2426"/>
                  </a:lnTo>
                  <a:lnTo>
                    <a:pt x="376" y="2426"/>
                  </a:lnTo>
                  <a:lnTo>
                    <a:pt x="378" y="2426"/>
                  </a:lnTo>
                  <a:lnTo>
                    <a:pt x="378" y="2430"/>
                  </a:lnTo>
                  <a:lnTo>
                    <a:pt x="376" y="2432"/>
                  </a:lnTo>
                  <a:lnTo>
                    <a:pt x="374" y="2432"/>
                  </a:lnTo>
                  <a:lnTo>
                    <a:pt x="372" y="2436"/>
                  </a:lnTo>
                  <a:lnTo>
                    <a:pt x="370" y="2460"/>
                  </a:lnTo>
                  <a:lnTo>
                    <a:pt x="366" y="2480"/>
                  </a:lnTo>
                  <a:lnTo>
                    <a:pt x="362" y="2492"/>
                  </a:lnTo>
                  <a:lnTo>
                    <a:pt x="358" y="2500"/>
                  </a:lnTo>
                  <a:lnTo>
                    <a:pt x="352" y="2502"/>
                  </a:lnTo>
                  <a:lnTo>
                    <a:pt x="342" y="2506"/>
                  </a:lnTo>
                  <a:lnTo>
                    <a:pt x="334" y="2506"/>
                  </a:lnTo>
                  <a:lnTo>
                    <a:pt x="326" y="2504"/>
                  </a:lnTo>
                  <a:lnTo>
                    <a:pt x="314" y="2500"/>
                  </a:lnTo>
                  <a:lnTo>
                    <a:pt x="308" y="2500"/>
                  </a:lnTo>
                  <a:lnTo>
                    <a:pt x="300" y="2502"/>
                  </a:lnTo>
                  <a:lnTo>
                    <a:pt x="286" y="2498"/>
                  </a:lnTo>
                  <a:lnTo>
                    <a:pt x="278" y="2496"/>
                  </a:lnTo>
                  <a:lnTo>
                    <a:pt x="270" y="2496"/>
                  </a:lnTo>
                  <a:lnTo>
                    <a:pt x="252" y="2498"/>
                  </a:lnTo>
                  <a:lnTo>
                    <a:pt x="232" y="2498"/>
                  </a:lnTo>
                  <a:lnTo>
                    <a:pt x="220" y="2498"/>
                  </a:lnTo>
                  <a:lnTo>
                    <a:pt x="206" y="2494"/>
                  </a:lnTo>
                  <a:lnTo>
                    <a:pt x="192" y="2490"/>
                  </a:lnTo>
                  <a:lnTo>
                    <a:pt x="182" y="2490"/>
                  </a:lnTo>
                  <a:lnTo>
                    <a:pt x="172" y="2492"/>
                  </a:lnTo>
                  <a:lnTo>
                    <a:pt x="154" y="2492"/>
                  </a:lnTo>
                  <a:lnTo>
                    <a:pt x="142" y="2492"/>
                  </a:lnTo>
                  <a:lnTo>
                    <a:pt x="134" y="2490"/>
                  </a:lnTo>
                  <a:lnTo>
                    <a:pt x="120" y="2486"/>
                  </a:lnTo>
                  <a:lnTo>
                    <a:pt x="110" y="2482"/>
                  </a:lnTo>
                  <a:lnTo>
                    <a:pt x="104" y="2484"/>
                  </a:lnTo>
                  <a:lnTo>
                    <a:pt x="98" y="2486"/>
                  </a:lnTo>
                  <a:lnTo>
                    <a:pt x="92" y="2490"/>
                  </a:lnTo>
                  <a:lnTo>
                    <a:pt x="88" y="2492"/>
                  </a:lnTo>
                  <a:lnTo>
                    <a:pt x="86" y="2500"/>
                  </a:lnTo>
                  <a:lnTo>
                    <a:pt x="86" y="2504"/>
                  </a:lnTo>
                  <a:lnTo>
                    <a:pt x="82" y="2506"/>
                  </a:lnTo>
                  <a:lnTo>
                    <a:pt x="78" y="2506"/>
                  </a:lnTo>
                  <a:lnTo>
                    <a:pt x="72" y="2506"/>
                  </a:lnTo>
                  <a:lnTo>
                    <a:pt x="66" y="2508"/>
                  </a:lnTo>
                  <a:lnTo>
                    <a:pt x="54" y="2516"/>
                  </a:lnTo>
                  <a:lnTo>
                    <a:pt x="50" y="2520"/>
                  </a:lnTo>
                  <a:lnTo>
                    <a:pt x="48" y="2524"/>
                  </a:lnTo>
                  <a:lnTo>
                    <a:pt x="48" y="2528"/>
                  </a:lnTo>
                  <a:lnTo>
                    <a:pt x="50" y="2530"/>
                  </a:lnTo>
                  <a:lnTo>
                    <a:pt x="54" y="2534"/>
                  </a:lnTo>
                  <a:lnTo>
                    <a:pt x="56" y="2540"/>
                  </a:lnTo>
                  <a:lnTo>
                    <a:pt x="58" y="2546"/>
                  </a:lnTo>
                  <a:lnTo>
                    <a:pt x="60" y="2552"/>
                  </a:lnTo>
                  <a:lnTo>
                    <a:pt x="64" y="2560"/>
                  </a:lnTo>
                  <a:lnTo>
                    <a:pt x="64" y="2570"/>
                  </a:lnTo>
                  <a:lnTo>
                    <a:pt x="64" y="2578"/>
                  </a:lnTo>
                  <a:lnTo>
                    <a:pt x="66" y="2588"/>
                  </a:lnTo>
                  <a:lnTo>
                    <a:pt x="64" y="2594"/>
                  </a:lnTo>
                  <a:lnTo>
                    <a:pt x="66" y="2596"/>
                  </a:lnTo>
                  <a:lnTo>
                    <a:pt x="68" y="2600"/>
                  </a:lnTo>
                  <a:lnTo>
                    <a:pt x="66" y="2602"/>
                  </a:lnTo>
                  <a:lnTo>
                    <a:pt x="66" y="2606"/>
                  </a:lnTo>
                  <a:lnTo>
                    <a:pt x="66" y="2612"/>
                  </a:lnTo>
                  <a:lnTo>
                    <a:pt x="74" y="2628"/>
                  </a:lnTo>
                  <a:lnTo>
                    <a:pt x="74" y="2632"/>
                  </a:lnTo>
                  <a:lnTo>
                    <a:pt x="74" y="2640"/>
                  </a:lnTo>
                  <a:lnTo>
                    <a:pt x="70" y="2654"/>
                  </a:lnTo>
                  <a:lnTo>
                    <a:pt x="66" y="2670"/>
                  </a:lnTo>
                  <a:lnTo>
                    <a:pt x="64" y="2680"/>
                  </a:lnTo>
                  <a:lnTo>
                    <a:pt x="66" y="2684"/>
                  </a:lnTo>
                  <a:lnTo>
                    <a:pt x="64" y="2688"/>
                  </a:lnTo>
                  <a:lnTo>
                    <a:pt x="60" y="2694"/>
                  </a:lnTo>
                  <a:lnTo>
                    <a:pt x="56" y="2708"/>
                  </a:lnTo>
                  <a:lnTo>
                    <a:pt x="54" y="2716"/>
                  </a:lnTo>
                  <a:lnTo>
                    <a:pt x="50" y="2720"/>
                  </a:lnTo>
                  <a:lnTo>
                    <a:pt x="46" y="2724"/>
                  </a:lnTo>
                  <a:lnTo>
                    <a:pt x="44" y="2726"/>
                  </a:lnTo>
                  <a:lnTo>
                    <a:pt x="44" y="2730"/>
                  </a:lnTo>
                  <a:lnTo>
                    <a:pt x="44" y="2734"/>
                  </a:lnTo>
                  <a:lnTo>
                    <a:pt x="44" y="2740"/>
                  </a:lnTo>
                  <a:lnTo>
                    <a:pt x="40" y="2750"/>
                  </a:lnTo>
                  <a:lnTo>
                    <a:pt x="38" y="2756"/>
                  </a:lnTo>
                  <a:lnTo>
                    <a:pt x="38" y="2760"/>
                  </a:lnTo>
                  <a:lnTo>
                    <a:pt x="40" y="2762"/>
                  </a:lnTo>
                  <a:lnTo>
                    <a:pt x="44" y="2764"/>
                  </a:lnTo>
                  <a:lnTo>
                    <a:pt x="52" y="2764"/>
                  </a:lnTo>
                  <a:lnTo>
                    <a:pt x="50" y="2766"/>
                  </a:lnTo>
                  <a:lnTo>
                    <a:pt x="50" y="2770"/>
                  </a:lnTo>
                  <a:lnTo>
                    <a:pt x="50" y="2772"/>
                  </a:lnTo>
                  <a:lnTo>
                    <a:pt x="50" y="2776"/>
                  </a:lnTo>
                  <a:lnTo>
                    <a:pt x="50" y="2778"/>
                  </a:lnTo>
                  <a:lnTo>
                    <a:pt x="52" y="2778"/>
                  </a:lnTo>
                  <a:lnTo>
                    <a:pt x="58" y="2776"/>
                  </a:lnTo>
                  <a:lnTo>
                    <a:pt x="64" y="2778"/>
                  </a:lnTo>
                  <a:lnTo>
                    <a:pt x="66" y="2780"/>
                  </a:lnTo>
                  <a:lnTo>
                    <a:pt x="66" y="2782"/>
                  </a:lnTo>
                  <a:lnTo>
                    <a:pt x="68" y="2788"/>
                  </a:lnTo>
                  <a:lnTo>
                    <a:pt x="66" y="2794"/>
                  </a:lnTo>
                  <a:lnTo>
                    <a:pt x="64" y="2804"/>
                  </a:lnTo>
                  <a:lnTo>
                    <a:pt x="66" y="2810"/>
                  </a:lnTo>
                  <a:lnTo>
                    <a:pt x="66" y="2820"/>
                  </a:lnTo>
                  <a:lnTo>
                    <a:pt x="62" y="2842"/>
                  </a:lnTo>
                  <a:lnTo>
                    <a:pt x="60" y="2856"/>
                  </a:lnTo>
                  <a:lnTo>
                    <a:pt x="62" y="2856"/>
                  </a:lnTo>
                  <a:lnTo>
                    <a:pt x="64" y="2856"/>
                  </a:lnTo>
                  <a:lnTo>
                    <a:pt x="68" y="2852"/>
                  </a:lnTo>
                  <a:lnTo>
                    <a:pt x="72" y="2850"/>
                  </a:lnTo>
                  <a:lnTo>
                    <a:pt x="80" y="2850"/>
                  </a:lnTo>
                  <a:lnTo>
                    <a:pt x="92" y="2854"/>
                  </a:lnTo>
                  <a:lnTo>
                    <a:pt x="104" y="2858"/>
                  </a:lnTo>
                  <a:lnTo>
                    <a:pt x="110" y="2856"/>
                  </a:lnTo>
                  <a:lnTo>
                    <a:pt x="114" y="2852"/>
                  </a:lnTo>
                  <a:lnTo>
                    <a:pt x="124" y="2846"/>
                  </a:lnTo>
                  <a:lnTo>
                    <a:pt x="130" y="2844"/>
                  </a:lnTo>
                  <a:lnTo>
                    <a:pt x="136" y="2844"/>
                  </a:lnTo>
                  <a:lnTo>
                    <a:pt x="142" y="2846"/>
                  </a:lnTo>
                  <a:lnTo>
                    <a:pt x="148" y="2850"/>
                  </a:lnTo>
                  <a:lnTo>
                    <a:pt x="158" y="2858"/>
                  </a:lnTo>
                  <a:lnTo>
                    <a:pt x="160" y="2862"/>
                  </a:lnTo>
                  <a:lnTo>
                    <a:pt x="162" y="2866"/>
                  </a:lnTo>
                  <a:lnTo>
                    <a:pt x="162" y="2874"/>
                  </a:lnTo>
                  <a:lnTo>
                    <a:pt x="166" y="2882"/>
                  </a:lnTo>
                  <a:lnTo>
                    <a:pt x="174" y="2892"/>
                  </a:lnTo>
                  <a:lnTo>
                    <a:pt x="182" y="2902"/>
                  </a:lnTo>
                  <a:lnTo>
                    <a:pt x="190" y="2908"/>
                  </a:lnTo>
                  <a:lnTo>
                    <a:pt x="196" y="2910"/>
                  </a:lnTo>
                  <a:lnTo>
                    <a:pt x="198" y="2910"/>
                  </a:lnTo>
                  <a:lnTo>
                    <a:pt x="202" y="2906"/>
                  </a:lnTo>
                  <a:lnTo>
                    <a:pt x="206" y="2902"/>
                  </a:lnTo>
                  <a:lnTo>
                    <a:pt x="208" y="2898"/>
                  </a:lnTo>
                  <a:lnTo>
                    <a:pt x="212" y="2892"/>
                  </a:lnTo>
                  <a:lnTo>
                    <a:pt x="214" y="2888"/>
                  </a:lnTo>
                  <a:lnTo>
                    <a:pt x="218" y="2886"/>
                  </a:lnTo>
                  <a:lnTo>
                    <a:pt x="228" y="2884"/>
                  </a:lnTo>
                  <a:lnTo>
                    <a:pt x="236" y="2884"/>
                  </a:lnTo>
                  <a:lnTo>
                    <a:pt x="238" y="2882"/>
                  </a:lnTo>
                  <a:lnTo>
                    <a:pt x="240" y="2880"/>
                  </a:lnTo>
                  <a:lnTo>
                    <a:pt x="246" y="2874"/>
                  </a:lnTo>
                  <a:lnTo>
                    <a:pt x="254" y="2868"/>
                  </a:lnTo>
                  <a:lnTo>
                    <a:pt x="264" y="2868"/>
                  </a:lnTo>
                  <a:lnTo>
                    <a:pt x="270" y="2868"/>
                  </a:lnTo>
                  <a:lnTo>
                    <a:pt x="276" y="2870"/>
                  </a:lnTo>
                  <a:lnTo>
                    <a:pt x="284" y="2872"/>
                  </a:lnTo>
                  <a:lnTo>
                    <a:pt x="292" y="2874"/>
                  </a:lnTo>
                  <a:lnTo>
                    <a:pt x="310" y="2870"/>
                  </a:lnTo>
                  <a:lnTo>
                    <a:pt x="322" y="2868"/>
                  </a:lnTo>
                  <a:lnTo>
                    <a:pt x="328" y="2866"/>
                  </a:lnTo>
                  <a:lnTo>
                    <a:pt x="332" y="2868"/>
                  </a:lnTo>
                  <a:lnTo>
                    <a:pt x="336" y="2870"/>
                  </a:lnTo>
                  <a:lnTo>
                    <a:pt x="340" y="2866"/>
                  </a:lnTo>
                  <a:lnTo>
                    <a:pt x="346" y="2852"/>
                  </a:lnTo>
                  <a:lnTo>
                    <a:pt x="350" y="2844"/>
                  </a:lnTo>
                  <a:lnTo>
                    <a:pt x="356" y="2836"/>
                  </a:lnTo>
                  <a:lnTo>
                    <a:pt x="364" y="2830"/>
                  </a:lnTo>
                  <a:lnTo>
                    <a:pt x="374" y="2828"/>
                  </a:lnTo>
                  <a:lnTo>
                    <a:pt x="390" y="2826"/>
                  </a:lnTo>
                  <a:lnTo>
                    <a:pt x="392" y="2824"/>
                  </a:lnTo>
                  <a:lnTo>
                    <a:pt x="390" y="2818"/>
                  </a:lnTo>
                  <a:lnTo>
                    <a:pt x="392" y="2808"/>
                  </a:lnTo>
                  <a:lnTo>
                    <a:pt x="396" y="2798"/>
                  </a:lnTo>
                  <a:lnTo>
                    <a:pt x="402" y="2788"/>
                  </a:lnTo>
                  <a:lnTo>
                    <a:pt x="410" y="2780"/>
                  </a:lnTo>
                  <a:lnTo>
                    <a:pt x="424" y="2768"/>
                  </a:lnTo>
                  <a:lnTo>
                    <a:pt x="428" y="2764"/>
                  </a:lnTo>
                  <a:lnTo>
                    <a:pt x="430" y="2760"/>
                  </a:lnTo>
                  <a:lnTo>
                    <a:pt x="428" y="2756"/>
                  </a:lnTo>
                  <a:lnTo>
                    <a:pt x="422" y="2752"/>
                  </a:lnTo>
                  <a:lnTo>
                    <a:pt x="416" y="2746"/>
                  </a:lnTo>
                  <a:lnTo>
                    <a:pt x="412" y="2740"/>
                  </a:lnTo>
                  <a:lnTo>
                    <a:pt x="410" y="2734"/>
                  </a:lnTo>
                  <a:lnTo>
                    <a:pt x="410" y="2724"/>
                  </a:lnTo>
                  <a:lnTo>
                    <a:pt x="412" y="2714"/>
                  </a:lnTo>
                  <a:lnTo>
                    <a:pt x="418" y="2702"/>
                  </a:lnTo>
                  <a:lnTo>
                    <a:pt x="424" y="2690"/>
                  </a:lnTo>
                  <a:lnTo>
                    <a:pt x="438" y="2670"/>
                  </a:lnTo>
                  <a:lnTo>
                    <a:pt x="446" y="2664"/>
                  </a:lnTo>
                  <a:lnTo>
                    <a:pt x="450" y="2660"/>
                  </a:lnTo>
                  <a:lnTo>
                    <a:pt x="460" y="2656"/>
                  </a:lnTo>
                  <a:lnTo>
                    <a:pt x="460" y="2654"/>
                  </a:lnTo>
                  <a:lnTo>
                    <a:pt x="460" y="2652"/>
                  </a:lnTo>
                  <a:lnTo>
                    <a:pt x="454" y="2648"/>
                  </a:lnTo>
                  <a:lnTo>
                    <a:pt x="454" y="2646"/>
                  </a:lnTo>
                  <a:lnTo>
                    <a:pt x="454" y="2642"/>
                  </a:lnTo>
                  <a:lnTo>
                    <a:pt x="458" y="2638"/>
                  </a:lnTo>
                  <a:lnTo>
                    <a:pt x="466" y="2634"/>
                  </a:lnTo>
                  <a:lnTo>
                    <a:pt x="484" y="2628"/>
                  </a:lnTo>
                  <a:lnTo>
                    <a:pt x="502" y="2624"/>
                  </a:lnTo>
                  <a:lnTo>
                    <a:pt x="508" y="2620"/>
                  </a:lnTo>
                  <a:lnTo>
                    <a:pt x="510" y="2616"/>
                  </a:lnTo>
                  <a:lnTo>
                    <a:pt x="514" y="2612"/>
                  </a:lnTo>
                  <a:lnTo>
                    <a:pt x="520" y="2608"/>
                  </a:lnTo>
                  <a:lnTo>
                    <a:pt x="536" y="2600"/>
                  </a:lnTo>
                  <a:lnTo>
                    <a:pt x="544" y="2596"/>
                  </a:lnTo>
                  <a:lnTo>
                    <a:pt x="550" y="2590"/>
                  </a:lnTo>
                  <a:lnTo>
                    <a:pt x="552" y="2584"/>
                  </a:lnTo>
                  <a:lnTo>
                    <a:pt x="552" y="2580"/>
                  </a:lnTo>
                  <a:lnTo>
                    <a:pt x="550" y="2576"/>
                  </a:lnTo>
                  <a:lnTo>
                    <a:pt x="550" y="2572"/>
                  </a:lnTo>
                  <a:lnTo>
                    <a:pt x="550" y="2570"/>
                  </a:lnTo>
                  <a:lnTo>
                    <a:pt x="554" y="2566"/>
                  </a:lnTo>
                  <a:lnTo>
                    <a:pt x="556" y="2566"/>
                  </a:lnTo>
                  <a:lnTo>
                    <a:pt x="556" y="2562"/>
                  </a:lnTo>
                  <a:lnTo>
                    <a:pt x="554" y="2560"/>
                  </a:lnTo>
                  <a:lnTo>
                    <a:pt x="548" y="2554"/>
                  </a:lnTo>
                  <a:lnTo>
                    <a:pt x="548" y="2542"/>
                  </a:lnTo>
                  <a:lnTo>
                    <a:pt x="548" y="2536"/>
                  </a:lnTo>
                  <a:lnTo>
                    <a:pt x="548" y="2532"/>
                  </a:lnTo>
                  <a:lnTo>
                    <a:pt x="548" y="2524"/>
                  </a:lnTo>
                  <a:lnTo>
                    <a:pt x="548" y="2518"/>
                  </a:lnTo>
                  <a:lnTo>
                    <a:pt x="550" y="2514"/>
                  </a:lnTo>
                  <a:lnTo>
                    <a:pt x="556" y="2510"/>
                  </a:lnTo>
                  <a:lnTo>
                    <a:pt x="564" y="2508"/>
                  </a:lnTo>
                  <a:lnTo>
                    <a:pt x="572" y="2502"/>
                  </a:lnTo>
                  <a:lnTo>
                    <a:pt x="584" y="2494"/>
                  </a:lnTo>
                  <a:lnTo>
                    <a:pt x="586" y="2494"/>
                  </a:lnTo>
                  <a:lnTo>
                    <a:pt x="588" y="2494"/>
                  </a:lnTo>
                  <a:lnTo>
                    <a:pt x="590" y="2498"/>
                  </a:lnTo>
                  <a:lnTo>
                    <a:pt x="592" y="2500"/>
                  </a:lnTo>
                  <a:lnTo>
                    <a:pt x="598" y="2502"/>
                  </a:lnTo>
                  <a:lnTo>
                    <a:pt x="604" y="2502"/>
                  </a:lnTo>
                  <a:lnTo>
                    <a:pt x="608" y="2504"/>
                  </a:lnTo>
                  <a:lnTo>
                    <a:pt x="610" y="2506"/>
                  </a:lnTo>
                  <a:lnTo>
                    <a:pt x="616" y="2506"/>
                  </a:lnTo>
                  <a:lnTo>
                    <a:pt x="626" y="2504"/>
                  </a:lnTo>
                  <a:lnTo>
                    <a:pt x="630" y="2504"/>
                  </a:lnTo>
                  <a:lnTo>
                    <a:pt x="634" y="2506"/>
                  </a:lnTo>
                  <a:lnTo>
                    <a:pt x="640" y="2512"/>
                  </a:lnTo>
                  <a:lnTo>
                    <a:pt x="644" y="2516"/>
                  </a:lnTo>
                  <a:lnTo>
                    <a:pt x="646" y="2516"/>
                  </a:lnTo>
                  <a:lnTo>
                    <a:pt x="650" y="2514"/>
                  </a:lnTo>
                  <a:lnTo>
                    <a:pt x="654" y="2516"/>
                  </a:lnTo>
                  <a:lnTo>
                    <a:pt x="656" y="2518"/>
                  </a:lnTo>
                  <a:lnTo>
                    <a:pt x="660" y="2520"/>
                  </a:lnTo>
                  <a:lnTo>
                    <a:pt x="664" y="2520"/>
                  </a:lnTo>
                  <a:lnTo>
                    <a:pt x="678" y="2518"/>
                  </a:lnTo>
                  <a:lnTo>
                    <a:pt x="690" y="2512"/>
                  </a:lnTo>
                  <a:lnTo>
                    <a:pt x="692" y="2508"/>
                  </a:lnTo>
                  <a:lnTo>
                    <a:pt x="694" y="2506"/>
                  </a:lnTo>
                  <a:lnTo>
                    <a:pt x="694" y="2502"/>
                  </a:lnTo>
                  <a:lnTo>
                    <a:pt x="696" y="2500"/>
                  </a:lnTo>
                  <a:lnTo>
                    <a:pt x="704" y="2494"/>
                  </a:lnTo>
                  <a:lnTo>
                    <a:pt x="726" y="2482"/>
                  </a:lnTo>
                  <a:lnTo>
                    <a:pt x="738" y="2476"/>
                  </a:lnTo>
                  <a:lnTo>
                    <a:pt x="748" y="2472"/>
                  </a:lnTo>
                  <a:lnTo>
                    <a:pt x="754" y="2466"/>
                  </a:lnTo>
                  <a:lnTo>
                    <a:pt x="758" y="2462"/>
                  </a:lnTo>
                  <a:lnTo>
                    <a:pt x="762" y="2452"/>
                  </a:lnTo>
                  <a:lnTo>
                    <a:pt x="766" y="2448"/>
                  </a:lnTo>
                  <a:lnTo>
                    <a:pt x="774" y="2444"/>
                  </a:lnTo>
                  <a:lnTo>
                    <a:pt x="780" y="2444"/>
                  </a:lnTo>
                  <a:lnTo>
                    <a:pt x="786" y="2444"/>
                  </a:lnTo>
                  <a:lnTo>
                    <a:pt x="792" y="2448"/>
                  </a:lnTo>
                  <a:lnTo>
                    <a:pt x="798" y="2454"/>
                  </a:lnTo>
                  <a:lnTo>
                    <a:pt x="808" y="2462"/>
                  </a:lnTo>
                  <a:lnTo>
                    <a:pt x="814" y="2466"/>
                  </a:lnTo>
                  <a:lnTo>
                    <a:pt x="820" y="2466"/>
                  </a:lnTo>
                  <a:lnTo>
                    <a:pt x="826" y="2466"/>
                  </a:lnTo>
                  <a:lnTo>
                    <a:pt x="830" y="2468"/>
                  </a:lnTo>
                  <a:lnTo>
                    <a:pt x="832" y="2474"/>
                  </a:lnTo>
                  <a:lnTo>
                    <a:pt x="834" y="2480"/>
                  </a:lnTo>
                  <a:lnTo>
                    <a:pt x="836" y="2494"/>
                  </a:lnTo>
                  <a:lnTo>
                    <a:pt x="838" y="2500"/>
                  </a:lnTo>
                  <a:lnTo>
                    <a:pt x="842" y="2504"/>
                  </a:lnTo>
                  <a:lnTo>
                    <a:pt x="844" y="2508"/>
                  </a:lnTo>
                  <a:lnTo>
                    <a:pt x="846" y="2512"/>
                  </a:lnTo>
                  <a:lnTo>
                    <a:pt x="846" y="2518"/>
                  </a:lnTo>
                  <a:lnTo>
                    <a:pt x="846" y="2522"/>
                  </a:lnTo>
                  <a:lnTo>
                    <a:pt x="846" y="2526"/>
                  </a:lnTo>
                  <a:lnTo>
                    <a:pt x="848" y="2530"/>
                  </a:lnTo>
                  <a:lnTo>
                    <a:pt x="854" y="2536"/>
                  </a:lnTo>
                  <a:lnTo>
                    <a:pt x="870" y="2546"/>
                  </a:lnTo>
                  <a:lnTo>
                    <a:pt x="872" y="2550"/>
                  </a:lnTo>
                  <a:lnTo>
                    <a:pt x="872" y="2556"/>
                  </a:lnTo>
                  <a:lnTo>
                    <a:pt x="872" y="2560"/>
                  </a:lnTo>
                  <a:lnTo>
                    <a:pt x="874" y="2562"/>
                  </a:lnTo>
                  <a:lnTo>
                    <a:pt x="882" y="2564"/>
                  </a:lnTo>
                  <a:lnTo>
                    <a:pt x="890" y="2566"/>
                  </a:lnTo>
                  <a:lnTo>
                    <a:pt x="894" y="2570"/>
                  </a:lnTo>
                  <a:lnTo>
                    <a:pt x="898" y="2576"/>
                  </a:lnTo>
                  <a:lnTo>
                    <a:pt x="902" y="2584"/>
                  </a:lnTo>
                  <a:lnTo>
                    <a:pt x="906" y="2586"/>
                  </a:lnTo>
                  <a:lnTo>
                    <a:pt x="910" y="2588"/>
                  </a:lnTo>
                  <a:lnTo>
                    <a:pt x="920" y="2598"/>
                  </a:lnTo>
                  <a:lnTo>
                    <a:pt x="932" y="2612"/>
                  </a:lnTo>
                  <a:lnTo>
                    <a:pt x="944" y="2620"/>
                  </a:lnTo>
                  <a:lnTo>
                    <a:pt x="956" y="2624"/>
                  </a:lnTo>
                  <a:lnTo>
                    <a:pt x="970" y="2624"/>
                  </a:lnTo>
                  <a:lnTo>
                    <a:pt x="974" y="2626"/>
                  </a:lnTo>
                  <a:lnTo>
                    <a:pt x="978" y="2628"/>
                  </a:lnTo>
                  <a:lnTo>
                    <a:pt x="982" y="2638"/>
                  </a:lnTo>
                  <a:lnTo>
                    <a:pt x="988" y="2646"/>
                  </a:lnTo>
                  <a:lnTo>
                    <a:pt x="990" y="2650"/>
                  </a:lnTo>
                  <a:lnTo>
                    <a:pt x="996" y="2650"/>
                  </a:lnTo>
                  <a:lnTo>
                    <a:pt x="1002" y="2650"/>
                  </a:lnTo>
                  <a:lnTo>
                    <a:pt x="1004" y="2650"/>
                  </a:lnTo>
                  <a:lnTo>
                    <a:pt x="1004" y="2656"/>
                  </a:lnTo>
                  <a:lnTo>
                    <a:pt x="1002" y="2658"/>
                  </a:lnTo>
                  <a:lnTo>
                    <a:pt x="1004" y="2658"/>
                  </a:lnTo>
                  <a:lnTo>
                    <a:pt x="1006" y="2660"/>
                  </a:lnTo>
                  <a:lnTo>
                    <a:pt x="1012" y="2658"/>
                  </a:lnTo>
                  <a:lnTo>
                    <a:pt x="1018" y="2658"/>
                  </a:lnTo>
                  <a:lnTo>
                    <a:pt x="1020" y="2660"/>
                  </a:lnTo>
                  <a:lnTo>
                    <a:pt x="1022" y="2662"/>
                  </a:lnTo>
                  <a:lnTo>
                    <a:pt x="1022" y="2666"/>
                  </a:lnTo>
                  <a:lnTo>
                    <a:pt x="1022" y="2674"/>
                  </a:lnTo>
                  <a:lnTo>
                    <a:pt x="1024" y="2680"/>
                  </a:lnTo>
                  <a:lnTo>
                    <a:pt x="1030" y="2684"/>
                  </a:lnTo>
                  <a:lnTo>
                    <a:pt x="1040" y="2690"/>
                  </a:lnTo>
                  <a:lnTo>
                    <a:pt x="1050" y="2694"/>
                  </a:lnTo>
                  <a:lnTo>
                    <a:pt x="1054" y="2698"/>
                  </a:lnTo>
                  <a:lnTo>
                    <a:pt x="1058" y="2702"/>
                  </a:lnTo>
                  <a:lnTo>
                    <a:pt x="1062" y="2710"/>
                  </a:lnTo>
                  <a:lnTo>
                    <a:pt x="1066" y="2720"/>
                  </a:lnTo>
                  <a:lnTo>
                    <a:pt x="1070" y="2740"/>
                  </a:lnTo>
                  <a:lnTo>
                    <a:pt x="1072" y="2752"/>
                  </a:lnTo>
                  <a:lnTo>
                    <a:pt x="1072" y="2758"/>
                  </a:lnTo>
                  <a:lnTo>
                    <a:pt x="1066" y="2762"/>
                  </a:lnTo>
                  <a:lnTo>
                    <a:pt x="1064" y="2768"/>
                  </a:lnTo>
                  <a:lnTo>
                    <a:pt x="1064" y="2772"/>
                  </a:lnTo>
                  <a:lnTo>
                    <a:pt x="1062" y="2776"/>
                  </a:lnTo>
                  <a:lnTo>
                    <a:pt x="1060" y="2784"/>
                  </a:lnTo>
                  <a:lnTo>
                    <a:pt x="1054" y="2790"/>
                  </a:lnTo>
                  <a:lnTo>
                    <a:pt x="1052" y="2796"/>
                  </a:lnTo>
                  <a:lnTo>
                    <a:pt x="1054" y="2802"/>
                  </a:lnTo>
                  <a:lnTo>
                    <a:pt x="1058" y="2806"/>
                  </a:lnTo>
                  <a:lnTo>
                    <a:pt x="1064" y="2808"/>
                  </a:lnTo>
                  <a:lnTo>
                    <a:pt x="1068" y="2808"/>
                  </a:lnTo>
                  <a:lnTo>
                    <a:pt x="1070" y="2806"/>
                  </a:lnTo>
                  <a:lnTo>
                    <a:pt x="1072" y="2804"/>
                  </a:lnTo>
                  <a:lnTo>
                    <a:pt x="1076" y="2794"/>
                  </a:lnTo>
                  <a:lnTo>
                    <a:pt x="1084" y="2784"/>
                  </a:lnTo>
                  <a:lnTo>
                    <a:pt x="1088" y="2780"/>
                  </a:lnTo>
                  <a:lnTo>
                    <a:pt x="1090" y="2776"/>
                  </a:lnTo>
                  <a:lnTo>
                    <a:pt x="1092" y="2768"/>
                  </a:lnTo>
                  <a:lnTo>
                    <a:pt x="1096" y="2760"/>
                  </a:lnTo>
                  <a:lnTo>
                    <a:pt x="1098" y="2756"/>
                  </a:lnTo>
                  <a:lnTo>
                    <a:pt x="1104" y="2752"/>
                  </a:lnTo>
                  <a:lnTo>
                    <a:pt x="1110" y="2748"/>
                  </a:lnTo>
                  <a:lnTo>
                    <a:pt x="1114" y="2742"/>
                  </a:lnTo>
                  <a:lnTo>
                    <a:pt x="1116" y="2738"/>
                  </a:lnTo>
                  <a:lnTo>
                    <a:pt x="1114" y="2732"/>
                  </a:lnTo>
                  <a:lnTo>
                    <a:pt x="1112" y="2726"/>
                  </a:lnTo>
                  <a:lnTo>
                    <a:pt x="1108" y="2722"/>
                  </a:lnTo>
                  <a:lnTo>
                    <a:pt x="1104" y="2718"/>
                  </a:lnTo>
                  <a:lnTo>
                    <a:pt x="1098" y="2716"/>
                  </a:lnTo>
                  <a:lnTo>
                    <a:pt x="1090" y="2712"/>
                  </a:lnTo>
                  <a:lnTo>
                    <a:pt x="1086" y="2708"/>
                  </a:lnTo>
                  <a:lnTo>
                    <a:pt x="1086" y="2704"/>
                  </a:lnTo>
                  <a:lnTo>
                    <a:pt x="1090" y="2698"/>
                  </a:lnTo>
                  <a:lnTo>
                    <a:pt x="1092" y="2692"/>
                  </a:lnTo>
                  <a:lnTo>
                    <a:pt x="1094" y="2684"/>
                  </a:lnTo>
                  <a:lnTo>
                    <a:pt x="1096" y="2676"/>
                  </a:lnTo>
                  <a:lnTo>
                    <a:pt x="1100" y="2672"/>
                  </a:lnTo>
                  <a:lnTo>
                    <a:pt x="1104" y="2670"/>
                  </a:lnTo>
                  <a:lnTo>
                    <a:pt x="1112" y="2666"/>
                  </a:lnTo>
                  <a:lnTo>
                    <a:pt x="1116" y="2668"/>
                  </a:lnTo>
                  <a:lnTo>
                    <a:pt x="1124" y="2670"/>
                  </a:lnTo>
                  <a:lnTo>
                    <a:pt x="1134" y="2672"/>
                  </a:lnTo>
                  <a:lnTo>
                    <a:pt x="1140" y="2674"/>
                  </a:lnTo>
                  <a:lnTo>
                    <a:pt x="1144" y="2678"/>
                  </a:lnTo>
                  <a:lnTo>
                    <a:pt x="1148" y="2688"/>
                  </a:lnTo>
                  <a:lnTo>
                    <a:pt x="1150" y="2696"/>
                  </a:lnTo>
                  <a:lnTo>
                    <a:pt x="1154" y="2700"/>
                  </a:lnTo>
                  <a:lnTo>
                    <a:pt x="1158" y="2702"/>
                  </a:lnTo>
                  <a:lnTo>
                    <a:pt x="1166" y="2702"/>
                  </a:lnTo>
                  <a:lnTo>
                    <a:pt x="1166" y="2700"/>
                  </a:lnTo>
                  <a:lnTo>
                    <a:pt x="1166" y="2696"/>
                  </a:lnTo>
                  <a:lnTo>
                    <a:pt x="1168" y="2688"/>
                  </a:lnTo>
                  <a:lnTo>
                    <a:pt x="1168" y="2684"/>
                  </a:lnTo>
                  <a:lnTo>
                    <a:pt x="1168" y="2678"/>
                  </a:lnTo>
                  <a:lnTo>
                    <a:pt x="1166" y="2674"/>
                  </a:lnTo>
                  <a:lnTo>
                    <a:pt x="1162" y="2670"/>
                  </a:lnTo>
                  <a:lnTo>
                    <a:pt x="1152" y="2662"/>
                  </a:lnTo>
                  <a:lnTo>
                    <a:pt x="1142" y="2654"/>
                  </a:lnTo>
                  <a:lnTo>
                    <a:pt x="1126" y="2646"/>
                  </a:lnTo>
                  <a:lnTo>
                    <a:pt x="1120" y="2642"/>
                  </a:lnTo>
                  <a:lnTo>
                    <a:pt x="1114" y="2636"/>
                  </a:lnTo>
                  <a:lnTo>
                    <a:pt x="1110" y="2632"/>
                  </a:lnTo>
                  <a:lnTo>
                    <a:pt x="1102" y="2628"/>
                  </a:lnTo>
                  <a:lnTo>
                    <a:pt x="1082" y="2620"/>
                  </a:lnTo>
                  <a:lnTo>
                    <a:pt x="1074" y="2616"/>
                  </a:lnTo>
                  <a:lnTo>
                    <a:pt x="1068" y="2610"/>
                  </a:lnTo>
                  <a:lnTo>
                    <a:pt x="1066" y="2606"/>
                  </a:lnTo>
                  <a:lnTo>
                    <a:pt x="1066" y="2602"/>
                  </a:lnTo>
                  <a:lnTo>
                    <a:pt x="1070" y="2600"/>
                  </a:lnTo>
                  <a:lnTo>
                    <a:pt x="1074" y="2594"/>
                  </a:lnTo>
                  <a:lnTo>
                    <a:pt x="1076" y="2592"/>
                  </a:lnTo>
                  <a:lnTo>
                    <a:pt x="1074" y="2590"/>
                  </a:lnTo>
                  <a:lnTo>
                    <a:pt x="1068" y="2588"/>
                  </a:lnTo>
                  <a:lnTo>
                    <a:pt x="1060" y="2586"/>
                  </a:lnTo>
                  <a:lnTo>
                    <a:pt x="1036" y="2584"/>
                  </a:lnTo>
                  <a:lnTo>
                    <a:pt x="1026" y="2580"/>
                  </a:lnTo>
                  <a:lnTo>
                    <a:pt x="1016" y="2576"/>
                  </a:lnTo>
                  <a:lnTo>
                    <a:pt x="1002" y="2560"/>
                  </a:lnTo>
                  <a:lnTo>
                    <a:pt x="990" y="2544"/>
                  </a:lnTo>
                  <a:lnTo>
                    <a:pt x="984" y="2530"/>
                  </a:lnTo>
                  <a:lnTo>
                    <a:pt x="978" y="2518"/>
                  </a:lnTo>
                  <a:lnTo>
                    <a:pt x="974" y="2498"/>
                  </a:lnTo>
                  <a:lnTo>
                    <a:pt x="970" y="2492"/>
                  </a:lnTo>
                  <a:lnTo>
                    <a:pt x="966" y="2490"/>
                  </a:lnTo>
                  <a:lnTo>
                    <a:pt x="958" y="2488"/>
                  </a:lnTo>
                  <a:lnTo>
                    <a:pt x="950" y="2484"/>
                  </a:lnTo>
                  <a:lnTo>
                    <a:pt x="944" y="2476"/>
                  </a:lnTo>
                  <a:lnTo>
                    <a:pt x="934" y="2468"/>
                  </a:lnTo>
                  <a:lnTo>
                    <a:pt x="928" y="2462"/>
                  </a:lnTo>
                  <a:lnTo>
                    <a:pt x="922" y="2456"/>
                  </a:lnTo>
                  <a:lnTo>
                    <a:pt x="920" y="2448"/>
                  </a:lnTo>
                  <a:lnTo>
                    <a:pt x="918" y="2442"/>
                  </a:lnTo>
                  <a:lnTo>
                    <a:pt x="916" y="2434"/>
                  </a:lnTo>
                  <a:lnTo>
                    <a:pt x="918" y="2428"/>
                  </a:lnTo>
                  <a:lnTo>
                    <a:pt x="920" y="2424"/>
                  </a:lnTo>
                  <a:lnTo>
                    <a:pt x="922" y="2422"/>
                  </a:lnTo>
                  <a:lnTo>
                    <a:pt x="926" y="2420"/>
                  </a:lnTo>
                  <a:lnTo>
                    <a:pt x="928" y="2418"/>
                  </a:lnTo>
                  <a:lnTo>
                    <a:pt x="926" y="2414"/>
                  </a:lnTo>
                  <a:lnTo>
                    <a:pt x="918" y="2400"/>
                  </a:lnTo>
                  <a:lnTo>
                    <a:pt x="914" y="2394"/>
                  </a:lnTo>
                  <a:lnTo>
                    <a:pt x="916" y="2388"/>
                  </a:lnTo>
                  <a:lnTo>
                    <a:pt x="920" y="2384"/>
                  </a:lnTo>
                  <a:lnTo>
                    <a:pt x="924" y="2386"/>
                  </a:lnTo>
                  <a:lnTo>
                    <a:pt x="926" y="2388"/>
                  </a:lnTo>
                  <a:lnTo>
                    <a:pt x="930" y="2388"/>
                  </a:lnTo>
                  <a:lnTo>
                    <a:pt x="934" y="2384"/>
                  </a:lnTo>
                  <a:lnTo>
                    <a:pt x="940" y="2378"/>
                  </a:lnTo>
                  <a:lnTo>
                    <a:pt x="950" y="2372"/>
                  </a:lnTo>
                  <a:lnTo>
                    <a:pt x="956" y="2370"/>
                  </a:lnTo>
                  <a:lnTo>
                    <a:pt x="958" y="2372"/>
                  </a:lnTo>
                  <a:lnTo>
                    <a:pt x="960" y="2374"/>
                  </a:lnTo>
                  <a:lnTo>
                    <a:pt x="966" y="2374"/>
                  </a:lnTo>
                  <a:lnTo>
                    <a:pt x="972" y="2372"/>
                  </a:lnTo>
                  <a:lnTo>
                    <a:pt x="974" y="2374"/>
                  </a:lnTo>
                  <a:lnTo>
                    <a:pt x="974" y="2378"/>
                  </a:lnTo>
                  <a:lnTo>
                    <a:pt x="974" y="2380"/>
                  </a:lnTo>
                  <a:lnTo>
                    <a:pt x="972" y="2382"/>
                  </a:lnTo>
                  <a:lnTo>
                    <a:pt x="970" y="2382"/>
                  </a:lnTo>
                  <a:lnTo>
                    <a:pt x="968" y="2384"/>
                  </a:lnTo>
                  <a:lnTo>
                    <a:pt x="968" y="2386"/>
                  </a:lnTo>
                  <a:lnTo>
                    <a:pt x="970" y="2398"/>
                  </a:lnTo>
                  <a:lnTo>
                    <a:pt x="976" y="2414"/>
                  </a:lnTo>
                  <a:lnTo>
                    <a:pt x="982" y="2426"/>
                  </a:lnTo>
                  <a:lnTo>
                    <a:pt x="986" y="2428"/>
                  </a:lnTo>
                  <a:lnTo>
                    <a:pt x="988" y="2424"/>
                  </a:lnTo>
                  <a:lnTo>
                    <a:pt x="994" y="2402"/>
                  </a:lnTo>
                  <a:lnTo>
                    <a:pt x="996" y="2398"/>
                  </a:lnTo>
                  <a:lnTo>
                    <a:pt x="1000" y="2394"/>
                  </a:lnTo>
                  <a:lnTo>
                    <a:pt x="1004" y="2394"/>
                  </a:lnTo>
                  <a:lnTo>
                    <a:pt x="1008" y="2398"/>
                  </a:lnTo>
                  <a:lnTo>
                    <a:pt x="1016" y="2404"/>
                  </a:lnTo>
                  <a:lnTo>
                    <a:pt x="1020" y="2410"/>
                  </a:lnTo>
                  <a:lnTo>
                    <a:pt x="1022" y="2414"/>
                  </a:lnTo>
                  <a:lnTo>
                    <a:pt x="1022" y="2420"/>
                  </a:lnTo>
                  <a:lnTo>
                    <a:pt x="1024" y="2428"/>
                  </a:lnTo>
                  <a:lnTo>
                    <a:pt x="1026" y="2434"/>
                  </a:lnTo>
                  <a:lnTo>
                    <a:pt x="1030" y="2440"/>
                  </a:lnTo>
                  <a:lnTo>
                    <a:pt x="1034" y="2446"/>
                  </a:lnTo>
                  <a:lnTo>
                    <a:pt x="1036" y="2450"/>
                  </a:lnTo>
                  <a:lnTo>
                    <a:pt x="1036" y="2452"/>
                  </a:lnTo>
                  <a:lnTo>
                    <a:pt x="1034" y="2454"/>
                  </a:lnTo>
                  <a:lnTo>
                    <a:pt x="1034" y="2456"/>
                  </a:lnTo>
                  <a:lnTo>
                    <a:pt x="1034" y="2460"/>
                  </a:lnTo>
                  <a:lnTo>
                    <a:pt x="1038" y="2464"/>
                  </a:lnTo>
                  <a:lnTo>
                    <a:pt x="1046" y="2472"/>
                  </a:lnTo>
                  <a:lnTo>
                    <a:pt x="1056" y="2480"/>
                  </a:lnTo>
                  <a:lnTo>
                    <a:pt x="1062" y="2486"/>
                  </a:lnTo>
                  <a:lnTo>
                    <a:pt x="1066" y="2494"/>
                  </a:lnTo>
                  <a:lnTo>
                    <a:pt x="1066" y="2496"/>
                  </a:lnTo>
                  <a:lnTo>
                    <a:pt x="1068" y="2496"/>
                  </a:lnTo>
                  <a:lnTo>
                    <a:pt x="1076" y="2496"/>
                  </a:lnTo>
                  <a:lnTo>
                    <a:pt x="1084" y="2496"/>
                  </a:lnTo>
                  <a:lnTo>
                    <a:pt x="1090" y="2498"/>
                  </a:lnTo>
                  <a:lnTo>
                    <a:pt x="1102" y="2504"/>
                  </a:lnTo>
                  <a:lnTo>
                    <a:pt x="1114" y="2516"/>
                  </a:lnTo>
                  <a:lnTo>
                    <a:pt x="1128" y="2528"/>
                  </a:lnTo>
                  <a:lnTo>
                    <a:pt x="1114" y="2524"/>
                  </a:lnTo>
                  <a:lnTo>
                    <a:pt x="1110" y="2524"/>
                  </a:lnTo>
                  <a:lnTo>
                    <a:pt x="1110" y="2526"/>
                  </a:lnTo>
                  <a:lnTo>
                    <a:pt x="1116" y="2530"/>
                  </a:lnTo>
                  <a:lnTo>
                    <a:pt x="1134" y="2536"/>
                  </a:lnTo>
                  <a:lnTo>
                    <a:pt x="1144" y="2540"/>
                  </a:lnTo>
                  <a:lnTo>
                    <a:pt x="1152" y="2544"/>
                  </a:lnTo>
                  <a:lnTo>
                    <a:pt x="1160" y="2552"/>
                  </a:lnTo>
                  <a:lnTo>
                    <a:pt x="1162" y="2558"/>
                  </a:lnTo>
                  <a:lnTo>
                    <a:pt x="1164" y="2560"/>
                  </a:lnTo>
                  <a:lnTo>
                    <a:pt x="1166" y="2560"/>
                  </a:lnTo>
                  <a:lnTo>
                    <a:pt x="1174" y="2560"/>
                  </a:lnTo>
                  <a:lnTo>
                    <a:pt x="1176" y="2562"/>
                  </a:lnTo>
                  <a:lnTo>
                    <a:pt x="1184" y="2566"/>
                  </a:lnTo>
                  <a:lnTo>
                    <a:pt x="1188" y="2568"/>
                  </a:lnTo>
                  <a:lnTo>
                    <a:pt x="1190" y="2574"/>
                  </a:lnTo>
                  <a:lnTo>
                    <a:pt x="1190" y="2582"/>
                  </a:lnTo>
                  <a:lnTo>
                    <a:pt x="1192" y="2584"/>
                  </a:lnTo>
                  <a:lnTo>
                    <a:pt x="1196" y="2586"/>
                  </a:lnTo>
                  <a:lnTo>
                    <a:pt x="1204" y="2588"/>
                  </a:lnTo>
                  <a:lnTo>
                    <a:pt x="1208" y="2590"/>
                  </a:lnTo>
                  <a:lnTo>
                    <a:pt x="1208" y="2596"/>
                  </a:lnTo>
                  <a:lnTo>
                    <a:pt x="1208" y="2610"/>
                  </a:lnTo>
                  <a:lnTo>
                    <a:pt x="1206" y="2626"/>
                  </a:lnTo>
                  <a:lnTo>
                    <a:pt x="1206" y="2632"/>
                  </a:lnTo>
                  <a:lnTo>
                    <a:pt x="1206" y="2636"/>
                  </a:lnTo>
                  <a:lnTo>
                    <a:pt x="1206" y="2638"/>
                  </a:lnTo>
                  <a:lnTo>
                    <a:pt x="1206" y="2640"/>
                  </a:lnTo>
                  <a:lnTo>
                    <a:pt x="1204" y="2646"/>
                  </a:lnTo>
                  <a:lnTo>
                    <a:pt x="1200" y="2652"/>
                  </a:lnTo>
                  <a:lnTo>
                    <a:pt x="1200" y="2656"/>
                  </a:lnTo>
                  <a:lnTo>
                    <a:pt x="1202" y="2662"/>
                  </a:lnTo>
                  <a:lnTo>
                    <a:pt x="1202" y="2666"/>
                  </a:lnTo>
                  <a:lnTo>
                    <a:pt x="1202" y="2670"/>
                  </a:lnTo>
                  <a:lnTo>
                    <a:pt x="1202" y="2672"/>
                  </a:lnTo>
                  <a:lnTo>
                    <a:pt x="1200" y="2674"/>
                  </a:lnTo>
                  <a:lnTo>
                    <a:pt x="1202" y="2674"/>
                  </a:lnTo>
                  <a:lnTo>
                    <a:pt x="1208" y="2680"/>
                  </a:lnTo>
                  <a:lnTo>
                    <a:pt x="1216" y="2686"/>
                  </a:lnTo>
                  <a:lnTo>
                    <a:pt x="1222" y="2690"/>
                  </a:lnTo>
                  <a:lnTo>
                    <a:pt x="1224" y="2696"/>
                  </a:lnTo>
                  <a:lnTo>
                    <a:pt x="1224" y="2700"/>
                  </a:lnTo>
                  <a:lnTo>
                    <a:pt x="1226" y="2706"/>
                  </a:lnTo>
                  <a:lnTo>
                    <a:pt x="1228" y="2708"/>
                  </a:lnTo>
                  <a:lnTo>
                    <a:pt x="1230" y="2710"/>
                  </a:lnTo>
                  <a:lnTo>
                    <a:pt x="1240" y="2726"/>
                  </a:lnTo>
                  <a:lnTo>
                    <a:pt x="1246" y="2736"/>
                  </a:lnTo>
                  <a:lnTo>
                    <a:pt x="1250" y="2740"/>
                  </a:lnTo>
                  <a:lnTo>
                    <a:pt x="1254" y="2744"/>
                  </a:lnTo>
                  <a:lnTo>
                    <a:pt x="1258" y="2748"/>
                  </a:lnTo>
                  <a:lnTo>
                    <a:pt x="1260" y="2748"/>
                  </a:lnTo>
                  <a:lnTo>
                    <a:pt x="1260" y="2746"/>
                  </a:lnTo>
                  <a:lnTo>
                    <a:pt x="1262" y="2746"/>
                  </a:lnTo>
                  <a:lnTo>
                    <a:pt x="1266" y="2746"/>
                  </a:lnTo>
                  <a:lnTo>
                    <a:pt x="1272" y="2750"/>
                  </a:lnTo>
                  <a:lnTo>
                    <a:pt x="1274" y="2752"/>
                  </a:lnTo>
                  <a:lnTo>
                    <a:pt x="1266" y="2754"/>
                  </a:lnTo>
                  <a:lnTo>
                    <a:pt x="1258" y="2754"/>
                  </a:lnTo>
                  <a:lnTo>
                    <a:pt x="1258" y="2758"/>
                  </a:lnTo>
                  <a:lnTo>
                    <a:pt x="1260" y="2762"/>
                  </a:lnTo>
                  <a:lnTo>
                    <a:pt x="1268" y="2772"/>
                  </a:lnTo>
                  <a:lnTo>
                    <a:pt x="1272" y="2780"/>
                  </a:lnTo>
                  <a:lnTo>
                    <a:pt x="1274" y="2786"/>
                  </a:lnTo>
                  <a:lnTo>
                    <a:pt x="1276" y="2786"/>
                  </a:lnTo>
                  <a:lnTo>
                    <a:pt x="1280" y="2784"/>
                  </a:lnTo>
                  <a:lnTo>
                    <a:pt x="1284" y="2780"/>
                  </a:lnTo>
                  <a:lnTo>
                    <a:pt x="1286" y="2782"/>
                  </a:lnTo>
                  <a:lnTo>
                    <a:pt x="1290" y="2782"/>
                  </a:lnTo>
                  <a:lnTo>
                    <a:pt x="1300" y="2782"/>
                  </a:lnTo>
                  <a:lnTo>
                    <a:pt x="1312" y="2780"/>
                  </a:lnTo>
                  <a:lnTo>
                    <a:pt x="1316" y="2782"/>
                  </a:lnTo>
                  <a:lnTo>
                    <a:pt x="1318" y="2784"/>
                  </a:lnTo>
                  <a:lnTo>
                    <a:pt x="1324" y="2784"/>
                  </a:lnTo>
                  <a:lnTo>
                    <a:pt x="1330" y="2782"/>
                  </a:lnTo>
                  <a:lnTo>
                    <a:pt x="1336" y="2786"/>
                  </a:lnTo>
                  <a:lnTo>
                    <a:pt x="1342" y="2790"/>
                  </a:lnTo>
                  <a:lnTo>
                    <a:pt x="1348" y="2790"/>
                  </a:lnTo>
                  <a:lnTo>
                    <a:pt x="1354" y="2790"/>
                  </a:lnTo>
                  <a:lnTo>
                    <a:pt x="1358" y="2792"/>
                  </a:lnTo>
                  <a:lnTo>
                    <a:pt x="1358" y="2794"/>
                  </a:lnTo>
                  <a:lnTo>
                    <a:pt x="1358" y="2796"/>
                  </a:lnTo>
                  <a:lnTo>
                    <a:pt x="1350" y="2800"/>
                  </a:lnTo>
                  <a:lnTo>
                    <a:pt x="1342" y="2802"/>
                  </a:lnTo>
                  <a:lnTo>
                    <a:pt x="1336" y="2800"/>
                  </a:lnTo>
                  <a:lnTo>
                    <a:pt x="1322" y="2792"/>
                  </a:lnTo>
                  <a:lnTo>
                    <a:pt x="1312" y="2788"/>
                  </a:lnTo>
                  <a:lnTo>
                    <a:pt x="1306" y="2786"/>
                  </a:lnTo>
                  <a:lnTo>
                    <a:pt x="1302" y="2786"/>
                  </a:lnTo>
                  <a:lnTo>
                    <a:pt x="1298" y="2792"/>
                  </a:lnTo>
                  <a:lnTo>
                    <a:pt x="1296" y="2794"/>
                  </a:lnTo>
                  <a:lnTo>
                    <a:pt x="1292" y="2794"/>
                  </a:lnTo>
                  <a:lnTo>
                    <a:pt x="1288" y="2792"/>
                  </a:lnTo>
                  <a:lnTo>
                    <a:pt x="1282" y="2792"/>
                  </a:lnTo>
                  <a:lnTo>
                    <a:pt x="1282" y="2794"/>
                  </a:lnTo>
                  <a:lnTo>
                    <a:pt x="1280" y="2798"/>
                  </a:lnTo>
                  <a:lnTo>
                    <a:pt x="1280" y="2802"/>
                  </a:lnTo>
                  <a:lnTo>
                    <a:pt x="1278" y="2804"/>
                  </a:lnTo>
                  <a:lnTo>
                    <a:pt x="1274" y="2808"/>
                  </a:lnTo>
                  <a:lnTo>
                    <a:pt x="1272" y="2808"/>
                  </a:lnTo>
                  <a:lnTo>
                    <a:pt x="1276" y="2812"/>
                  </a:lnTo>
                  <a:lnTo>
                    <a:pt x="1280" y="2816"/>
                  </a:lnTo>
                  <a:lnTo>
                    <a:pt x="1280" y="2820"/>
                  </a:lnTo>
                  <a:lnTo>
                    <a:pt x="1280" y="2824"/>
                  </a:lnTo>
                  <a:lnTo>
                    <a:pt x="1286" y="2824"/>
                  </a:lnTo>
                  <a:lnTo>
                    <a:pt x="1288" y="2824"/>
                  </a:lnTo>
                  <a:lnTo>
                    <a:pt x="1292" y="2826"/>
                  </a:lnTo>
                  <a:lnTo>
                    <a:pt x="1294" y="2832"/>
                  </a:lnTo>
                  <a:lnTo>
                    <a:pt x="1294" y="2838"/>
                  </a:lnTo>
                  <a:lnTo>
                    <a:pt x="1292" y="2844"/>
                  </a:lnTo>
                  <a:lnTo>
                    <a:pt x="1292" y="2848"/>
                  </a:lnTo>
                  <a:lnTo>
                    <a:pt x="1292" y="2854"/>
                  </a:lnTo>
                  <a:lnTo>
                    <a:pt x="1298" y="2864"/>
                  </a:lnTo>
                  <a:lnTo>
                    <a:pt x="1300" y="2866"/>
                  </a:lnTo>
                  <a:lnTo>
                    <a:pt x="1304" y="2868"/>
                  </a:lnTo>
                  <a:lnTo>
                    <a:pt x="1306" y="2866"/>
                  </a:lnTo>
                  <a:lnTo>
                    <a:pt x="1308" y="2862"/>
                  </a:lnTo>
                  <a:lnTo>
                    <a:pt x="1308" y="2856"/>
                  </a:lnTo>
                  <a:lnTo>
                    <a:pt x="1310" y="2854"/>
                  </a:lnTo>
                  <a:lnTo>
                    <a:pt x="1314" y="2854"/>
                  </a:lnTo>
                  <a:lnTo>
                    <a:pt x="1316" y="2856"/>
                  </a:lnTo>
                  <a:lnTo>
                    <a:pt x="1320" y="2866"/>
                  </a:lnTo>
                  <a:lnTo>
                    <a:pt x="1322" y="2880"/>
                  </a:lnTo>
                  <a:lnTo>
                    <a:pt x="1324" y="2888"/>
                  </a:lnTo>
                  <a:lnTo>
                    <a:pt x="1326" y="2888"/>
                  </a:lnTo>
                  <a:lnTo>
                    <a:pt x="1328" y="2888"/>
                  </a:lnTo>
                  <a:lnTo>
                    <a:pt x="1330" y="2882"/>
                  </a:lnTo>
                  <a:lnTo>
                    <a:pt x="1332" y="2874"/>
                  </a:lnTo>
                  <a:lnTo>
                    <a:pt x="1334" y="2866"/>
                  </a:lnTo>
                  <a:lnTo>
                    <a:pt x="1336" y="2866"/>
                  </a:lnTo>
                  <a:lnTo>
                    <a:pt x="1338" y="2868"/>
                  </a:lnTo>
                  <a:lnTo>
                    <a:pt x="1342" y="2872"/>
                  </a:lnTo>
                  <a:lnTo>
                    <a:pt x="1348" y="2882"/>
                  </a:lnTo>
                  <a:lnTo>
                    <a:pt x="1350" y="2886"/>
                  </a:lnTo>
                  <a:lnTo>
                    <a:pt x="1354" y="2888"/>
                  </a:lnTo>
                  <a:lnTo>
                    <a:pt x="1356" y="2886"/>
                  </a:lnTo>
                  <a:lnTo>
                    <a:pt x="1356" y="2884"/>
                  </a:lnTo>
                  <a:lnTo>
                    <a:pt x="1356" y="2876"/>
                  </a:lnTo>
                  <a:lnTo>
                    <a:pt x="1348" y="2854"/>
                  </a:lnTo>
                  <a:lnTo>
                    <a:pt x="1340" y="2834"/>
                  </a:lnTo>
                  <a:lnTo>
                    <a:pt x="1338" y="2828"/>
                  </a:lnTo>
                  <a:lnTo>
                    <a:pt x="1338" y="2826"/>
                  </a:lnTo>
                  <a:lnTo>
                    <a:pt x="1340" y="2824"/>
                  </a:lnTo>
                  <a:lnTo>
                    <a:pt x="1346" y="2826"/>
                  </a:lnTo>
                  <a:lnTo>
                    <a:pt x="1350" y="2828"/>
                  </a:lnTo>
                  <a:lnTo>
                    <a:pt x="1352" y="2832"/>
                  </a:lnTo>
                  <a:lnTo>
                    <a:pt x="1354" y="2838"/>
                  </a:lnTo>
                  <a:lnTo>
                    <a:pt x="1356" y="2840"/>
                  </a:lnTo>
                  <a:lnTo>
                    <a:pt x="1358" y="2840"/>
                  </a:lnTo>
                  <a:lnTo>
                    <a:pt x="1368" y="2836"/>
                  </a:lnTo>
                  <a:lnTo>
                    <a:pt x="1370" y="2834"/>
                  </a:lnTo>
                  <a:lnTo>
                    <a:pt x="1372" y="2832"/>
                  </a:lnTo>
                  <a:lnTo>
                    <a:pt x="1370" y="2828"/>
                  </a:lnTo>
                  <a:lnTo>
                    <a:pt x="1366" y="2824"/>
                  </a:lnTo>
                  <a:lnTo>
                    <a:pt x="1360" y="2822"/>
                  </a:lnTo>
                  <a:lnTo>
                    <a:pt x="1356" y="2822"/>
                  </a:lnTo>
                  <a:lnTo>
                    <a:pt x="1356" y="2820"/>
                  </a:lnTo>
                  <a:lnTo>
                    <a:pt x="1356" y="2816"/>
                  </a:lnTo>
                  <a:lnTo>
                    <a:pt x="1354" y="2812"/>
                  </a:lnTo>
                  <a:lnTo>
                    <a:pt x="1352" y="2810"/>
                  </a:lnTo>
                  <a:lnTo>
                    <a:pt x="1354" y="2808"/>
                  </a:lnTo>
                  <a:lnTo>
                    <a:pt x="1360" y="2802"/>
                  </a:lnTo>
                  <a:lnTo>
                    <a:pt x="1368" y="2800"/>
                  </a:lnTo>
                  <a:lnTo>
                    <a:pt x="1370" y="2800"/>
                  </a:lnTo>
                  <a:lnTo>
                    <a:pt x="1374" y="2802"/>
                  </a:lnTo>
                  <a:lnTo>
                    <a:pt x="1382" y="2816"/>
                  </a:lnTo>
                  <a:lnTo>
                    <a:pt x="1388" y="2820"/>
                  </a:lnTo>
                  <a:lnTo>
                    <a:pt x="1390" y="2820"/>
                  </a:lnTo>
                  <a:lnTo>
                    <a:pt x="1392" y="2820"/>
                  </a:lnTo>
                  <a:lnTo>
                    <a:pt x="1394" y="2818"/>
                  </a:lnTo>
                  <a:lnTo>
                    <a:pt x="1394" y="2816"/>
                  </a:lnTo>
                  <a:lnTo>
                    <a:pt x="1394" y="2810"/>
                  </a:lnTo>
                  <a:lnTo>
                    <a:pt x="1392" y="2804"/>
                  </a:lnTo>
                  <a:lnTo>
                    <a:pt x="1392" y="2796"/>
                  </a:lnTo>
                  <a:lnTo>
                    <a:pt x="1392" y="2794"/>
                  </a:lnTo>
                  <a:lnTo>
                    <a:pt x="1390" y="2790"/>
                  </a:lnTo>
                  <a:lnTo>
                    <a:pt x="1386" y="2788"/>
                  </a:lnTo>
                  <a:lnTo>
                    <a:pt x="1378" y="2784"/>
                  </a:lnTo>
                  <a:lnTo>
                    <a:pt x="1376" y="2782"/>
                  </a:lnTo>
                  <a:lnTo>
                    <a:pt x="1374" y="2780"/>
                  </a:lnTo>
                  <a:lnTo>
                    <a:pt x="1370" y="2774"/>
                  </a:lnTo>
                  <a:lnTo>
                    <a:pt x="1366" y="2774"/>
                  </a:lnTo>
                  <a:lnTo>
                    <a:pt x="1364" y="2772"/>
                  </a:lnTo>
                  <a:lnTo>
                    <a:pt x="1360" y="2768"/>
                  </a:lnTo>
                  <a:lnTo>
                    <a:pt x="1358" y="2764"/>
                  </a:lnTo>
                  <a:lnTo>
                    <a:pt x="1352" y="2762"/>
                  </a:lnTo>
                  <a:lnTo>
                    <a:pt x="1340" y="2758"/>
                  </a:lnTo>
                  <a:lnTo>
                    <a:pt x="1332" y="2754"/>
                  </a:lnTo>
                  <a:lnTo>
                    <a:pt x="1332" y="2752"/>
                  </a:lnTo>
                  <a:lnTo>
                    <a:pt x="1338" y="2752"/>
                  </a:lnTo>
                  <a:lnTo>
                    <a:pt x="1346" y="2750"/>
                  </a:lnTo>
                  <a:lnTo>
                    <a:pt x="1348" y="2746"/>
                  </a:lnTo>
                  <a:lnTo>
                    <a:pt x="1348" y="2744"/>
                  </a:lnTo>
                  <a:lnTo>
                    <a:pt x="1346" y="2740"/>
                  </a:lnTo>
                  <a:lnTo>
                    <a:pt x="1344" y="2732"/>
                  </a:lnTo>
                  <a:lnTo>
                    <a:pt x="1344" y="2730"/>
                  </a:lnTo>
                  <a:lnTo>
                    <a:pt x="1348" y="2730"/>
                  </a:lnTo>
                  <a:lnTo>
                    <a:pt x="1352" y="2730"/>
                  </a:lnTo>
                  <a:lnTo>
                    <a:pt x="1354" y="2732"/>
                  </a:lnTo>
                  <a:lnTo>
                    <a:pt x="1354" y="2738"/>
                  </a:lnTo>
                  <a:lnTo>
                    <a:pt x="1354" y="2742"/>
                  </a:lnTo>
                  <a:lnTo>
                    <a:pt x="1356" y="2742"/>
                  </a:lnTo>
                  <a:lnTo>
                    <a:pt x="1358" y="2742"/>
                  </a:lnTo>
                  <a:lnTo>
                    <a:pt x="1360" y="2738"/>
                  </a:lnTo>
                  <a:lnTo>
                    <a:pt x="1360" y="2736"/>
                  </a:lnTo>
                  <a:lnTo>
                    <a:pt x="1360" y="2728"/>
                  </a:lnTo>
                  <a:lnTo>
                    <a:pt x="1354" y="2720"/>
                  </a:lnTo>
                  <a:lnTo>
                    <a:pt x="1348" y="2710"/>
                  </a:lnTo>
                  <a:lnTo>
                    <a:pt x="1340" y="2702"/>
                  </a:lnTo>
                  <a:lnTo>
                    <a:pt x="1334" y="2692"/>
                  </a:lnTo>
                  <a:lnTo>
                    <a:pt x="1330" y="2682"/>
                  </a:lnTo>
                  <a:lnTo>
                    <a:pt x="1330" y="2678"/>
                  </a:lnTo>
                  <a:lnTo>
                    <a:pt x="1332" y="2674"/>
                  </a:lnTo>
                  <a:lnTo>
                    <a:pt x="1336" y="2666"/>
                  </a:lnTo>
                  <a:lnTo>
                    <a:pt x="1340" y="2660"/>
                  </a:lnTo>
                  <a:lnTo>
                    <a:pt x="1344" y="2660"/>
                  </a:lnTo>
                  <a:lnTo>
                    <a:pt x="1346" y="2660"/>
                  </a:lnTo>
                  <a:lnTo>
                    <a:pt x="1346" y="2662"/>
                  </a:lnTo>
                  <a:lnTo>
                    <a:pt x="1346" y="2668"/>
                  </a:lnTo>
                  <a:lnTo>
                    <a:pt x="1346" y="2670"/>
                  </a:lnTo>
                  <a:lnTo>
                    <a:pt x="1346" y="2672"/>
                  </a:lnTo>
                  <a:lnTo>
                    <a:pt x="1352" y="2674"/>
                  </a:lnTo>
                  <a:lnTo>
                    <a:pt x="1358" y="2676"/>
                  </a:lnTo>
                  <a:lnTo>
                    <a:pt x="1360" y="2680"/>
                  </a:lnTo>
                  <a:lnTo>
                    <a:pt x="1362" y="2686"/>
                  </a:lnTo>
                  <a:lnTo>
                    <a:pt x="1362" y="2690"/>
                  </a:lnTo>
                  <a:lnTo>
                    <a:pt x="1366" y="2694"/>
                  </a:lnTo>
                  <a:lnTo>
                    <a:pt x="1372" y="2696"/>
                  </a:lnTo>
                  <a:lnTo>
                    <a:pt x="1374" y="2696"/>
                  </a:lnTo>
                  <a:lnTo>
                    <a:pt x="1376" y="2696"/>
                  </a:lnTo>
                  <a:lnTo>
                    <a:pt x="1376" y="2694"/>
                  </a:lnTo>
                  <a:lnTo>
                    <a:pt x="1374" y="2690"/>
                  </a:lnTo>
                  <a:lnTo>
                    <a:pt x="1368" y="2684"/>
                  </a:lnTo>
                  <a:lnTo>
                    <a:pt x="1368" y="2678"/>
                  </a:lnTo>
                  <a:lnTo>
                    <a:pt x="1370" y="2678"/>
                  </a:lnTo>
                  <a:lnTo>
                    <a:pt x="1378" y="2684"/>
                  </a:lnTo>
                  <a:lnTo>
                    <a:pt x="1386" y="2692"/>
                  </a:lnTo>
                  <a:lnTo>
                    <a:pt x="1390" y="2694"/>
                  </a:lnTo>
                  <a:lnTo>
                    <a:pt x="1392" y="2694"/>
                  </a:lnTo>
                  <a:lnTo>
                    <a:pt x="1390" y="2692"/>
                  </a:lnTo>
                  <a:lnTo>
                    <a:pt x="1386" y="2684"/>
                  </a:lnTo>
                  <a:lnTo>
                    <a:pt x="1380" y="2676"/>
                  </a:lnTo>
                  <a:lnTo>
                    <a:pt x="1380" y="2674"/>
                  </a:lnTo>
                  <a:lnTo>
                    <a:pt x="1382" y="2674"/>
                  </a:lnTo>
                  <a:lnTo>
                    <a:pt x="1394" y="2680"/>
                  </a:lnTo>
                  <a:lnTo>
                    <a:pt x="1402" y="2684"/>
                  </a:lnTo>
                  <a:lnTo>
                    <a:pt x="1406" y="2684"/>
                  </a:lnTo>
                  <a:lnTo>
                    <a:pt x="1404" y="2682"/>
                  </a:lnTo>
                  <a:lnTo>
                    <a:pt x="1400" y="2676"/>
                  </a:lnTo>
                  <a:lnTo>
                    <a:pt x="1392" y="2670"/>
                  </a:lnTo>
                  <a:lnTo>
                    <a:pt x="1386" y="2668"/>
                  </a:lnTo>
                  <a:lnTo>
                    <a:pt x="1384" y="2668"/>
                  </a:lnTo>
                  <a:lnTo>
                    <a:pt x="1384" y="2664"/>
                  </a:lnTo>
                  <a:lnTo>
                    <a:pt x="1384" y="2662"/>
                  </a:lnTo>
                  <a:lnTo>
                    <a:pt x="1384" y="2660"/>
                  </a:lnTo>
                  <a:lnTo>
                    <a:pt x="1380" y="2656"/>
                  </a:lnTo>
                  <a:lnTo>
                    <a:pt x="1380" y="2654"/>
                  </a:lnTo>
                  <a:lnTo>
                    <a:pt x="1388" y="2652"/>
                  </a:lnTo>
                  <a:lnTo>
                    <a:pt x="1392" y="2652"/>
                  </a:lnTo>
                  <a:lnTo>
                    <a:pt x="1398" y="2650"/>
                  </a:lnTo>
                  <a:lnTo>
                    <a:pt x="1404" y="2644"/>
                  </a:lnTo>
                  <a:lnTo>
                    <a:pt x="1408" y="2642"/>
                  </a:lnTo>
                  <a:lnTo>
                    <a:pt x="1412" y="2640"/>
                  </a:lnTo>
                  <a:lnTo>
                    <a:pt x="1418" y="2642"/>
                  </a:lnTo>
                  <a:lnTo>
                    <a:pt x="1422" y="2644"/>
                  </a:lnTo>
                  <a:lnTo>
                    <a:pt x="1426" y="2644"/>
                  </a:lnTo>
                  <a:lnTo>
                    <a:pt x="1430" y="2640"/>
                  </a:lnTo>
                  <a:lnTo>
                    <a:pt x="1436" y="2638"/>
                  </a:lnTo>
                  <a:lnTo>
                    <a:pt x="1438" y="2638"/>
                  </a:lnTo>
                  <a:lnTo>
                    <a:pt x="1444" y="2640"/>
                  </a:lnTo>
                  <a:lnTo>
                    <a:pt x="1450" y="2644"/>
                  </a:lnTo>
                  <a:lnTo>
                    <a:pt x="1454" y="2644"/>
                  </a:lnTo>
                  <a:lnTo>
                    <a:pt x="1464" y="2644"/>
                  </a:lnTo>
                  <a:lnTo>
                    <a:pt x="1470" y="2644"/>
                  </a:lnTo>
                  <a:lnTo>
                    <a:pt x="1472" y="2646"/>
                  </a:lnTo>
                  <a:lnTo>
                    <a:pt x="1472" y="2650"/>
                  </a:lnTo>
                  <a:lnTo>
                    <a:pt x="1474" y="2656"/>
                  </a:lnTo>
                  <a:lnTo>
                    <a:pt x="1480" y="2660"/>
                  </a:lnTo>
                  <a:lnTo>
                    <a:pt x="1486" y="2660"/>
                  </a:lnTo>
                  <a:lnTo>
                    <a:pt x="1492" y="2658"/>
                  </a:lnTo>
                  <a:lnTo>
                    <a:pt x="1504" y="2656"/>
                  </a:lnTo>
                  <a:lnTo>
                    <a:pt x="1504" y="2658"/>
                  </a:lnTo>
                  <a:lnTo>
                    <a:pt x="1502" y="2660"/>
                  </a:lnTo>
                  <a:lnTo>
                    <a:pt x="1484" y="2668"/>
                  </a:lnTo>
                  <a:lnTo>
                    <a:pt x="1480" y="2672"/>
                  </a:lnTo>
                  <a:lnTo>
                    <a:pt x="1478" y="2680"/>
                  </a:lnTo>
                  <a:lnTo>
                    <a:pt x="1480" y="2684"/>
                  </a:lnTo>
                  <a:lnTo>
                    <a:pt x="1482" y="2682"/>
                  </a:lnTo>
                  <a:lnTo>
                    <a:pt x="1494" y="2670"/>
                  </a:lnTo>
                  <a:lnTo>
                    <a:pt x="1506" y="2662"/>
                  </a:lnTo>
                  <a:lnTo>
                    <a:pt x="1514" y="2658"/>
                  </a:lnTo>
                  <a:lnTo>
                    <a:pt x="1522" y="2654"/>
                  </a:lnTo>
                  <a:lnTo>
                    <a:pt x="1528" y="2646"/>
                  </a:lnTo>
                  <a:lnTo>
                    <a:pt x="1532" y="2638"/>
                  </a:lnTo>
                  <a:lnTo>
                    <a:pt x="1536" y="2636"/>
                  </a:lnTo>
                  <a:lnTo>
                    <a:pt x="1538" y="2634"/>
                  </a:lnTo>
                  <a:lnTo>
                    <a:pt x="1540" y="2636"/>
                  </a:lnTo>
                  <a:lnTo>
                    <a:pt x="1544" y="2640"/>
                  </a:lnTo>
                  <a:lnTo>
                    <a:pt x="1548" y="2640"/>
                  </a:lnTo>
                  <a:lnTo>
                    <a:pt x="1552" y="2638"/>
                  </a:lnTo>
                  <a:lnTo>
                    <a:pt x="1556" y="2634"/>
                  </a:lnTo>
                  <a:lnTo>
                    <a:pt x="1562" y="2634"/>
                  </a:lnTo>
                  <a:lnTo>
                    <a:pt x="1572" y="2638"/>
                  </a:lnTo>
                  <a:lnTo>
                    <a:pt x="1580" y="2638"/>
                  </a:lnTo>
                  <a:lnTo>
                    <a:pt x="1586" y="2638"/>
                  </a:lnTo>
                  <a:lnTo>
                    <a:pt x="1590" y="2634"/>
                  </a:lnTo>
                  <a:lnTo>
                    <a:pt x="1594" y="2626"/>
                  </a:lnTo>
                  <a:lnTo>
                    <a:pt x="1594" y="2624"/>
                  </a:lnTo>
                  <a:lnTo>
                    <a:pt x="1592" y="2624"/>
                  </a:lnTo>
                  <a:lnTo>
                    <a:pt x="1584" y="2622"/>
                  </a:lnTo>
                  <a:lnTo>
                    <a:pt x="1572" y="2616"/>
                  </a:lnTo>
                  <a:lnTo>
                    <a:pt x="1560" y="2608"/>
                  </a:lnTo>
                  <a:lnTo>
                    <a:pt x="1554" y="2600"/>
                  </a:lnTo>
                  <a:lnTo>
                    <a:pt x="1552" y="2592"/>
                  </a:lnTo>
                  <a:lnTo>
                    <a:pt x="1552" y="2582"/>
                  </a:lnTo>
                  <a:lnTo>
                    <a:pt x="1552" y="2578"/>
                  </a:lnTo>
                  <a:lnTo>
                    <a:pt x="1550" y="2576"/>
                  </a:lnTo>
                  <a:lnTo>
                    <a:pt x="1546" y="2572"/>
                  </a:lnTo>
                  <a:lnTo>
                    <a:pt x="1542" y="2570"/>
                  </a:lnTo>
                  <a:lnTo>
                    <a:pt x="1540" y="2568"/>
                  </a:lnTo>
                  <a:lnTo>
                    <a:pt x="1540" y="2564"/>
                  </a:lnTo>
                  <a:lnTo>
                    <a:pt x="1540" y="2560"/>
                  </a:lnTo>
                  <a:lnTo>
                    <a:pt x="1538" y="2558"/>
                  </a:lnTo>
                  <a:lnTo>
                    <a:pt x="1530" y="2556"/>
                  </a:lnTo>
                  <a:lnTo>
                    <a:pt x="1528" y="2556"/>
                  </a:lnTo>
                  <a:lnTo>
                    <a:pt x="1528" y="2554"/>
                  </a:lnTo>
                  <a:lnTo>
                    <a:pt x="1536" y="2546"/>
                  </a:lnTo>
                  <a:lnTo>
                    <a:pt x="1542" y="2542"/>
                  </a:lnTo>
                  <a:lnTo>
                    <a:pt x="1546" y="2538"/>
                  </a:lnTo>
                  <a:lnTo>
                    <a:pt x="1546" y="2534"/>
                  </a:lnTo>
                  <a:lnTo>
                    <a:pt x="1546" y="2530"/>
                  </a:lnTo>
                  <a:lnTo>
                    <a:pt x="1546" y="2522"/>
                  </a:lnTo>
                  <a:lnTo>
                    <a:pt x="1546" y="2516"/>
                  </a:lnTo>
                  <a:lnTo>
                    <a:pt x="1550" y="2510"/>
                  </a:lnTo>
                  <a:lnTo>
                    <a:pt x="1554" y="2504"/>
                  </a:lnTo>
                  <a:lnTo>
                    <a:pt x="1560" y="2502"/>
                  </a:lnTo>
                  <a:lnTo>
                    <a:pt x="1566" y="2504"/>
                  </a:lnTo>
                  <a:lnTo>
                    <a:pt x="1570" y="2504"/>
                  </a:lnTo>
                  <a:lnTo>
                    <a:pt x="1572" y="2502"/>
                  </a:lnTo>
                  <a:lnTo>
                    <a:pt x="1574" y="2496"/>
                  </a:lnTo>
                  <a:lnTo>
                    <a:pt x="1574" y="2484"/>
                  </a:lnTo>
                  <a:lnTo>
                    <a:pt x="1578" y="2458"/>
                  </a:lnTo>
                  <a:lnTo>
                    <a:pt x="1580" y="2448"/>
                  </a:lnTo>
                  <a:lnTo>
                    <a:pt x="1584" y="2440"/>
                  </a:lnTo>
                  <a:lnTo>
                    <a:pt x="1588" y="2434"/>
                  </a:lnTo>
                  <a:lnTo>
                    <a:pt x="1594" y="2428"/>
                  </a:lnTo>
                  <a:lnTo>
                    <a:pt x="1600" y="2426"/>
                  </a:lnTo>
                  <a:lnTo>
                    <a:pt x="1608" y="2422"/>
                  </a:lnTo>
                  <a:lnTo>
                    <a:pt x="1614" y="2418"/>
                  </a:lnTo>
                  <a:lnTo>
                    <a:pt x="1618" y="2414"/>
                  </a:lnTo>
                  <a:lnTo>
                    <a:pt x="1620" y="2406"/>
                  </a:lnTo>
                  <a:lnTo>
                    <a:pt x="1620" y="2398"/>
                  </a:lnTo>
                  <a:lnTo>
                    <a:pt x="1620" y="2390"/>
                  </a:lnTo>
                  <a:lnTo>
                    <a:pt x="1620" y="2386"/>
                  </a:lnTo>
                  <a:lnTo>
                    <a:pt x="1618" y="2384"/>
                  </a:lnTo>
                  <a:lnTo>
                    <a:pt x="1616" y="2378"/>
                  </a:lnTo>
                  <a:lnTo>
                    <a:pt x="1616" y="2372"/>
                  </a:lnTo>
                  <a:lnTo>
                    <a:pt x="1620" y="2372"/>
                  </a:lnTo>
                  <a:lnTo>
                    <a:pt x="1626" y="2372"/>
                  </a:lnTo>
                  <a:lnTo>
                    <a:pt x="1630" y="2370"/>
                  </a:lnTo>
                  <a:lnTo>
                    <a:pt x="1636" y="2366"/>
                  </a:lnTo>
                  <a:lnTo>
                    <a:pt x="1646" y="2358"/>
                  </a:lnTo>
                  <a:lnTo>
                    <a:pt x="1654" y="2348"/>
                  </a:lnTo>
                  <a:lnTo>
                    <a:pt x="1660" y="2340"/>
                  </a:lnTo>
                  <a:lnTo>
                    <a:pt x="1662" y="2330"/>
                  </a:lnTo>
                  <a:lnTo>
                    <a:pt x="1662" y="2326"/>
                  </a:lnTo>
                  <a:lnTo>
                    <a:pt x="1664" y="2324"/>
                  </a:lnTo>
                  <a:lnTo>
                    <a:pt x="1668" y="2322"/>
                  </a:lnTo>
                  <a:lnTo>
                    <a:pt x="1672" y="2320"/>
                  </a:lnTo>
                  <a:lnTo>
                    <a:pt x="1682" y="2320"/>
                  </a:lnTo>
                  <a:lnTo>
                    <a:pt x="1690" y="2318"/>
                  </a:lnTo>
                  <a:lnTo>
                    <a:pt x="1698" y="2318"/>
                  </a:lnTo>
                  <a:lnTo>
                    <a:pt x="1702" y="2318"/>
                  </a:lnTo>
                  <a:lnTo>
                    <a:pt x="1704" y="2318"/>
                  </a:lnTo>
                  <a:lnTo>
                    <a:pt x="1706" y="2312"/>
                  </a:lnTo>
                  <a:lnTo>
                    <a:pt x="1708" y="2296"/>
                  </a:lnTo>
                  <a:lnTo>
                    <a:pt x="1708" y="2294"/>
                  </a:lnTo>
                  <a:lnTo>
                    <a:pt x="1710" y="2298"/>
                  </a:lnTo>
                  <a:lnTo>
                    <a:pt x="1712" y="2308"/>
                  </a:lnTo>
                  <a:lnTo>
                    <a:pt x="1712" y="2316"/>
                  </a:lnTo>
                  <a:lnTo>
                    <a:pt x="1714" y="2320"/>
                  </a:lnTo>
                  <a:lnTo>
                    <a:pt x="1718" y="2322"/>
                  </a:lnTo>
                  <a:lnTo>
                    <a:pt x="1724" y="2322"/>
                  </a:lnTo>
                  <a:lnTo>
                    <a:pt x="1732" y="2322"/>
                  </a:lnTo>
                  <a:lnTo>
                    <a:pt x="1726" y="2324"/>
                  </a:lnTo>
                  <a:lnTo>
                    <a:pt x="1720" y="2326"/>
                  </a:lnTo>
                  <a:lnTo>
                    <a:pt x="1708" y="2324"/>
                  </a:lnTo>
                  <a:lnTo>
                    <a:pt x="1700" y="2322"/>
                  </a:lnTo>
                  <a:lnTo>
                    <a:pt x="1696" y="2322"/>
                  </a:lnTo>
                  <a:lnTo>
                    <a:pt x="1696" y="2324"/>
                  </a:lnTo>
                  <a:lnTo>
                    <a:pt x="1696" y="2326"/>
                  </a:lnTo>
                  <a:lnTo>
                    <a:pt x="1700" y="2330"/>
                  </a:lnTo>
                  <a:lnTo>
                    <a:pt x="1708" y="2336"/>
                  </a:lnTo>
                  <a:lnTo>
                    <a:pt x="1718" y="2342"/>
                  </a:lnTo>
                  <a:lnTo>
                    <a:pt x="1722" y="2346"/>
                  </a:lnTo>
                  <a:lnTo>
                    <a:pt x="1722" y="2348"/>
                  </a:lnTo>
                  <a:lnTo>
                    <a:pt x="1724" y="2350"/>
                  </a:lnTo>
                  <a:lnTo>
                    <a:pt x="1728" y="2350"/>
                  </a:lnTo>
                  <a:lnTo>
                    <a:pt x="1740" y="2350"/>
                  </a:lnTo>
                  <a:lnTo>
                    <a:pt x="1754" y="2348"/>
                  </a:lnTo>
                  <a:lnTo>
                    <a:pt x="1760" y="2348"/>
                  </a:lnTo>
                  <a:lnTo>
                    <a:pt x="1764" y="2350"/>
                  </a:lnTo>
                  <a:lnTo>
                    <a:pt x="1766" y="2352"/>
                  </a:lnTo>
                  <a:lnTo>
                    <a:pt x="1768" y="2352"/>
                  </a:lnTo>
                  <a:lnTo>
                    <a:pt x="1772" y="2350"/>
                  </a:lnTo>
                  <a:lnTo>
                    <a:pt x="1776" y="2350"/>
                  </a:lnTo>
                  <a:lnTo>
                    <a:pt x="1780" y="2356"/>
                  </a:lnTo>
                  <a:lnTo>
                    <a:pt x="1780" y="2358"/>
                  </a:lnTo>
                  <a:lnTo>
                    <a:pt x="1778" y="2360"/>
                  </a:lnTo>
                  <a:lnTo>
                    <a:pt x="1774" y="2364"/>
                  </a:lnTo>
                  <a:lnTo>
                    <a:pt x="1756" y="2374"/>
                  </a:lnTo>
                  <a:lnTo>
                    <a:pt x="1738" y="2382"/>
                  </a:lnTo>
                  <a:lnTo>
                    <a:pt x="1732" y="2386"/>
                  </a:lnTo>
                  <a:lnTo>
                    <a:pt x="1732" y="2388"/>
                  </a:lnTo>
                  <a:lnTo>
                    <a:pt x="1732" y="2390"/>
                  </a:lnTo>
                  <a:lnTo>
                    <a:pt x="1736" y="2392"/>
                  </a:lnTo>
                  <a:lnTo>
                    <a:pt x="1742" y="2394"/>
                  </a:lnTo>
                  <a:lnTo>
                    <a:pt x="1756" y="2398"/>
                  </a:lnTo>
                  <a:lnTo>
                    <a:pt x="1762" y="2400"/>
                  </a:lnTo>
                  <a:lnTo>
                    <a:pt x="1768" y="2404"/>
                  </a:lnTo>
                  <a:lnTo>
                    <a:pt x="1772" y="2410"/>
                  </a:lnTo>
                  <a:lnTo>
                    <a:pt x="1774" y="2416"/>
                  </a:lnTo>
                  <a:lnTo>
                    <a:pt x="1774" y="2424"/>
                  </a:lnTo>
                  <a:lnTo>
                    <a:pt x="1772" y="2428"/>
                  </a:lnTo>
                  <a:lnTo>
                    <a:pt x="1768" y="2432"/>
                  </a:lnTo>
                  <a:lnTo>
                    <a:pt x="1766" y="2434"/>
                  </a:lnTo>
                  <a:lnTo>
                    <a:pt x="1768" y="2434"/>
                  </a:lnTo>
                  <a:lnTo>
                    <a:pt x="1774" y="2442"/>
                  </a:lnTo>
                  <a:lnTo>
                    <a:pt x="1780" y="2446"/>
                  </a:lnTo>
                  <a:lnTo>
                    <a:pt x="1788" y="2448"/>
                  </a:lnTo>
                  <a:lnTo>
                    <a:pt x="1794" y="2446"/>
                  </a:lnTo>
                  <a:lnTo>
                    <a:pt x="1800" y="2442"/>
                  </a:lnTo>
                  <a:lnTo>
                    <a:pt x="1810" y="2432"/>
                  </a:lnTo>
                  <a:lnTo>
                    <a:pt x="1822" y="2422"/>
                  </a:lnTo>
                  <a:lnTo>
                    <a:pt x="1826" y="2420"/>
                  </a:lnTo>
                  <a:lnTo>
                    <a:pt x="1830" y="2420"/>
                  </a:lnTo>
                  <a:lnTo>
                    <a:pt x="1832" y="2422"/>
                  </a:lnTo>
                  <a:lnTo>
                    <a:pt x="1836" y="2422"/>
                  </a:lnTo>
                  <a:lnTo>
                    <a:pt x="1844" y="2416"/>
                  </a:lnTo>
                  <a:lnTo>
                    <a:pt x="1850" y="2410"/>
                  </a:lnTo>
                  <a:lnTo>
                    <a:pt x="1856" y="2408"/>
                  </a:lnTo>
                  <a:lnTo>
                    <a:pt x="1860" y="2408"/>
                  </a:lnTo>
                  <a:lnTo>
                    <a:pt x="1862" y="2408"/>
                  </a:lnTo>
                  <a:lnTo>
                    <a:pt x="1870" y="2412"/>
                  </a:lnTo>
                  <a:lnTo>
                    <a:pt x="1876" y="2414"/>
                  </a:lnTo>
                  <a:lnTo>
                    <a:pt x="1882" y="2412"/>
                  </a:lnTo>
                  <a:lnTo>
                    <a:pt x="1892" y="2408"/>
                  </a:lnTo>
                  <a:lnTo>
                    <a:pt x="1894" y="2406"/>
                  </a:lnTo>
                  <a:lnTo>
                    <a:pt x="1892" y="2404"/>
                  </a:lnTo>
                  <a:lnTo>
                    <a:pt x="1892" y="2400"/>
                  </a:lnTo>
                  <a:lnTo>
                    <a:pt x="1892" y="2398"/>
                  </a:lnTo>
                  <a:lnTo>
                    <a:pt x="1894" y="2394"/>
                  </a:lnTo>
                  <a:lnTo>
                    <a:pt x="1896" y="2390"/>
                  </a:lnTo>
                  <a:lnTo>
                    <a:pt x="1894" y="2386"/>
                  </a:lnTo>
                  <a:lnTo>
                    <a:pt x="1886" y="2384"/>
                  </a:lnTo>
                  <a:lnTo>
                    <a:pt x="1874" y="2386"/>
                  </a:lnTo>
                  <a:lnTo>
                    <a:pt x="1868" y="2388"/>
                  </a:lnTo>
                  <a:lnTo>
                    <a:pt x="1862" y="2392"/>
                  </a:lnTo>
                  <a:lnTo>
                    <a:pt x="1854" y="2396"/>
                  </a:lnTo>
                  <a:lnTo>
                    <a:pt x="1852" y="2396"/>
                  </a:lnTo>
                  <a:lnTo>
                    <a:pt x="1848" y="2392"/>
                  </a:lnTo>
                  <a:lnTo>
                    <a:pt x="1842" y="2386"/>
                  </a:lnTo>
                  <a:lnTo>
                    <a:pt x="1836" y="2376"/>
                  </a:lnTo>
                  <a:lnTo>
                    <a:pt x="1826" y="2358"/>
                  </a:lnTo>
                  <a:lnTo>
                    <a:pt x="1824" y="2348"/>
                  </a:lnTo>
                  <a:lnTo>
                    <a:pt x="1824" y="2346"/>
                  </a:lnTo>
                  <a:lnTo>
                    <a:pt x="1824" y="2344"/>
                  </a:lnTo>
                  <a:lnTo>
                    <a:pt x="1830" y="2342"/>
                  </a:lnTo>
                  <a:lnTo>
                    <a:pt x="1836" y="2340"/>
                  </a:lnTo>
                  <a:lnTo>
                    <a:pt x="1838" y="2340"/>
                  </a:lnTo>
                  <a:lnTo>
                    <a:pt x="1838" y="2342"/>
                  </a:lnTo>
                  <a:lnTo>
                    <a:pt x="1838" y="2344"/>
                  </a:lnTo>
                  <a:lnTo>
                    <a:pt x="1838" y="2348"/>
                  </a:lnTo>
                  <a:lnTo>
                    <a:pt x="1842" y="2346"/>
                  </a:lnTo>
                  <a:lnTo>
                    <a:pt x="1852" y="2336"/>
                  </a:lnTo>
                  <a:lnTo>
                    <a:pt x="1862" y="2326"/>
                  </a:lnTo>
                  <a:lnTo>
                    <a:pt x="1872" y="2318"/>
                  </a:lnTo>
                  <a:lnTo>
                    <a:pt x="1876" y="2316"/>
                  </a:lnTo>
                  <a:lnTo>
                    <a:pt x="1880" y="2316"/>
                  </a:lnTo>
                  <a:lnTo>
                    <a:pt x="1886" y="2318"/>
                  </a:lnTo>
                  <a:lnTo>
                    <a:pt x="1896" y="2316"/>
                  </a:lnTo>
                  <a:lnTo>
                    <a:pt x="1906" y="2312"/>
                  </a:lnTo>
                  <a:lnTo>
                    <a:pt x="1916" y="2308"/>
                  </a:lnTo>
                  <a:lnTo>
                    <a:pt x="1934" y="2296"/>
                  </a:lnTo>
                  <a:lnTo>
                    <a:pt x="1944" y="2292"/>
                  </a:lnTo>
                  <a:lnTo>
                    <a:pt x="1952" y="2292"/>
                  </a:lnTo>
                  <a:lnTo>
                    <a:pt x="1956" y="2294"/>
                  </a:lnTo>
                  <a:lnTo>
                    <a:pt x="1960" y="2296"/>
                  </a:lnTo>
                  <a:lnTo>
                    <a:pt x="1964" y="2294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0" y="2290"/>
                  </a:lnTo>
                  <a:lnTo>
                    <a:pt x="1986" y="2288"/>
                  </a:lnTo>
                  <a:lnTo>
                    <a:pt x="1992" y="2286"/>
                  </a:lnTo>
                  <a:lnTo>
                    <a:pt x="1998" y="2284"/>
                  </a:lnTo>
                  <a:lnTo>
                    <a:pt x="2002" y="2284"/>
                  </a:lnTo>
                  <a:lnTo>
                    <a:pt x="2004" y="2286"/>
                  </a:lnTo>
                  <a:lnTo>
                    <a:pt x="2004" y="2288"/>
                  </a:lnTo>
                  <a:lnTo>
                    <a:pt x="2004" y="2290"/>
                  </a:lnTo>
                  <a:lnTo>
                    <a:pt x="2000" y="2294"/>
                  </a:lnTo>
                  <a:lnTo>
                    <a:pt x="1996" y="2298"/>
                  </a:lnTo>
                  <a:lnTo>
                    <a:pt x="1988" y="2300"/>
                  </a:lnTo>
                  <a:lnTo>
                    <a:pt x="1980" y="2302"/>
                  </a:lnTo>
                  <a:lnTo>
                    <a:pt x="1974" y="2306"/>
                  </a:lnTo>
                  <a:lnTo>
                    <a:pt x="1968" y="2312"/>
                  </a:lnTo>
                  <a:lnTo>
                    <a:pt x="1962" y="2316"/>
                  </a:lnTo>
                  <a:lnTo>
                    <a:pt x="1948" y="2318"/>
                  </a:lnTo>
                  <a:lnTo>
                    <a:pt x="1944" y="2318"/>
                  </a:lnTo>
                  <a:lnTo>
                    <a:pt x="1944" y="2320"/>
                  </a:lnTo>
                  <a:lnTo>
                    <a:pt x="1944" y="2324"/>
                  </a:lnTo>
                  <a:lnTo>
                    <a:pt x="1946" y="2326"/>
                  </a:lnTo>
                  <a:lnTo>
                    <a:pt x="1952" y="2332"/>
                  </a:lnTo>
                  <a:lnTo>
                    <a:pt x="1956" y="2334"/>
                  </a:lnTo>
                  <a:lnTo>
                    <a:pt x="1958" y="2334"/>
                  </a:lnTo>
                  <a:lnTo>
                    <a:pt x="1962" y="2334"/>
                  </a:lnTo>
                  <a:lnTo>
                    <a:pt x="1968" y="2338"/>
                  </a:lnTo>
                  <a:lnTo>
                    <a:pt x="1974" y="2344"/>
                  </a:lnTo>
                  <a:lnTo>
                    <a:pt x="1978" y="2352"/>
                  </a:lnTo>
                  <a:lnTo>
                    <a:pt x="1976" y="2354"/>
                  </a:lnTo>
                  <a:lnTo>
                    <a:pt x="1972" y="2352"/>
                  </a:lnTo>
                  <a:lnTo>
                    <a:pt x="1964" y="2350"/>
                  </a:lnTo>
                  <a:lnTo>
                    <a:pt x="1958" y="2350"/>
                  </a:lnTo>
                  <a:lnTo>
                    <a:pt x="1952" y="2354"/>
                  </a:lnTo>
                  <a:lnTo>
                    <a:pt x="1948" y="2362"/>
                  </a:lnTo>
                  <a:lnTo>
                    <a:pt x="1942" y="2376"/>
                  </a:lnTo>
                  <a:lnTo>
                    <a:pt x="1940" y="2382"/>
                  </a:lnTo>
                  <a:lnTo>
                    <a:pt x="1942" y="2388"/>
                  </a:lnTo>
                  <a:lnTo>
                    <a:pt x="1944" y="2396"/>
                  </a:lnTo>
                  <a:lnTo>
                    <a:pt x="1942" y="2396"/>
                  </a:lnTo>
                  <a:lnTo>
                    <a:pt x="1940" y="2396"/>
                  </a:lnTo>
                  <a:lnTo>
                    <a:pt x="1934" y="2394"/>
                  </a:lnTo>
                  <a:lnTo>
                    <a:pt x="1930" y="2392"/>
                  </a:lnTo>
                  <a:lnTo>
                    <a:pt x="1926" y="2394"/>
                  </a:lnTo>
                  <a:lnTo>
                    <a:pt x="1922" y="2394"/>
                  </a:lnTo>
                  <a:lnTo>
                    <a:pt x="1918" y="2392"/>
                  </a:lnTo>
                  <a:lnTo>
                    <a:pt x="1910" y="2390"/>
                  </a:lnTo>
                  <a:lnTo>
                    <a:pt x="1904" y="2388"/>
                  </a:lnTo>
                  <a:lnTo>
                    <a:pt x="1904" y="2390"/>
                  </a:lnTo>
                  <a:lnTo>
                    <a:pt x="1904" y="2392"/>
                  </a:lnTo>
                  <a:lnTo>
                    <a:pt x="1904" y="2396"/>
                  </a:lnTo>
                  <a:lnTo>
                    <a:pt x="1904" y="2398"/>
                  </a:lnTo>
                  <a:lnTo>
                    <a:pt x="1900" y="2402"/>
                  </a:lnTo>
                  <a:lnTo>
                    <a:pt x="1900" y="2404"/>
                  </a:lnTo>
                  <a:lnTo>
                    <a:pt x="1912" y="2410"/>
                  </a:lnTo>
                  <a:lnTo>
                    <a:pt x="1918" y="2414"/>
                  </a:lnTo>
                  <a:lnTo>
                    <a:pt x="1924" y="2418"/>
                  </a:lnTo>
                  <a:lnTo>
                    <a:pt x="1928" y="2424"/>
                  </a:lnTo>
                  <a:lnTo>
                    <a:pt x="1934" y="2430"/>
                  </a:lnTo>
                  <a:lnTo>
                    <a:pt x="1938" y="2432"/>
                  </a:lnTo>
                  <a:lnTo>
                    <a:pt x="1944" y="2434"/>
                  </a:lnTo>
                  <a:lnTo>
                    <a:pt x="1950" y="2434"/>
                  </a:lnTo>
                  <a:lnTo>
                    <a:pt x="1954" y="2436"/>
                  </a:lnTo>
                  <a:lnTo>
                    <a:pt x="1956" y="2440"/>
                  </a:lnTo>
                  <a:lnTo>
                    <a:pt x="1958" y="2442"/>
                  </a:lnTo>
                  <a:lnTo>
                    <a:pt x="1960" y="2446"/>
                  </a:lnTo>
                  <a:lnTo>
                    <a:pt x="1966" y="2448"/>
                  </a:lnTo>
                  <a:lnTo>
                    <a:pt x="1976" y="2452"/>
                  </a:lnTo>
                  <a:lnTo>
                    <a:pt x="1990" y="2456"/>
                  </a:lnTo>
                  <a:lnTo>
                    <a:pt x="1994" y="2458"/>
                  </a:lnTo>
                  <a:lnTo>
                    <a:pt x="1996" y="2462"/>
                  </a:lnTo>
                  <a:lnTo>
                    <a:pt x="2006" y="2474"/>
                  </a:lnTo>
                  <a:lnTo>
                    <a:pt x="2034" y="2504"/>
                  </a:lnTo>
                  <a:lnTo>
                    <a:pt x="2042" y="2510"/>
                  </a:lnTo>
                  <a:lnTo>
                    <a:pt x="2050" y="2516"/>
                  </a:lnTo>
                  <a:lnTo>
                    <a:pt x="2062" y="2520"/>
                  </a:lnTo>
                  <a:lnTo>
                    <a:pt x="2070" y="2522"/>
                  </a:lnTo>
                  <a:lnTo>
                    <a:pt x="2074" y="2526"/>
                  </a:lnTo>
                  <a:lnTo>
                    <a:pt x="2076" y="2530"/>
                  </a:lnTo>
                  <a:lnTo>
                    <a:pt x="2080" y="2534"/>
                  </a:lnTo>
                  <a:lnTo>
                    <a:pt x="2082" y="2538"/>
                  </a:lnTo>
                  <a:lnTo>
                    <a:pt x="2088" y="2538"/>
                  </a:lnTo>
                  <a:lnTo>
                    <a:pt x="2092" y="2540"/>
                  </a:lnTo>
                  <a:lnTo>
                    <a:pt x="2094" y="2544"/>
                  </a:lnTo>
                  <a:lnTo>
                    <a:pt x="2098" y="2552"/>
                  </a:lnTo>
                  <a:lnTo>
                    <a:pt x="2100" y="2562"/>
                  </a:lnTo>
                  <a:lnTo>
                    <a:pt x="2104" y="2584"/>
                  </a:lnTo>
                  <a:lnTo>
                    <a:pt x="2104" y="2598"/>
                  </a:lnTo>
                  <a:lnTo>
                    <a:pt x="2100" y="2606"/>
                  </a:lnTo>
                  <a:lnTo>
                    <a:pt x="2096" y="2610"/>
                  </a:lnTo>
                  <a:lnTo>
                    <a:pt x="2086" y="2618"/>
                  </a:lnTo>
                  <a:lnTo>
                    <a:pt x="2066" y="2630"/>
                  </a:lnTo>
                  <a:lnTo>
                    <a:pt x="2054" y="2636"/>
                  </a:lnTo>
                  <a:lnTo>
                    <a:pt x="2044" y="2640"/>
                  </a:lnTo>
                  <a:lnTo>
                    <a:pt x="2032" y="2638"/>
                  </a:lnTo>
                  <a:lnTo>
                    <a:pt x="2028" y="2638"/>
                  </a:lnTo>
                  <a:lnTo>
                    <a:pt x="2024" y="2634"/>
                  </a:lnTo>
                  <a:lnTo>
                    <a:pt x="2014" y="2630"/>
                  </a:lnTo>
                  <a:lnTo>
                    <a:pt x="2006" y="2630"/>
                  </a:lnTo>
                  <a:lnTo>
                    <a:pt x="1996" y="2632"/>
                  </a:lnTo>
                  <a:lnTo>
                    <a:pt x="1986" y="2636"/>
                  </a:lnTo>
                  <a:lnTo>
                    <a:pt x="1976" y="2640"/>
                  </a:lnTo>
                  <a:lnTo>
                    <a:pt x="1968" y="2642"/>
                  </a:lnTo>
                  <a:lnTo>
                    <a:pt x="1960" y="2642"/>
                  </a:lnTo>
                  <a:lnTo>
                    <a:pt x="1956" y="2640"/>
                  </a:lnTo>
                  <a:lnTo>
                    <a:pt x="1952" y="2636"/>
                  </a:lnTo>
                  <a:lnTo>
                    <a:pt x="1942" y="2630"/>
                  </a:lnTo>
                  <a:lnTo>
                    <a:pt x="1940" y="2630"/>
                  </a:lnTo>
                  <a:lnTo>
                    <a:pt x="1938" y="2632"/>
                  </a:lnTo>
                  <a:lnTo>
                    <a:pt x="1936" y="2634"/>
                  </a:lnTo>
                  <a:lnTo>
                    <a:pt x="1932" y="2634"/>
                  </a:lnTo>
                  <a:lnTo>
                    <a:pt x="1924" y="2630"/>
                  </a:lnTo>
                  <a:lnTo>
                    <a:pt x="1918" y="2626"/>
                  </a:lnTo>
                  <a:lnTo>
                    <a:pt x="1914" y="2622"/>
                  </a:lnTo>
                  <a:lnTo>
                    <a:pt x="1910" y="2618"/>
                  </a:lnTo>
                  <a:lnTo>
                    <a:pt x="1908" y="2616"/>
                  </a:lnTo>
                  <a:lnTo>
                    <a:pt x="1906" y="2616"/>
                  </a:lnTo>
                  <a:lnTo>
                    <a:pt x="1896" y="2620"/>
                  </a:lnTo>
                  <a:lnTo>
                    <a:pt x="1890" y="2620"/>
                  </a:lnTo>
                  <a:lnTo>
                    <a:pt x="1886" y="2618"/>
                  </a:lnTo>
                  <a:lnTo>
                    <a:pt x="1884" y="2614"/>
                  </a:lnTo>
                  <a:lnTo>
                    <a:pt x="1882" y="2608"/>
                  </a:lnTo>
                  <a:lnTo>
                    <a:pt x="1880" y="2602"/>
                  </a:lnTo>
                  <a:lnTo>
                    <a:pt x="1876" y="2598"/>
                  </a:lnTo>
                  <a:lnTo>
                    <a:pt x="1870" y="2596"/>
                  </a:lnTo>
                  <a:lnTo>
                    <a:pt x="1860" y="2598"/>
                  </a:lnTo>
                  <a:lnTo>
                    <a:pt x="1850" y="2600"/>
                  </a:lnTo>
                  <a:lnTo>
                    <a:pt x="1844" y="2596"/>
                  </a:lnTo>
                  <a:lnTo>
                    <a:pt x="1842" y="2592"/>
                  </a:lnTo>
                  <a:lnTo>
                    <a:pt x="1840" y="2586"/>
                  </a:lnTo>
                  <a:lnTo>
                    <a:pt x="1840" y="2582"/>
                  </a:lnTo>
                  <a:lnTo>
                    <a:pt x="1838" y="2578"/>
                  </a:lnTo>
                  <a:lnTo>
                    <a:pt x="1836" y="2576"/>
                  </a:lnTo>
                  <a:lnTo>
                    <a:pt x="1830" y="2580"/>
                  </a:lnTo>
                  <a:lnTo>
                    <a:pt x="1822" y="2582"/>
                  </a:lnTo>
                  <a:lnTo>
                    <a:pt x="1814" y="2584"/>
                  </a:lnTo>
                  <a:lnTo>
                    <a:pt x="1798" y="2582"/>
                  </a:lnTo>
                  <a:lnTo>
                    <a:pt x="1788" y="2580"/>
                  </a:lnTo>
                  <a:lnTo>
                    <a:pt x="1778" y="2580"/>
                  </a:lnTo>
                  <a:lnTo>
                    <a:pt x="1766" y="2582"/>
                  </a:lnTo>
                  <a:lnTo>
                    <a:pt x="1752" y="2586"/>
                  </a:lnTo>
                  <a:lnTo>
                    <a:pt x="1724" y="2596"/>
                  </a:lnTo>
                  <a:lnTo>
                    <a:pt x="1706" y="2608"/>
                  </a:lnTo>
                  <a:lnTo>
                    <a:pt x="1694" y="2618"/>
                  </a:lnTo>
                  <a:lnTo>
                    <a:pt x="1688" y="2624"/>
                  </a:lnTo>
                  <a:lnTo>
                    <a:pt x="1684" y="2630"/>
                  </a:lnTo>
                  <a:lnTo>
                    <a:pt x="1678" y="2632"/>
                  </a:lnTo>
                  <a:lnTo>
                    <a:pt x="1668" y="2632"/>
                  </a:lnTo>
                  <a:lnTo>
                    <a:pt x="1656" y="2628"/>
                  </a:lnTo>
                  <a:lnTo>
                    <a:pt x="1646" y="2626"/>
                  </a:lnTo>
                  <a:lnTo>
                    <a:pt x="1638" y="2626"/>
                  </a:lnTo>
                  <a:lnTo>
                    <a:pt x="1630" y="2628"/>
                  </a:lnTo>
                  <a:lnTo>
                    <a:pt x="1618" y="2628"/>
                  </a:lnTo>
                  <a:lnTo>
                    <a:pt x="1608" y="2624"/>
                  </a:lnTo>
                  <a:lnTo>
                    <a:pt x="1602" y="2626"/>
                  </a:lnTo>
                  <a:lnTo>
                    <a:pt x="1598" y="2628"/>
                  </a:lnTo>
                  <a:lnTo>
                    <a:pt x="1596" y="2634"/>
                  </a:lnTo>
                  <a:lnTo>
                    <a:pt x="1594" y="2638"/>
                  </a:lnTo>
                  <a:lnTo>
                    <a:pt x="1596" y="2640"/>
                  </a:lnTo>
                  <a:lnTo>
                    <a:pt x="1600" y="2642"/>
                  </a:lnTo>
                  <a:lnTo>
                    <a:pt x="1604" y="2646"/>
                  </a:lnTo>
                  <a:lnTo>
                    <a:pt x="1608" y="2650"/>
                  </a:lnTo>
                  <a:lnTo>
                    <a:pt x="1612" y="2650"/>
                  </a:lnTo>
                  <a:lnTo>
                    <a:pt x="1620" y="2652"/>
                  </a:lnTo>
                  <a:lnTo>
                    <a:pt x="1622" y="2652"/>
                  </a:lnTo>
                  <a:lnTo>
                    <a:pt x="1620" y="2652"/>
                  </a:lnTo>
                  <a:lnTo>
                    <a:pt x="1606" y="2656"/>
                  </a:lnTo>
                  <a:lnTo>
                    <a:pt x="1584" y="2660"/>
                  </a:lnTo>
                  <a:lnTo>
                    <a:pt x="1584" y="2662"/>
                  </a:lnTo>
                  <a:lnTo>
                    <a:pt x="1584" y="2664"/>
                  </a:lnTo>
                  <a:lnTo>
                    <a:pt x="1592" y="2666"/>
                  </a:lnTo>
                  <a:lnTo>
                    <a:pt x="1594" y="2668"/>
                  </a:lnTo>
                  <a:lnTo>
                    <a:pt x="1594" y="2672"/>
                  </a:lnTo>
                  <a:lnTo>
                    <a:pt x="1586" y="2674"/>
                  </a:lnTo>
                  <a:lnTo>
                    <a:pt x="1570" y="2674"/>
                  </a:lnTo>
                  <a:lnTo>
                    <a:pt x="1558" y="2672"/>
                  </a:lnTo>
                  <a:lnTo>
                    <a:pt x="1554" y="2670"/>
                  </a:lnTo>
                  <a:lnTo>
                    <a:pt x="1552" y="2666"/>
                  </a:lnTo>
                  <a:lnTo>
                    <a:pt x="1552" y="2664"/>
                  </a:lnTo>
                  <a:lnTo>
                    <a:pt x="1550" y="2662"/>
                  </a:lnTo>
                  <a:lnTo>
                    <a:pt x="1544" y="2662"/>
                  </a:lnTo>
                  <a:lnTo>
                    <a:pt x="1538" y="2666"/>
                  </a:lnTo>
                  <a:lnTo>
                    <a:pt x="1536" y="2668"/>
                  </a:lnTo>
                  <a:lnTo>
                    <a:pt x="1538" y="2670"/>
                  </a:lnTo>
                  <a:lnTo>
                    <a:pt x="1540" y="2672"/>
                  </a:lnTo>
                  <a:lnTo>
                    <a:pt x="1540" y="2674"/>
                  </a:lnTo>
                  <a:lnTo>
                    <a:pt x="1536" y="2676"/>
                  </a:lnTo>
                  <a:lnTo>
                    <a:pt x="1530" y="2676"/>
                  </a:lnTo>
                  <a:lnTo>
                    <a:pt x="1528" y="2674"/>
                  </a:lnTo>
                  <a:lnTo>
                    <a:pt x="1526" y="2672"/>
                  </a:lnTo>
                  <a:lnTo>
                    <a:pt x="1524" y="2670"/>
                  </a:lnTo>
                  <a:lnTo>
                    <a:pt x="1520" y="2668"/>
                  </a:lnTo>
                  <a:lnTo>
                    <a:pt x="1516" y="2666"/>
                  </a:lnTo>
                  <a:lnTo>
                    <a:pt x="1510" y="2668"/>
                  </a:lnTo>
                  <a:lnTo>
                    <a:pt x="1506" y="2670"/>
                  </a:lnTo>
                  <a:lnTo>
                    <a:pt x="1500" y="2672"/>
                  </a:lnTo>
                  <a:lnTo>
                    <a:pt x="1494" y="2678"/>
                  </a:lnTo>
                  <a:lnTo>
                    <a:pt x="1488" y="2686"/>
                  </a:lnTo>
                  <a:lnTo>
                    <a:pt x="1482" y="2692"/>
                  </a:lnTo>
                  <a:lnTo>
                    <a:pt x="1480" y="2694"/>
                  </a:lnTo>
                  <a:lnTo>
                    <a:pt x="1478" y="2696"/>
                  </a:lnTo>
                  <a:lnTo>
                    <a:pt x="1476" y="2706"/>
                  </a:lnTo>
                  <a:lnTo>
                    <a:pt x="1474" y="2716"/>
                  </a:lnTo>
                  <a:lnTo>
                    <a:pt x="1474" y="2718"/>
                  </a:lnTo>
                  <a:lnTo>
                    <a:pt x="1476" y="2720"/>
                  </a:lnTo>
                  <a:lnTo>
                    <a:pt x="1482" y="2720"/>
                  </a:lnTo>
                  <a:lnTo>
                    <a:pt x="1496" y="2716"/>
                  </a:lnTo>
                  <a:lnTo>
                    <a:pt x="1504" y="2716"/>
                  </a:lnTo>
                  <a:lnTo>
                    <a:pt x="1506" y="2716"/>
                  </a:lnTo>
                  <a:lnTo>
                    <a:pt x="1506" y="2718"/>
                  </a:lnTo>
                  <a:lnTo>
                    <a:pt x="1504" y="2720"/>
                  </a:lnTo>
                  <a:lnTo>
                    <a:pt x="1500" y="2728"/>
                  </a:lnTo>
                  <a:lnTo>
                    <a:pt x="1498" y="2732"/>
                  </a:lnTo>
                  <a:lnTo>
                    <a:pt x="1502" y="2734"/>
                  </a:lnTo>
                  <a:lnTo>
                    <a:pt x="1504" y="2738"/>
                  </a:lnTo>
                  <a:lnTo>
                    <a:pt x="1504" y="2740"/>
                  </a:lnTo>
                  <a:lnTo>
                    <a:pt x="1502" y="2746"/>
                  </a:lnTo>
                  <a:lnTo>
                    <a:pt x="1502" y="2750"/>
                  </a:lnTo>
                  <a:lnTo>
                    <a:pt x="1504" y="2752"/>
                  </a:lnTo>
                  <a:lnTo>
                    <a:pt x="1506" y="2752"/>
                  </a:lnTo>
                  <a:lnTo>
                    <a:pt x="1510" y="2754"/>
                  </a:lnTo>
                  <a:lnTo>
                    <a:pt x="1510" y="2756"/>
                  </a:lnTo>
                  <a:lnTo>
                    <a:pt x="1504" y="2760"/>
                  </a:lnTo>
                  <a:lnTo>
                    <a:pt x="1498" y="2766"/>
                  </a:lnTo>
                  <a:lnTo>
                    <a:pt x="1498" y="2768"/>
                  </a:lnTo>
                  <a:lnTo>
                    <a:pt x="1502" y="2770"/>
                  </a:lnTo>
                  <a:lnTo>
                    <a:pt x="1508" y="2774"/>
                  </a:lnTo>
                  <a:lnTo>
                    <a:pt x="1510" y="2778"/>
                  </a:lnTo>
                  <a:lnTo>
                    <a:pt x="1510" y="2780"/>
                  </a:lnTo>
                  <a:lnTo>
                    <a:pt x="1508" y="2782"/>
                  </a:lnTo>
                  <a:lnTo>
                    <a:pt x="1504" y="2782"/>
                  </a:lnTo>
                  <a:lnTo>
                    <a:pt x="1500" y="2782"/>
                  </a:lnTo>
                  <a:lnTo>
                    <a:pt x="1496" y="2780"/>
                  </a:lnTo>
                  <a:lnTo>
                    <a:pt x="1494" y="2774"/>
                  </a:lnTo>
                  <a:lnTo>
                    <a:pt x="1492" y="2768"/>
                  </a:lnTo>
                  <a:lnTo>
                    <a:pt x="1488" y="2768"/>
                  </a:lnTo>
                  <a:lnTo>
                    <a:pt x="1486" y="2768"/>
                  </a:lnTo>
                  <a:lnTo>
                    <a:pt x="1486" y="2772"/>
                  </a:lnTo>
                  <a:lnTo>
                    <a:pt x="1484" y="2782"/>
                  </a:lnTo>
                  <a:lnTo>
                    <a:pt x="1486" y="2788"/>
                  </a:lnTo>
                  <a:lnTo>
                    <a:pt x="1490" y="2792"/>
                  </a:lnTo>
                  <a:lnTo>
                    <a:pt x="1494" y="2794"/>
                  </a:lnTo>
                  <a:lnTo>
                    <a:pt x="1498" y="2794"/>
                  </a:lnTo>
                  <a:lnTo>
                    <a:pt x="1500" y="2794"/>
                  </a:lnTo>
                  <a:lnTo>
                    <a:pt x="1504" y="2796"/>
                  </a:lnTo>
                  <a:lnTo>
                    <a:pt x="1508" y="2800"/>
                  </a:lnTo>
                  <a:lnTo>
                    <a:pt x="1510" y="2800"/>
                  </a:lnTo>
                  <a:lnTo>
                    <a:pt x="1518" y="2802"/>
                  </a:lnTo>
                  <a:lnTo>
                    <a:pt x="1520" y="2802"/>
                  </a:lnTo>
                  <a:lnTo>
                    <a:pt x="1522" y="2804"/>
                  </a:lnTo>
                  <a:lnTo>
                    <a:pt x="1522" y="2806"/>
                  </a:lnTo>
                  <a:lnTo>
                    <a:pt x="1520" y="2810"/>
                  </a:lnTo>
                  <a:lnTo>
                    <a:pt x="1516" y="2818"/>
                  </a:lnTo>
                  <a:lnTo>
                    <a:pt x="1516" y="2822"/>
                  </a:lnTo>
                  <a:lnTo>
                    <a:pt x="1520" y="2826"/>
                  </a:lnTo>
                  <a:lnTo>
                    <a:pt x="1520" y="2832"/>
                  </a:lnTo>
                  <a:lnTo>
                    <a:pt x="1520" y="2836"/>
                  </a:lnTo>
                  <a:lnTo>
                    <a:pt x="1522" y="2838"/>
                  </a:lnTo>
                  <a:lnTo>
                    <a:pt x="1526" y="2838"/>
                  </a:lnTo>
                  <a:lnTo>
                    <a:pt x="1528" y="2840"/>
                  </a:lnTo>
                  <a:lnTo>
                    <a:pt x="1530" y="2844"/>
                  </a:lnTo>
                  <a:lnTo>
                    <a:pt x="1530" y="2848"/>
                  </a:lnTo>
                  <a:lnTo>
                    <a:pt x="1530" y="2850"/>
                  </a:lnTo>
                  <a:lnTo>
                    <a:pt x="1524" y="2850"/>
                  </a:lnTo>
                  <a:lnTo>
                    <a:pt x="1518" y="2850"/>
                  </a:lnTo>
                  <a:lnTo>
                    <a:pt x="1520" y="2854"/>
                  </a:lnTo>
                  <a:lnTo>
                    <a:pt x="1522" y="2856"/>
                  </a:lnTo>
                  <a:lnTo>
                    <a:pt x="1528" y="2858"/>
                  </a:lnTo>
                  <a:lnTo>
                    <a:pt x="1542" y="2856"/>
                  </a:lnTo>
                  <a:lnTo>
                    <a:pt x="1552" y="2856"/>
                  </a:lnTo>
                  <a:lnTo>
                    <a:pt x="1556" y="2858"/>
                  </a:lnTo>
                  <a:lnTo>
                    <a:pt x="1554" y="2860"/>
                  </a:lnTo>
                  <a:lnTo>
                    <a:pt x="1550" y="2864"/>
                  </a:lnTo>
                  <a:lnTo>
                    <a:pt x="1546" y="2866"/>
                  </a:lnTo>
                  <a:lnTo>
                    <a:pt x="1534" y="2868"/>
                  </a:lnTo>
                  <a:lnTo>
                    <a:pt x="1526" y="2870"/>
                  </a:lnTo>
                  <a:lnTo>
                    <a:pt x="1524" y="2870"/>
                  </a:lnTo>
                  <a:lnTo>
                    <a:pt x="1526" y="2872"/>
                  </a:lnTo>
                  <a:lnTo>
                    <a:pt x="1528" y="2876"/>
                  </a:lnTo>
                  <a:lnTo>
                    <a:pt x="1532" y="2876"/>
                  </a:lnTo>
                  <a:lnTo>
                    <a:pt x="1540" y="2874"/>
                  </a:lnTo>
                  <a:lnTo>
                    <a:pt x="1548" y="2872"/>
                  </a:lnTo>
                  <a:lnTo>
                    <a:pt x="1550" y="2872"/>
                  </a:lnTo>
                  <a:lnTo>
                    <a:pt x="1552" y="2876"/>
                  </a:lnTo>
                  <a:lnTo>
                    <a:pt x="1552" y="2878"/>
                  </a:lnTo>
                  <a:lnTo>
                    <a:pt x="1554" y="2878"/>
                  </a:lnTo>
                  <a:lnTo>
                    <a:pt x="1560" y="2872"/>
                  </a:lnTo>
                  <a:lnTo>
                    <a:pt x="1564" y="2870"/>
                  </a:lnTo>
                  <a:lnTo>
                    <a:pt x="1568" y="2868"/>
                  </a:lnTo>
                  <a:lnTo>
                    <a:pt x="1572" y="2868"/>
                  </a:lnTo>
                  <a:lnTo>
                    <a:pt x="1576" y="2870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8" y="2874"/>
                  </a:lnTo>
                  <a:lnTo>
                    <a:pt x="1590" y="2872"/>
                  </a:lnTo>
                  <a:lnTo>
                    <a:pt x="1592" y="2874"/>
                  </a:lnTo>
                  <a:lnTo>
                    <a:pt x="1594" y="2880"/>
                  </a:lnTo>
                  <a:lnTo>
                    <a:pt x="1598" y="2886"/>
                  </a:lnTo>
                  <a:lnTo>
                    <a:pt x="1602" y="2892"/>
                  </a:lnTo>
                  <a:lnTo>
                    <a:pt x="1610" y="2900"/>
                  </a:lnTo>
                  <a:lnTo>
                    <a:pt x="1616" y="2902"/>
                  </a:lnTo>
                  <a:lnTo>
                    <a:pt x="1620" y="2904"/>
                  </a:lnTo>
                  <a:lnTo>
                    <a:pt x="1624" y="2904"/>
                  </a:lnTo>
                  <a:lnTo>
                    <a:pt x="1628" y="2902"/>
                  </a:lnTo>
                  <a:lnTo>
                    <a:pt x="1634" y="2896"/>
                  </a:lnTo>
                  <a:lnTo>
                    <a:pt x="1638" y="2894"/>
                  </a:lnTo>
                  <a:lnTo>
                    <a:pt x="1640" y="2894"/>
                  </a:lnTo>
                  <a:lnTo>
                    <a:pt x="1642" y="2896"/>
                  </a:lnTo>
                  <a:lnTo>
                    <a:pt x="1646" y="2898"/>
                  </a:lnTo>
                  <a:lnTo>
                    <a:pt x="1648" y="2896"/>
                  </a:lnTo>
                  <a:lnTo>
                    <a:pt x="1652" y="2894"/>
                  </a:lnTo>
                  <a:lnTo>
                    <a:pt x="1654" y="2890"/>
                  </a:lnTo>
                  <a:lnTo>
                    <a:pt x="1654" y="2884"/>
                  </a:lnTo>
                  <a:lnTo>
                    <a:pt x="1654" y="2872"/>
                  </a:lnTo>
                  <a:lnTo>
                    <a:pt x="1656" y="2866"/>
                  </a:lnTo>
                  <a:lnTo>
                    <a:pt x="1662" y="2864"/>
                  </a:lnTo>
                  <a:lnTo>
                    <a:pt x="1670" y="2864"/>
                  </a:lnTo>
                  <a:lnTo>
                    <a:pt x="1686" y="2868"/>
                  </a:lnTo>
                  <a:lnTo>
                    <a:pt x="1700" y="2874"/>
                  </a:lnTo>
                  <a:lnTo>
                    <a:pt x="1712" y="2882"/>
                  </a:lnTo>
                  <a:lnTo>
                    <a:pt x="1720" y="2890"/>
                  </a:lnTo>
                  <a:lnTo>
                    <a:pt x="1728" y="2898"/>
                  </a:lnTo>
                  <a:lnTo>
                    <a:pt x="1732" y="2904"/>
                  </a:lnTo>
                  <a:lnTo>
                    <a:pt x="1738" y="2908"/>
                  </a:lnTo>
                  <a:lnTo>
                    <a:pt x="1744" y="2910"/>
                  </a:lnTo>
                  <a:lnTo>
                    <a:pt x="1752" y="2908"/>
                  </a:lnTo>
                  <a:lnTo>
                    <a:pt x="1766" y="2904"/>
                  </a:lnTo>
                  <a:lnTo>
                    <a:pt x="1778" y="2902"/>
                  </a:lnTo>
                  <a:lnTo>
                    <a:pt x="1782" y="2900"/>
                  </a:lnTo>
                  <a:lnTo>
                    <a:pt x="1788" y="2898"/>
                  </a:lnTo>
                  <a:lnTo>
                    <a:pt x="1794" y="2892"/>
                  </a:lnTo>
                  <a:lnTo>
                    <a:pt x="1802" y="2884"/>
                  </a:lnTo>
                  <a:lnTo>
                    <a:pt x="1814" y="2872"/>
                  </a:lnTo>
                  <a:lnTo>
                    <a:pt x="1822" y="2868"/>
                  </a:lnTo>
                  <a:lnTo>
                    <a:pt x="1828" y="2868"/>
                  </a:lnTo>
                  <a:lnTo>
                    <a:pt x="1834" y="2872"/>
                  </a:lnTo>
                  <a:lnTo>
                    <a:pt x="1838" y="2876"/>
                  </a:lnTo>
                  <a:lnTo>
                    <a:pt x="1844" y="2880"/>
                  </a:lnTo>
                  <a:lnTo>
                    <a:pt x="1848" y="2880"/>
                  </a:lnTo>
                  <a:lnTo>
                    <a:pt x="1856" y="2876"/>
                  </a:lnTo>
                  <a:lnTo>
                    <a:pt x="1868" y="2864"/>
                  </a:lnTo>
                  <a:lnTo>
                    <a:pt x="1876" y="2860"/>
                  </a:lnTo>
                  <a:lnTo>
                    <a:pt x="1878" y="2860"/>
                  </a:lnTo>
                  <a:lnTo>
                    <a:pt x="1880" y="2862"/>
                  </a:lnTo>
                  <a:lnTo>
                    <a:pt x="1882" y="2870"/>
                  </a:lnTo>
                  <a:lnTo>
                    <a:pt x="1882" y="2874"/>
                  </a:lnTo>
                  <a:lnTo>
                    <a:pt x="1880" y="2878"/>
                  </a:lnTo>
                  <a:lnTo>
                    <a:pt x="1872" y="2886"/>
                  </a:lnTo>
                  <a:lnTo>
                    <a:pt x="1866" y="2892"/>
                  </a:lnTo>
                  <a:lnTo>
                    <a:pt x="1864" y="2894"/>
                  </a:lnTo>
                  <a:lnTo>
                    <a:pt x="1866" y="2896"/>
                  </a:lnTo>
                  <a:lnTo>
                    <a:pt x="1872" y="2906"/>
                  </a:lnTo>
                  <a:lnTo>
                    <a:pt x="1872" y="2910"/>
                  </a:lnTo>
                  <a:lnTo>
                    <a:pt x="1872" y="2914"/>
                  </a:lnTo>
                  <a:lnTo>
                    <a:pt x="1868" y="2918"/>
                  </a:lnTo>
                  <a:lnTo>
                    <a:pt x="1864" y="2924"/>
                  </a:lnTo>
                  <a:lnTo>
                    <a:pt x="1862" y="2930"/>
                  </a:lnTo>
                  <a:lnTo>
                    <a:pt x="1866" y="2940"/>
                  </a:lnTo>
                  <a:lnTo>
                    <a:pt x="1870" y="2948"/>
                  </a:lnTo>
                  <a:lnTo>
                    <a:pt x="1870" y="2956"/>
                  </a:lnTo>
                  <a:lnTo>
                    <a:pt x="1870" y="2966"/>
                  </a:lnTo>
                  <a:lnTo>
                    <a:pt x="1872" y="2980"/>
                  </a:lnTo>
                  <a:lnTo>
                    <a:pt x="1872" y="2986"/>
                  </a:lnTo>
                  <a:lnTo>
                    <a:pt x="1870" y="2990"/>
                  </a:lnTo>
                  <a:lnTo>
                    <a:pt x="1866" y="2996"/>
                  </a:lnTo>
                  <a:lnTo>
                    <a:pt x="1860" y="3000"/>
                  </a:lnTo>
                  <a:lnTo>
                    <a:pt x="1858" y="3006"/>
                  </a:lnTo>
                  <a:lnTo>
                    <a:pt x="1858" y="3012"/>
                  </a:lnTo>
                  <a:lnTo>
                    <a:pt x="1858" y="3020"/>
                  </a:lnTo>
                  <a:lnTo>
                    <a:pt x="1856" y="3020"/>
                  </a:lnTo>
                  <a:lnTo>
                    <a:pt x="1854" y="3024"/>
                  </a:lnTo>
                  <a:lnTo>
                    <a:pt x="1850" y="3034"/>
                  </a:lnTo>
                  <a:lnTo>
                    <a:pt x="1848" y="3044"/>
                  </a:lnTo>
                  <a:lnTo>
                    <a:pt x="1846" y="3050"/>
                  </a:lnTo>
                  <a:lnTo>
                    <a:pt x="1842" y="3054"/>
                  </a:lnTo>
                  <a:lnTo>
                    <a:pt x="1838" y="3064"/>
                  </a:lnTo>
                  <a:lnTo>
                    <a:pt x="1824" y="3108"/>
                  </a:lnTo>
                  <a:lnTo>
                    <a:pt x="1818" y="3130"/>
                  </a:lnTo>
                  <a:lnTo>
                    <a:pt x="1814" y="3144"/>
                  </a:lnTo>
                  <a:lnTo>
                    <a:pt x="1806" y="3154"/>
                  </a:lnTo>
                  <a:lnTo>
                    <a:pt x="1800" y="3160"/>
                  </a:lnTo>
                  <a:lnTo>
                    <a:pt x="1768" y="3170"/>
                  </a:lnTo>
                  <a:lnTo>
                    <a:pt x="1764" y="3170"/>
                  </a:lnTo>
                  <a:lnTo>
                    <a:pt x="1760" y="3166"/>
                  </a:lnTo>
                  <a:lnTo>
                    <a:pt x="1756" y="3164"/>
                  </a:lnTo>
                  <a:lnTo>
                    <a:pt x="1754" y="3166"/>
                  </a:lnTo>
                  <a:lnTo>
                    <a:pt x="1748" y="3168"/>
                  </a:lnTo>
                  <a:lnTo>
                    <a:pt x="1744" y="3170"/>
                  </a:lnTo>
                  <a:lnTo>
                    <a:pt x="1740" y="3170"/>
                  </a:lnTo>
                  <a:lnTo>
                    <a:pt x="1734" y="3168"/>
                  </a:lnTo>
                  <a:lnTo>
                    <a:pt x="1728" y="3164"/>
                  </a:lnTo>
                  <a:lnTo>
                    <a:pt x="1726" y="3162"/>
                  </a:lnTo>
                  <a:lnTo>
                    <a:pt x="1724" y="3162"/>
                  </a:lnTo>
                  <a:lnTo>
                    <a:pt x="1724" y="3164"/>
                  </a:lnTo>
                  <a:lnTo>
                    <a:pt x="1724" y="3168"/>
                  </a:lnTo>
                  <a:lnTo>
                    <a:pt x="1720" y="3170"/>
                  </a:lnTo>
                  <a:lnTo>
                    <a:pt x="1734" y="3232"/>
                  </a:lnTo>
                  <a:lnTo>
                    <a:pt x="1734" y="3230"/>
                  </a:lnTo>
                  <a:lnTo>
                    <a:pt x="1738" y="3232"/>
                  </a:lnTo>
                  <a:lnTo>
                    <a:pt x="1738" y="3236"/>
                  </a:lnTo>
                  <a:lnTo>
                    <a:pt x="1738" y="3242"/>
                  </a:lnTo>
                  <a:lnTo>
                    <a:pt x="1740" y="3252"/>
                  </a:lnTo>
                  <a:lnTo>
                    <a:pt x="1744" y="3260"/>
                  </a:lnTo>
                  <a:lnTo>
                    <a:pt x="1750" y="3266"/>
                  </a:lnTo>
                  <a:lnTo>
                    <a:pt x="1754" y="3272"/>
                  </a:lnTo>
                  <a:lnTo>
                    <a:pt x="1758" y="3278"/>
                  </a:lnTo>
                  <a:lnTo>
                    <a:pt x="1760" y="3288"/>
                  </a:lnTo>
                  <a:lnTo>
                    <a:pt x="1762" y="3300"/>
                  </a:lnTo>
                  <a:lnTo>
                    <a:pt x="1766" y="3306"/>
                  </a:lnTo>
                  <a:lnTo>
                    <a:pt x="1770" y="3312"/>
                  </a:lnTo>
                  <a:lnTo>
                    <a:pt x="1784" y="3328"/>
                  </a:lnTo>
                  <a:lnTo>
                    <a:pt x="1792" y="3340"/>
                  </a:lnTo>
                  <a:lnTo>
                    <a:pt x="1796" y="3344"/>
                  </a:lnTo>
                  <a:lnTo>
                    <a:pt x="1800" y="3346"/>
                  </a:lnTo>
                  <a:lnTo>
                    <a:pt x="1802" y="3344"/>
                  </a:lnTo>
                  <a:lnTo>
                    <a:pt x="1804" y="3340"/>
                  </a:lnTo>
                  <a:lnTo>
                    <a:pt x="1810" y="3328"/>
                  </a:lnTo>
                  <a:lnTo>
                    <a:pt x="1812" y="3314"/>
                  </a:lnTo>
                  <a:lnTo>
                    <a:pt x="1816" y="3292"/>
                  </a:lnTo>
                  <a:lnTo>
                    <a:pt x="1830" y="3254"/>
                  </a:lnTo>
                  <a:lnTo>
                    <a:pt x="1832" y="3250"/>
                  </a:lnTo>
                  <a:lnTo>
                    <a:pt x="1832" y="3256"/>
                  </a:lnTo>
                  <a:lnTo>
                    <a:pt x="1832" y="3260"/>
                  </a:lnTo>
                  <a:lnTo>
                    <a:pt x="1826" y="3286"/>
                  </a:lnTo>
                  <a:lnTo>
                    <a:pt x="1826" y="3296"/>
                  </a:lnTo>
                  <a:lnTo>
                    <a:pt x="1826" y="3302"/>
                  </a:lnTo>
                  <a:lnTo>
                    <a:pt x="1822" y="3312"/>
                  </a:lnTo>
                  <a:lnTo>
                    <a:pt x="1818" y="3328"/>
                  </a:lnTo>
                  <a:lnTo>
                    <a:pt x="1818" y="3330"/>
                  </a:lnTo>
                  <a:lnTo>
                    <a:pt x="1824" y="3328"/>
                  </a:lnTo>
                  <a:lnTo>
                    <a:pt x="1828" y="3326"/>
                  </a:lnTo>
                  <a:lnTo>
                    <a:pt x="1834" y="3326"/>
                  </a:lnTo>
                  <a:lnTo>
                    <a:pt x="1838" y="3328"/>
                  </a:lnTo>
                  <a:lnTo>
                    <a:pt x="1840" y="3330"/>
                  </a:lnTo>
                  <a:lnTo>
                    <a:pt x="1848" y="3340"/>
                  </a:lnTo>
                  <a:lnTo>
                    <a:pt x="1864" y="3372"/>
                  </a:lnTo>
                  <a:lnTo>
                    <a:pt x="1880" y="3406"/>
                  </a:lnTo>
                  <a:lnTo>
                    <a:pt x="1888" y="3418"/>
                  </a:lnTo>
                  <a:lnTo>
                    <a:pt x="1896" y="3428"/>
                  </a:lnTo>
                  <a:lnTo>
                    <a:pt x="1900" y="3434"/>
                  </a:lnTo>
                  <a:lnTo>
                    <a:pt x="1900" y="3440"/>
                  </a:lnTo>
                  <a:lnTo>
                    <a:pt x="1902" y="3444"/>
                  </a:lnTo>
                  <a:lnTo>
                    <a:pt x="1908" y="3450"/>
                  </a:lnTo>
                  <a:lnTo>
                    <a:pt x="1916" y="3458"/>
                  </a:lnTo>
                  <a:lnTo>
                    <a:pt x="1922" y="3470"/>
                  </a:lnTo>
                  <a:lnTo>
                    <a:pt x="1926" y="3482"/>
                  </a:lnTo>
                  <a:lnTo>
                    <a:pt x="1926" y="3486"/>
                  </a:lnTo>
                  <a:lnTo>
                    <a:pt x="1924" y="3492"/>
                  </a:lnTo>
                  <a:lnTo>
                    <a:pt x="1922" y="3496"/>
                  </a:lnTo>
                  <a:lnTo>
                    <a:pt x="1924" y="3502"/>
                  </a:lnTo>
                  <a:lnTo>
                    <a:pt x="1926" y="3506"/>
                  </a:lnTo>
                  <a:lnTo>
                    <a:pt x="1928" y="3512"/>
                  </a:lnTo>
                  <a:lnTo>
                    <a:pt x="1938" y="3522"/>
                  </a:lnTo>
                  <a:lnTo>
                    <a:pt x="1944" y="3526"/>
                  </a:lnTo>
                  <a:lnTo>
                    <a:pt x="1952" y="3528"/>
                  </a:lnTo>
                  <a:lnTo>
                    <a:pt x="1958" y="3532"/>
                  </a:lnTo>
                  <a:lnTo>
                    <a:pt x="1964" y="3538"/>
                  </a:lnTo>
                  <a:lnTo>
                    <a:pt x="1970" y="3548"/>
                  </a:lnTo>
                  <a:lnTo>
                    <a:pt x="1976" y="3560"/>
                  </a:lnTo>
                  <a:lnTo>
                    <a:pt x="1988" y="3586"/>
                  </a:lnTo>
                  <a:lnTo>
                    <a:pt x="1996" y="3610"/>
                  </a:lnTo>
                  <a:lnTo>
                    <a:pt x="1998" y="3620"/>
                  </a:lnTo>
                  <a:lnTo>
                    <a:pt x="1998" y="3626"/>
                  </a:lnTo>
                  <a:lnTo>
                    <a:pt x="1998" y="3632"/>
                  </a:lnTo>
                  <a:lnTo>
                    <a:pt x="1996" y="3636"/>
                  </a:lnTo>
                  <a:lnTo>
                    <a:pt x="1994" y="3638"/>
                  </a:lnTo>
                  <a:lnTo>
                    <a:pt x="1992" y="3642"/>
                  </a:lnTo>
                  <a:lnTo>
                    <a:pt x="1994" y="3648"/>
                  </a:lnTo>
                  <a:lnTo>
                    <a:pt x="1996" y="3656"/>
                  </a:lnTo>
                  <a:lnTo>
                    <a:pt x="2000" y="3664"/>
                  </a:lnTo>
                  <a:lnTo>
                    <a:pt x="2000" y="3668"/>
                  </a:lnTo>
                  <a:lnTo>
                    <a:pt x="1998" y="3670"/>
                  </a:lnTo>
                  <a:lnTo>
                    <a:pt x="1998" y="3672"/>
                  </a:lnTo>
                  <a:lnTo>
                    <a:pt x="1996" y="3674"/>
                  </a:lnTo>
                  <a:lnTo>
                    <a:pt x="1996" y="3676"/>
                  </a:lnTo>
                  <a:lnTo>
                    <a:pt x="2004" y="3690"/>
                  </a:lnTo>
                  <a:lnTo>
                    <a:pt x="2014" y="3706"/>
                  </a:lnTo>
                  <a:lnTo>
                    <a:pt x="2020" y="3716"/>
                  </a:lnTo>
                  <a:lnTo>
                    <a:pt x="2026" y="3722"/>
                  </a:lnTo>
                  <a:lnTo>
                    <a:pt x="2036" y="3726"/>
                  </a:lnTo>
                  <a:lnTo>
                    <a:pt x="2042" y="3730"/>
                  </a:lnTo>
                  <a:lnTo>
                    <a:pt x="2048" y="3734"/>
                  </a:lnTo>
                  <a:lnTo>
                    <a:pt x="2058" y="3744"/>
                  </a:lnTo>
                  <a:lnTo>
                    <a:pt x="2064" y="3758"/>
                  </a:lnTo>
                  <a:lnTo>
                    <a:pt x="2072" y="3770"/>
                  </a:lnTo>
                  <a:lnTo>
                    <a:pt x="2078" y="3778"/>
                  </a:lnTo>
                  <a:lnTo>
                    <a:pt x="2082" y="3782"/>
                  </a:lnTo>
                  <a:lnTo>
                    <a:pt x="2084" y="3786"/>
                  </a:lnTo>
                  <a:lnTo>
                    <a:pt x="2084" y="3796"/>
                  </a:lnTo>
                  <a:lnTo>
                    <a:pt x="2086" y="3804"/>
                  </a:lnTo>
                  <a:lnTo>
                    <a:pt x="2088" y="3810"/>
                  </a:lnTo>
                  <a:lnTo>
                    <a:pt x="2092" y="3816"/>
                  </a:lnTo>
                  <a:lnTo>
                    <a:pt x="2094" y="3824"/>
                  </a:lnTo>
                  <a:lnTo>
                    <a:pt x="2096" y="3830"/>
                  </a:lnTo>
                  <a:lnTo>
                    <a:pt x="2098" y="3836"/>
                  </a:lnTo>
                  <a:lnTo>
                    <a:pt x="2108" y="3848"/>
                  </a:lnTo>
                  <a:lnTo>
                    <a:pt x="2120" y="3862"/>
                  </a:lnTo>
                  <a:lnTo>
                    <a:pt x="2124" y="3870"/>
                  </a:lnTo>
                  <a:lnTo>
                    <a:pt x="2126" y="3878"/>
                  </a:lnTo>
                  <a:lnTo>
                    <a:pt x="2128" y="3884"/>
                  </a:lnTo>
                  <a:lnTo>
                    <a:pt x="2130" y="3886"/>
                  </a:lnTo>
                  <a:lnTo>
                    <a:pt x="2134" y="3886"/>
                  </a:lnTo>
                  <a:lnTo>
                    <a:pt x="2138" y="3888"/>
                  </a:lnTo>
                  <a:lnTo>
                    <a:pt x="2140" y="3892"/>
                  </a:lnTo>
                  <a:lnTo>
                    <a:pt x="2144" y="3902"/>
                  </a:lnTo>
                  <a:lnTo>
                    <a:pt x="2146" y="3918"/>
                  </a:lnTo>
                  <a:lnTo>
                    <a:pt x="2148" y="3936"/>
                  </a:lnTo>
                  <a:lnTo>
                    <a:pt x="2146" y="3944"/>
                  </a:lnTo>
                  <a:lnTo>
                    <a:pt x="2142" y="3952"/>
                  </a:lnTo>
                  <a:lnTo>
                    <a:pt x="2142" y="3954"/>
                  </a:lnTo>
                  <a:lnTo>
                    <a:pt x="2142" y="3958"/>
                  </a:lnTo>
                  <a:lnTo>
                    <a:pt x="2144" y="3964"/>
                  </a:lnTo>
                  <a:lnTo>
                    <a:pt x="2146" y="3968"/>
                  </a:lnTo>
                  <a:lnTo>
                    <a:pt x="2146" y="3972"/>
                  </a:lnTo>
                  <a:lnTo>
                    <a:pt x="2144" y="3974"/>
                  </a:lnTo>
                  <a:lnTo>
                    <a:pt x="2140" y="3976"/>
                  </a:lnTo>
                  <a:lnTo>
                    <a:pt x="2142" y="3980"/>
                  </a:lnTo>
                  <a:lnTo>
                    <a:pt x="2146" y="3982"/>
                  </a:lnTo>
                  <a:lnTo>
                    <a:pt x="2148" y="3986"/>
                  </a:lnTo>
                  <a:lnTo>
                    <a:pt x="2150" y="3988"/>
                  </a:lnTo>
                  <a:lnTo>
                    <a:pt x="2150" y="3996"/>
                  </a:lnTo>
                  <a:lnTo>
                    <a:pt x="2152" y="4000"/>
                  </a:lnTo>
                  <a:lnTo>
                    <a:pt x="2154" y="4008"/>
                  </a:lnTo>
                  <a:lnTo>
                    <a:pt x="2156" y="4020"/>
                  </a:lnTo>
                  <a:lnTo>
                    <a:pt x="2158" y="4034"/>
                  </a:lnTo>
                  <a:lnTo>
                    <a:pt x="2162" y="4044"/>
                  </a:lnTo>
                  <a:lnTo>
                    <a:pt x="2166" y="4054"/>
                  </a:lnTo>
                  <a:lnTo>
                    <a:pt x="2166" y="4058"/>
                  </a:lnTo>
                  <a:lnTo>
                    <a:pt x="2166" y="4064"/>
                  </a:lnTo>
                  <a:lnTo>
                    <a:pt x="2164" y="4072"/>
                  </a:lnTo>
                  <a:lnTo>
                    <a:pt x="2166" y="4076"/>
                  </a:lnTo>
                  <a:lnTo>
                    <a:pt x="2168" y="4082"/>
                  </a:lnTo>
                  <a:lnTo>
                    <a:pt x="2172" y="4092"/>
                  </a:lnTo>
                  <a:lnTo>
                    <a:pt x="2176" y="4100"/>
                  </a:lnTo>
                  <a:lnTo>
                    <a:pt x="2178" y="4102"/>
                  </a:lnTo>
                  <a:lnTo>
                    <a:pt x="2180" y="4102"/>
                  </a:lnTo>
                  <a:lnTo>
                    <a:pt x="2184" y="4100"/>
                  </a:lnTo>
                  <a:lnTo>
                    <a:pt x="2186" y="4102"/>
                  </a:lnTo>
                  <a:lnTo>
                    <a:pt x="2190" y="4104"/>
                  </a:lnTo>
                  <a:lnTo>
                    <a:pt x="2196" y="4108"/>
                  </a:lnTo>
                  <a:lnTo>
                    <a:pt x="2200" y="4106"/>
                  </a:lnTo>
                  <a:lnTo>
                    <a:pt x="2204" y="4104"/>
                  </a:lnTo>
                  <a:lnTo>
                    <a:pt x="2208" y="4104"/>
                  </a:lnTo>
                  <a:lnTo>
                    <a:pt x="2212" y="4104"/>
                  </a:lnTo>
                  <a:lnTo>
                    <a:pt x="2214" y="4102"/>
                  </a:lnTo>
                  <a:lnTo>
                    <a:pt x="2218" y="4098"/>
                  </a:lnTo>
                  <a:lnTo>
                    <a:pt x="2226" y="4098"/>
                  </a:lnTo>
                  <a:lnTo>
                    <a:pt x="2232" y="4100"/>
                  </a:lnTo>
                  <a:lnTo>
                    <a:pt x="2236" y="4098"/>
                  </a:lnTo>
                  <a:lnTo>
                    <a:pt x="2238" y="4096"/>
                  </a:lnTo>
                  <a:lnTo>
                    <a:pt x="2240" y="4094"/>
                  </a:lnTo>
                  <a:lnTo>
                    <a:pt x="2242" y="4090"/>
                  </a:lnTo>
                  <a:lnTo>
                    <a:pt x="2244" y="4088"/>
                  </a:lnTo>
                  <a:lnTo>
                    <a:pt x="2248" y="4088"/>
                  </a:lnTo>
                  <a:lnTo>
                    <a:pt x="2252" y="4086"/>
                  </a:lnTo>
                  <a:lnTo>
                    <a:pt x="2254" y="4084"/>
                  </a:lnTo>
                  <a:lnTo>
                    <a:pt x="2258" y="4074"/>
                  </a:lnTo>
                  <a:lnTo>
                    <a:pt x="2262" y="4070"/>
                  </a:lnTo>
                  <a:lnTo>
                    <a:pt x="2266" y="4068"/>
                  </a:lnTo>
                  <a:lnTo>
                    <a:pt x="2274" y="4066"/>
                  </a:lnTo>
                  <a:lnTo>
                    <a:pt x="2284" y="4066"/>
                  </a:lnTo>
                  <a:lnTo>
                    <a:pt x="2300" y="4066"/>
                  </a:lnTo>
                  <a:lnTo>
                    <a:pt x="2312" y="4062"/>
                  </a:lnTo>
                  <a:lnTo>
                    <a:pt x="2324" y="4058"/>
                  </a:lnTo>
                  <a:lnTo>
                    <a:pt x="2334" y="4050"/>
                  </a:lnTo>
                  <a:lnTo>
                    <a:pt x="2348" y="4038"/>
                  </a:lnTo>
                  <a:lnTo>
                    <a:pt x="2356" y="4036"/>
                  </a:lnTo>
                  <a:lnTo>
                    <a:pt x="2364" y="4036"/>
                  </a:lnTo>
                  <a:lnTo>
                    <a:pt x="2370" y="4038"/>
                  </a:lnTo>
                  <a:lnTo>
                    <a:pt x="2374" y="4038"/>
                  </a:lnTo>
                  <a:lnTo>
                    <a:pt x="2382" y="4034"/>
                  </a:lnTo>
                  <a:lnTo>
                    <a:pt x="2390" y="4028"/>
                  </a:lnTo>
                  <a:lnTo>
                    <a:pt x="2398" y="4020"/>
                  </a:lnTo>
                  <a:lnTo>
                    <a:pt x="2406" y="4010"/>
                  </a:lnTo>
                  <a:lnTo>
                    <a:pt x="2416" y="4002"/>
                  </a:lnTo>
                  <a:lnTo>
                    <a:pt x="2426" y="3998"/>
                  </a:lnTo>
                  <a:lnTo>
                    <a:pt x="2432" y="3996"/>
                  </a:lnTo>
                  <a:lnTo>
                    <a:pt x="2438" y="3998"/>
                  </a:lnTo>
                  <a:lnTo>
                    <a:pt x="2442" y="3998"/>
                  </a:lnTo>
                  <a:lnTo>
                    <a:pt x="2446" y="3996"/>
                  </a:lnTo>
                  <a:lnTo>
                    <a:pt x="2452" y="3992"/>
                  </a:lnTo>
                  <a:lnTo>
                    <a:pt x="2462" y="3986"/>
                  </a:lnTo>
                  <a:lnTo>
                    <a:pt x="2468" y="3982"/>
                  </a:lnTo>
                  <a:lnTo>
                    <a:pt x="2480" y="3978"/>
                  </a:lnTo>
                  <a:lnTo>
                    <a:pt x="2500" y="3972"/>
                  </a:lnTo>
                  <a:lnTo>
                    <a:pt x="2506" y="3968"/>
                  </a:lnTo>
                  <a:lnTo>
                    <a:pt x="2510" y="3966"/>
                  </a:lnTo>
                  <a:lnTo>
                    <a:pt x="2520" y="3962"/>
                  </a:lnTo>
                  <a:lnTo>
                    <a:pt x="2526" y="3960"/>
                  </a:lnTo>
                  <a:lnTo>
                    <a:pt x="2528" y="3954"/>
                  </a:lnTo>
                  <a:lnTo>
                    <a:pt x="2528" y="3942"/>
                  </a:lnTo>
                  <a:lnTo>
                    <a:pt x="2528" y="3934"/>
                  </a:lnTo>
                  <a:lnTo>
                    <a:pt x="2532" y="3926"/>
                  </a:lnTo>
                  <a:lnTo>
                    <a:pt x="2542" y="3916"/>
                  </a:lnTo>
                  <a:lnTo>
                    <a:pt x="2562" y="3906"/>
                  </a:lnTo>
                  <a:lnTo>
                    <a:pt x="2566" y="3902"/>
                  </a:lnTo>
                  <a:lnTo>
                    <a:pt x="2572" y="3902"/>
                  </a:lnTo>
                  <a:lnTo>
                    <a:pt x="2578" y="3902"/>
                  </a:lnTo>
                  <a:lnTo>
                    <a:pt x="2584" y="3902"/>
                  </a:lnTo>
                  <a:lnTo>
                    <a:pt x="2586" y="3900"/>
                  </a:lnTo>
                  <a:lnTo>
                    <a:pt x="2594" y="3894"/>
                  </a:lnTo>
                  <a:lnTo>
                    <a:pt x="2600" y="3892"/>
                  </a:lnTo>
                  <a:lnTo>
                    <a:pt x="2606" y="3890"/>
                  </a:lnTo>
                  <a:lnTo>
                    <a:pt x="2614" y="3888"/>
                  </a:lnTo>
                  <a:lnTo>
                    <a:pt x="2624" y="3890"/>
                  </a:lnTo>
                  <a:lnTo>
                    <a:pt x="2630" y="3890"/>
                  </a:lnTo>
                  <a:lnTo>
                    <a:pt x="2634" y="3890"/>
                  </a:lnTo>
                  <a:lnTo>
                    <a:pt x="2638" y="3888"/>
                  </a:lnTo>
                  <a:lnTo>
                    <a:pt x="2642" y="3886"/>
                  </a:lnTo>
                  <a:lnTo>
                    <a:pt x="2646" y="3878"/>
                  </a:lnTo>
                  <a:lnTo>
                    <a:pt x="2650" y="3868"/>
                  </a:lnTo>
                  <a:lnTo>
                    <a:pt x="2654" y="3858"/>
                  </a:lnTo>
                  <a:lnTo>
                    <a:pt x="2658" y="3850"/>
                  </a:lnTo>
                  <a:lnTo>
                    <a:pt x="2664" y="3844"/>
                  </a:lnTo>
                  <a:lnTo>
                    <a:pt x="2670" y="3842"/>
                  </a:lnTo>
                  <a:lnTo>
                    <a:pt x="2676" y="3842"/>
                  </a:lnTo>
                  <a:lnTo>
                    <a:pt x="2690" y="3840"/>
                  </a:lnTo>
                  <a:lnTo>
                    <a:pt x="2698" y="3836"/>
                  </a:lnTo>
                  <a:lnTo>
                    <a:pt x="2702" y="3830"/>
                  </a:lnTo>
                  <a:lnTo>
                    <a:pt x="2704" y="3822"/>
                  </a:lnTo>
                  <a:lnTo>
                    <a:pt x="2708" y="3814"/>
                  </a:lnTo>
                  <a:lnTo>
                    <a:pt x="2712" y="3806"/>
                  </a:lnTo>
                  <a:lnTo>
                    <a:pt x="2720" y="3798"/>
                  </a:lnTo>
                  <a:lnTo>
                    <a:pt x="2734" y="3794"/>
                  </a:lnTo>
                  <a:lnTo>
                    <a:pt x="2746" y="3790"/>
                  </a:lnTo>
                  <a:lnTo>
                    <a:pt x="2752" y="3786"/>
                  </a:lnTo>
                  <a:lnTo>
                    <a:pt x="2754" y="3782"/>
                  </a:lnTo>
                  <a:lnTo>
                    <a:pt x="2752" y="3776"/>
                  </a:lnTo>
                  <a:lnTo>
                    <a:pt x="2750" y="3768"/>
                  </a:lnTo>
                  <a:lnTo>
                    <a:pt x="2750" y="3758"/>
                  </a:lnTo>
                  <a:lnTo>
                    <a:pt x="2750" y="3746"/>
                  </a:lnTo>
                  <a:lnTo>
                    <a:pt x="2754" y="3730"/>
                  </a:lnTo>
                  <a:lnTo>
                    <a:pt x="2760" y="3716"/>
                  </a:lnTo>
                  <a:lnTo>
                    <a:pt x="2764" y="3710"/>
                  </a:lnTo>
                  <a:lnTo>
                    <a:pt x="2768" y="3712"/>
                  </a:lnTo>
                  <a:lnTo>
                    <a:pt x="2770" y="3714"/>
                  </a:lnTo>
                  <a:lnTo>
                    <a:pt x="2772" y="3718"/>
                  </a:lnTo>
                  <a:lnTo>
                    <a:pt x="2776" y="3720"/>
                  </a:lnTo>
                  <a:lnTo>
                    <a:pt x="2780" y="3716"/>
                  </a:lnTo>
                  <a:lnTo>
                    <a:pt x="2786" y="3704"/>
                  </a:lnTo>
                  <a:lnTo>
                    <a:pt x="2792" y="3692"/>
                  </a:lnTo>
                  <a:lnTo>
                    <a:pt x="2796" y="3684"/>
                  </a:lnTo>
                  <a:lnTo>
                    <a:pt x="2806" y="3674"/>
                  </a:lnTo>
                  <a:lnTo>
                    <a:pt x="2816" y="3664"/>
                  </a:lnTo>
                  <a:lnTo>
                    <a:pt x="2820" y="3656"/>
                  </a:lnTo>
                  <a:lnTo>
                    <a:pt x="2824" y="3644"/>
                  </a:lnTo>
                  <a:lnTo>
                    <a:pt x="2830" y="3628"/>
                  </a:lnTo>
                  <a:lnTo>
                    <a:pt x="2834" y="3618"/>
                  </a:lnTo>
                  <a:lnTo>
                    <a:pt x="2834" y="3616"/>
                  </a:lnTo>
                  <a:lnTo>
                    <a:pt x="2832" y="3614"/>
                  </a:lnTo>
                  <a:lnTo>
                    <a:pt x="2822" y="3608"/>
                  </a:lnTo>
                  <a:close/>
                  <a:moveTo>
                    <a:pt x="2468" y="3400"/>
                  </a:moveTo>
                  <a:lnTo>
                    <a:pt x="2468" y="3400"/>
                  </a:lnTo>
                  <a:lnTo>
                    <a:pt x="2470" y="3400"/>
                  </a:lnTo>
                  <a:lnTo>
                    <a:pt x="2468" y="3400"/>
                  </a:lnTo>
                  <a:close/>
                  <a:moveTo>
                    <a:pt x="1836" y="3098"/>
                  </a:moveTo>
                  <a:lnTo>
                    <a:pt x="1836" y="3098"/>
                  </a:lnTo>
                  <a:lnTo>
                    <a:pt x="1838" y="3094"/>
                  </a:lnTo>
                  <a:lnTo>
                    <a:pt x="1842" y="3094"/>
                  </a:lnTo>
                  <a:lnTo>
                    <a:pt x="1838" y="3094"/>
                  </a:lnTo>
                  <a:lnTo>
                    <a:pt x="1836" y="3098"/>
                  </a:lnTo>
                  <a:close/>
                  <a:moveTo>
                    <a:pt x="1856" y="3100"/>
                  </a:moveTo>
                  <a:lnTo>
                    <a:pt x="1856" y="3100"/>
                  </a:lnTo>
                  <a:lnTo>
                    <a:pt x="1856" y="3102"/>
                  </a:lnTo>
                  <a:lnTo>
                    <a:pt x="1856" y="3100"/>
                  </a:lnTo>
                  <a:lnTo>
                    <a:pt x="1856" y="3090"/>
                  </a:lnTo>
                  <a:lnTo>
                    <a:pt x="1858" y="3084"/>
                  </a:lnTo>
                  <a:lnTo>
                    <a:pt x="1860" y="3082"/>
                  </a:lnTo>
                  <a:lnTo>
                    <a:pt x="1858" y="3084"/>
                  </a:lnTo>
                  <a:lnTo>
                    <a:pt x="1856" y="3090"/>
                  </a:lnTo>
                  <a:lnTo>
                    <a:pt x="1856" y="310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5" name="Freeform 6156">
              <a:extLst>
                <a:ext uri="{FF2B5EF4-FFF2-40B4-BE49-F238E27FC236}">
                  <a16:creationId xmlns:a16="http://schemas.microsoft.com/office/drawing/2014/main" id="{C72AD500-93A3-4AF1-98A7-E15237B01C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7524" y="879407"/>
              <a:ext cx="3719699" cy="3473100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solidFill>
              <a:srgbClr val="CE295E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6" name="Freeform 6004">
              <a:extLst>
                <a:ext uri="{FF2B5EF4-FFF2-40B4-BE49-F238E27FC236}">
                  <a16:creationId xmlns:a16="http://schemas.microsoft.com/office/drawing/2014/main" id="{697EC272-2D49-4013-B34A-B359F6731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764" y="3604257"/>
              <a:ext cx="5081" cy="6348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grpSp>
          <p:nvGrpSpPr>
            <p:cNvPr id="127" name="Gruppe 224">
              <a:extLst>
                <a:ext uri="{FF2B5EF4-FFF2-40B4-BE49-F238E27FC236}">
                  <a16:creationId xmlns:a16="http://schemas.microsoft.com/office/drawing/2014/main" id="{39E5F600-6942-4BA6-8AA7-531D4A04554F}"/>
                </a:ext>
              </a:extLst>
            </p:cNvPr>
            <p:cNvGrpSpPr/>
            <p:nvPr/>
          </p:nvGrpSpPr>
          <p:grpSpPr bwMode="auto">
            <a:xfrm>
              <a:off x="61887" y="752420"/>
              <a:ext cx="3986398" cy="2950877"/>
              <a:chOff x="93979" y="699453"/>
              <a:chExt cx="3986530" cy="2951480"/>
            </a:xfrm>
            <a:grpFill/>
          </p:grpSpPr>
          <p:sp>
            <p:nvSpPr>
              <p:cNvPr id="135" name="Freeform 6016">
                <a:extLst>
                  <a:ext uri="{FF2B5EF4-FFF2-40B4-BE49-F238E27FC236}">
                    <a16:creationId xmlns:a16="http://schemas.microsoft.com/office/drawing/2014/main" id="{69DFCF33-EBD2-4790-ADEE-889828CAC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36" name="Freeform 6017">
                <a:extLst>
                  <a:ext uri="{FF2B5EF4-FFF2-40B4-BE49-F238E27FC236}">
                    <a16:creationId xmlns:a16="http://schemas.microsoft.com/office/drawing/2014/main" id="{480BA2B9-56BA-4BE6-A589-897B4B8089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4910" y="1173163"/>
                <a:ext cx="270510" cy="165100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68" y="214"/>
                  </a:cxn>
                  <a:cxn ang="0">
                    <a:pos x="92" y="232"/>
                  </a:cxn>
                  <a:cxn ang="0">
                    <a:pos x="106" y="256"/>
                  </a:cxn>
                  <a:cxn ang="0">
                    <a:pos x="116" y="260"/>
                  </a:cxn>
                  <a:cxn ang="0">
                    <a:pos x="146" y="248"/>
                  </a:cxn>
                  <a:cxn ang="0">
                    <a:pos x="168" y="236"/>
                  </a:cxn>
                  <a:cxn ang="0">
                    <a:pos x="184" y="238"/>
                  </a:cxn>
                  <a:cxn ang="0">
                    <a:pos x="208" y="232"/>
                  </a:cxn>
                  <a:cxn ang="0">
                    <a:pos x="216" y="226"/>
                  </a:cxn>
                  <a:cxn ang="0">
                    <a:pos x="224" y="200"/>
                  </a:cxn>
                  <a:cxn ang="0">
                    <a:pos x="232" y="178"/>
                  </a:cxn>
                  <a:cxn ang="0">
                    <a:pos x="254" y="172"/>
                  </a:cxn>
                  <a:cxn ang="0">
                    <a:pos x="266" y="158"/>
                  </a:cxn>
                  <a:cxn ang="0">
                    <a:pos x="280" y="140"/>
                  </a:cxn>
                  <a:cxn ang="0">
                    <a:pos x="322" y="124"/>
                  </a:cxn>
                  <a:cxn ang="0">
                    <a:pos x="392" y="94"/>
                  </a:cxn>
                  <a:cxn ang="0">
                    <a:pos x="418" y="86"/>
                  </a:cxn>
                  <a:cxn ang="0">
                    <a:pos x="424" y="72"/>
                  </a:cxn>
                  <a:cxn ang="0">
                    <a:pos x="408" y="64"/>
                  </a:cxn>
                  <a:cxn ang="0">
                    <a:pos x="370" y="40"/>
                  </a:cxn>
                  <a:cxn ang="0">
                    <a:pos x="334" y="22"/>
                  </a:cxn>
                  <a:cxn ang="0">
                    <a:pos x="302" y="22"/>
                  </a:cxn>
                  <a:cxn ang="0">
                    <a:pos x="284" y="30"/>
                  </a:cxn>
                  <a:cxn ang="0">
                    <a:pos x="276" y="40"/>
                  </a:cxn>
                  <a:cxn ang="0">
                    <a:pos x="272" y="36"/>
                  </a:cxn>
                  <a:cxn ang="0">
                    <a:pos x="268" y="26"/>
                  </a:cxn>
                  <a:cxn ang="0">
                    <a:pos x="260" y="26"/>
                  </a:cxn>
                  <a:cxn ang="0">
                    <a:pos x="234" y="22"/>
                  </a:cxn>
                  <a:cxn ang="0">
                    <a:pos x="192" y="2"/>
                  </a:cxn>
                  <a:cxn ang="0">
                    <a:pos x="168" y="0"/>
                  </a:cxn>
                  <a:cxn ang="0">
                    <a:pos x="138" y="6"/>
                  </a:cxn>
                  <a:cxn ang="0">
                    <a:pos x="54" y="16"/>
                  </a:cxn>
                  <a:cxn ang="0">
                    <a:pos x="50" y="20"/>
                  </a:cxn>
                  <a:cxn ang="0">
                    <a:pos x="56" y="28"/>
                  </a:cxn>
                  <a:cxn ang="0">
                    <a:pos x="64" y="46"/>
                  </a:cxn>
                  <a:cxn ang="0">
                    <a:pos x="76" y="52"/>
                  </a:cxn>
                  <a:cxn ang="0">
                    <a:pos x="86" y="60"/>
                  </a:cxn>
                  <a:cxn ang="0">
                    <a:pos x="74" y="72"/>
                  </a:cxn>
                  <a:cxn ang="0">
                    <a:pos x="72" y="80"/>
                  </a:cxn>
                  <a:cxn ang="0">
                    <a:pos x="58" y="84"/>
                  </a:cxn>
                  <a:cxn ang="0">
                    <a:pos x="56" y="90"/>
                  </a:cxn>
                  <a:cxn ang="0">
                    <a:pos x="48" y="106"/>
                  </a:cxn>
                  <a:cxn ang="0">
                    <a:pos x="46" y="114"/>
                  </a:cxn>
                  <a:cxn ang="0">
                    <a:pos x="56" y="122"/>
                  </a:cxn>
                  <a:cxn ang="0">
                    <a:pos x="44" y="126"/>
                  </a:cxn>
                  <a:cxn ang="0">
                    <a:pos x="30" y="130"/>
                  </a:cxn>
                  <a:cxn ang="0">
                    <a:pos x="34" y="140"/>
                  </a:cxn>
                  <a:cxn ang="0">
                    <a:pos x="22" y="160"/>
                  </a:cxn>
                  <a:cxn ang="0">
                    <a:pos x="4" y="182"/>
                  </a:cxn>
                  <a:cxn ang="0">
                    <a:pos x="0" y="192"/>
                  </a:cxn>
                  <a:cxn ang="0">
                    <a:pos x="2" y="196"/>
                  </a:cxn>
                </a:cxnLst>
                <a:rect l="0" t="0" r="r" b="b"/>
                <a:pathLst>
                  <a:path w="426" h="260">
                    <a:moveTo>
                      <a:pt x="2" y="196"/>
                    </a:moveTo>
                    <a:lnTo>
                      <a:pt x="2" y="196"/>
                    </a:lnTo>
                    <a:lnTo>
                      <a:pt x="20" y="198"/>
                    </a:lnTo>
                    <a:lnTo>
                      <a:pt x="38" y="20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78" y="220"/>
                    </a:lnTo>
                    <a:lnTo>
                      <a:pt x="86" y="226"/>
                    </a:lnTo>
                    <a:lnTo>
                      <a:pt x="92" y="232"/>
                    </a:lnTo>
                    <a:lnTo>
                      <a:pt x="96" y="240"/>
                    </a:lnTo>
                    <a:lnTo>
                      <a:pt x="102" y="252"/>
                    </a:lnTo>
                    <a:lnTo>
                      <a:pt x="106" y="256"/>
                    </a:lnTo>
                    <a:lnTo>
                      <a:pt x="110" y="260"/>
                    </a:lnTo>
                    <a:lnTo>
                      <a:pt x="110" y="260"/>
                    </a:lnTo>
                    <a:lnTo>
                      <a:pt x="116" y="260"/>
                    </a:lnTo>
                    <a:lnTo>
                      <a:pt x="122" y="260"/>
                    </a:lnTo>
                    <a:lnTo>
                      <a:pt x="134" y="256"/>
                    </a:lnTo>
                    <a:lnTo>
                      <a:pt x="146" y="248"/>
                    </a:lnTo>
                    <a:lnTo>
                      <a:pt x="160" y="240"/>
                    </a:lnTo>
                    <a:lnTo>
                      <a:pt x="160" y="240"/>
                    </a:lnTo>
                    <a:lnTo>
                      <a:pt x="168" y="236"/>
                    </a:lnTo>
                    <a:lnTo>
                      <a:pt x="172" y="234"/>
                    </a:lnTo>
                    <a:lnTo>
                      <a:pt x="180" y="236"/>
                    </a:lnTo>
                    <a:lnTo>
                      <a:pt x="184" y="238"/>
                    </a:lnTo>
                    <a:lnTo>
                      <a:pt x="190" y="238"/>
                    </a:lnTo>
                    <a:lnTo>
                      <a:pt x="198" y="236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12" y="230"/>
                    </a:lnTo>
                    <a:lnTo>
                      <a:pt x="216" y="226"/>
                    </a:lnTo>
                    <a:lnTo>
                      <a:pt x="222" y="218"/>
                    </a:lnTo>
                    <a:lnTo>
                      <a:pt x="224" y="210"/>
                    </a:lnTo>
                    <a:lnTo>
                      <a:pt x="224" y="200"/>
                    </a:lnTo>
                    <a:lnTo>
                      <a:pt x="224" y="192"/>
                    </a:lnTo>
                    <a:lnTo>
                      <a:pt x="226" y="184"/>
                    </a:lnTo>
                    <a:lnTo>
                      <a:pt x="232" y="178"/>
                    </a:lnTo>
                    <a:lnTo>
                      <a:pt x="244" y="174"/>
                    </a:lnTo>
                    <a:lnTo>
                      <a:pt x="244" y="174"/>
                    </a:lnTo>
                    <a:lnTo>
                      <a:pt x="254" y="172"/>
                    </a:lnTo>
                    <a:lnTo>
                      <a:pt x="260" y="170"/>
                    </a:lnTo>
                    <a:lnTo>
                      <a:pt x="264" y="164"/>
                    </a:lnTo>
                    <a:lnTo>
                      <a:pt x="266" y="158"/>
                    </a:lnTo>
                    <a:lnTo>
                      <a:pt x="268" y="152"/>
                    </a:lnTo>
                    <a:lnTo>
                      <a:pt x="272" y="146"/>
                    </a:lnTo>
                    <a:lnTo>
                      <a:pt x="280" y="140"/>
                    </a:lnTo>
                    <a:lnTo>
                      <a:pt x="292" y="136"/>
                    </a:lnTo>
                    <a:lnTo>
                      <a:pt x="292" y="136"/>
                    </a:lnTo>
                    <a:lnTo>
                      <a:pt x="322" y="124"/>
                    </a:lnTo>
                    <a:lnTo>
                      <a:pt x="348" y="112"/>
                    </a:lnTo>
                    <a:lnTo>
                      <a:pt x="370" y="102"/>
                    </a:lnTo>
                    <a:lnTo>
                      <a:pt x="392" y="94"/>
                    </a:lnTo>
                    <a:lnTo>
                      <a:pt x="392" y="94"/>
                    </a:lnTo>
                    <a:lnTo>
                      <a:pt x="408" y="90"/>
                    </a:lnTo>
                    <a:lnTo>
                      <a:pt x="418" y="86"/>
                    </a:lnTo>
                    <a:lnTo>
                      <a:pt x="424" y="82"/>
                    </a:lnTo>
                    <a:lnTo>
                      <a:pt x="426" y="76"/>
                    </a:lnTo>
                    <a:lnTo>
                      <a:pt x="424" y="72"/>
                    </a:lnTo>
                    <a:lnTo>
                      <a:pt x="420" y="70"/>
                    </a:lnTo>
                    <a:lnTo>
                      <a:pt x="408" y="64"/>
                    </a:lnTo>
                    <a:lnTo>
                      <a:pt x="408" y="64"/>
                    </a:lnTo>
                    <a:lnTo>
                      <a:pt x="398" y="60"/>
                    </a:lnTo>
                    <a:lnTo>
                      <a:pt x="390" y="54"/>
                    </a:lnTo>
                    <a:lnTo>
                      <a:pt x="370" y="40"/>
                    </a:lnTo>
                    <a:lnTo>
                      <a:pt x="360" y="32"/>
                    </a:lnTo>
                    <a:lnTo>
                      <a:pt x="348" y="26"/>
                    </a:lnTo>
                    <a:lnTo>
                      <a:pt x="334" y="22"/>
                    </a:lnTo>
                    <a:lnTo>
                      <a:pt x="318" y="22"/>
                    </a:lnTo>
                    <a:lnTo>
                      <a:pt x="318" y="22"/>
                    </a:lnTo>
                    <a:lnTo>
                      <a:pt x="302" y="22"/>
                    </a:lnTo>
                    <a:lnTo>
                      <a:pt x="294" y="24"/>
                    </a:lnTo>
                    <a:lnTo>
                      <a:pt x="288" y="26"/>
                    </a:lnTo>
                    <a:lnTo>
                      <a:pt x="284" y="30"/>
                    </a:lnTo>
                    <a:lnTo>
                      <a:pt x="282" y="36"/>
                    </a:lnTo>
                    <a:lnTo>
                      <a:pt x="280" y="38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2" y="40"/>
                    </a:lnTo>
                    <a:lnTo>
                      <a:pt x="272" y="36"/>
                    </a:lnTo>
                    <a:lnTo>
                      <a:pt x="272" y="32"/>
                    </a:lnTo>
                    <a:lnTo>
                      <a:pt x="272" y="30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66" y="26"/>
                    </a:lnTo>
                    <a:lnTo>
                      <a:pt x="260" y="26"/>
                    </a:lnTo>
                    <a:lnTo>
                      <a:pt x="250" y="24"/>
                    </a:lnTo>
                    <a:lnTo>
                      <a:pt x="234" y="22"/>
                    </a:lnTo>
                    <a:lnTo>
                      <a:pt x="234" y="22"/>
                    </a:lnTo>
                    <a:lnTo>
                      <a:pt x="218" y="16"/>
                    </a:lnTo>
                    <a:lnTo>
                      <a:pt x="208" y="12"/>
                    </a:lnTo>
                    <a:lnTo>
                      <a:pt x="192" y="2"/>
                    </a:lnTo>
                    <a:lnTo>
                      <a:pt x="186" y="0"/>
                    </a:lnTo>
                    <a:lnTo>
                      <a:pt x="178" y="0"/>
                    </a:lnTo>
                    <a:lnTo>
                      <a:pt x="168" y="0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38" y="6"/>
                    </a:lnTo>
                    <a:lnTo>
                      <a:pt x="120" y="8"/>
                    </a:lnTo>
                    <a:lnTo>
                      <a:pt x="82" y="12"/>
                    </a:lnTo>
                    <a:lnTo>
                      <a:pt x="54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4" y="24"/>
                    </a:lnTo>
                    <a:lnTo>
                      <a:pt x="56" y="28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4" y="46"/>
                    </a:lnTo>
                    <a:lnTo>
                      <a:pt x="68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76" y="68"/>
                    </a:lnTo>
                    <a:lnTo>
                      <a:pt x="74" y="72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0" y="82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4" y="98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46" y="114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4" y="124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34" y="140"/>
                    </a:lnTo>
                    <a:lnTo>
                      <a:pt x="34" y="140"/>
                    </a:lnTo>
                    <a:lnTo>
                      <a:pt x="34" y="144"/>
                    </a:lnTo>
                    <a:lnTo>
                      <a:pt x="32" y="150"/>
                    </a:lnTo>
                    <a:lnTo>
                      <a:pt x="22" y="160"/>
                    </a:lnTo>
                    <a:lnTo>
                      <a:pt x="10" y="172"/>
                    </a:lnTo>
                    <a:lnTo>
                      <a:pt x="6" y="178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2" y="188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6"/>
                    </a:lnTo>
                    <a:lnTo>
                      <a:pt x="2" y="19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37" name="Freeform 6018">
                <a:extLst>
                  <a:ext uri="{FF2B5EF4-FFF2-40B4-BE49-F238E27FC236}">
                    <a16:creationId xmlns:a16="http://schemas.microsoft.com/office/drawing/2014/main" id="{2A2BF83A-E0C4-44B3-ADE8-AE756AE4A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570" y="1024573"/>
                <a:ext cx="190500" cy="87630"/>
              </a:xfrm>
              <a:custGeom>
                <a:avLst/>
                <a:gdLst/>
                <a:ahLst/>
                <a:cxnLst>
                  <a:cxn ang="0">
                    <a:pos x="12" y="124"/>
                  </a:cxn>
                  <a:cxn ang="0">
                    <a:pos x="16" y="130"/>
                  </a:cxn>
                  <a:cxn ang="0">
                    <a:pos x="36" y="120"/>
                  </a:cxn>
                  <a:cxn ang="0">
                    <a:pos x="50" y="118"/>
                  </a:cxn>
                  <a:cxn ang="0">
                    <a:pos x="66" y="124"/>
                  </a:cxn>
                  <a:cxn ang="0">
                    <a:pos x="76" y="124"/>
                  </a:cxn>
                  <a:cxn ang="0">
                    <a:pos x="88" y="114"/>
                  </a:cxn>
                  <a:cxn ang="0">
                    <a:pos x="94" y="122"/>
                  </a:cxn>
                  <a:cxn ang="0">
                    <a:pos x="112" y="138"/>
                  </a:cxn>
                  <a:cxn ang="0">
                    <a:pos x="132" y="132"/>
                  </a:cxn>
                  <a:cxn ang="0">
                    <a:pos x="138" y="114"/>
                  </a:cxn>
                  <a:cxn ang="0">
                    <a:pos x="146" y="110"/>
                  </a:cxn>
                  <a:cxn ang="0">
                    <a:pos x="156" y="114"/>
                  </a:cxn>
                  <a:cxn ang="0">
                    <a:pos x="174" y="94"/>
                  </a:cxn>
                  <a:cxn ang="0">
                    <a:pos x="182" y="76"/>
                  </a:cxn>
                  <a:cxn ang="0">
                    <a:pos x="186" y="66"/>
                  </a:cxn>
                  <a:cxn ang="0">
                    <a:pos x="206" y="56"/>
                  </a:cxn>
                  <a:cxn ang="0">
                    <a:pos x="208" y="64"/>
                  </a:cxn>
                  <a:cxn ang="0">
                    <a:pos x="206" y="88"/>
                  </a:cxn>
                  <a:cxn ang="0">
                    <a:pos x="214" y="96"/>
                  </a:cxn>
                  <a:cxn ang="0">
                    <a:pos x="236" y="100"/>
                  </a:cxn>
                  <a:cxn ang="0">
                    <a:pos x="244" y="92"/>
                  </a:cxn>
                  <a:cxn ang="0">
                    <a:pos x="246" y="80"/>
                  </a:cxn>
                  <a:cxn ang="0">
                    <a:pos x="274" y="74"/>
                  </a:cxn>
                  <a:cxn ang="0">
                    <a:pos x="294" y="60"/>
                  </a:cxn>
                  <a:cxn ang="0">
                    <a:pos x="280" y="42"/>
                  </a:cxn>
                  <a:cxn ang="0">
                    <a:pos x="272" y="36"/>
                  </a:cxn>
                  <a:cxn ang="0">
                    <a:pos x="278" y="28"/>
                  </a:cxn>
                  <a:cxn ang="0">
                    <a:pos x="300" y="18"/>
                  </a:cxn>
                  <a:cxn ang="0">
                    <a:pos x="288" y="8"/>
                  </a:cxn>
                  <a:cxn ang="0">
                    <a:pos x="258" y="0"/>
                  </a:cxn>
                  <a:cxn ang="0">
                    <a:pos x="244" y="4"/>
                  </a:cxn>
                  <a:cxn ang="0">
                    <a:pos x="234" y="16"/>
                  </a:cxn>
                  <a:cxn ang="0">
                    <a:pos x="202" y="12"/>
                  </a:cxn>
                  <a:cxn ang="0">
                    <a:pos x="160" y="18"/>
                  </a:cxn>
                  <a:cxn ang="0">
                    <a:pos x="128" y="38"/>
                  </a:cxn>
                  <a:cxn ang="0">
                    <a:pos x="102" y="58"/>
                  </a:cxn>
                  <a:cxn ang="0">
                    <a:pos x="82" y="66"/>
                  </a:cxn>
                  <a:cxn ang="0">
                    <a:pos x="66" y="78"/>
                  </a:cxn>
                  <a:cxn ang="0">
                    <a:pos x="44" y="90"/>
                  </a:cxn>
                  <a:cxn ang="0">
                    <a:pos x="28" y="86"/>
                  </a:cxn>
                  <a:cxn ang="0">
                    <a:pos x="12" y="96"/>
                  </a:cxn>
                  <a:cxn ang="0">
                    <a:pos x="2" y="112"/>
                  </a:cxn>
                  <a:cxn ang="0">
                    <a:pos x="14" y="116"/>
                  </a:cxn>
                </a:cxnLst>
                <a:rect l="0" t="0" r="r" b="b"/>
                <a:pathLst>
                  <a:path w="300" h="138">
                    <a:moveTo>
                      <a:pt x="14" y="120"/>
                    </a:moveTo>
                    <a:lnTo>
                      <a:pt x="14" y="120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24" y="12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42" y="118"/>
                    </a:lnTo>
                    <a:lnTo>
                      <a:pt x="46" y="116"/>
                    </a:lnTo>
                    <a:lnTo>
                      <a:pt x="50" y="118"/>
                    </a:lnTo>
                    <a:lnTo>
                      <a:pt x="52" y="118"/>
                    </a:lnTo>
                    <a:lnTo>
                      <a:pt x="60" y="124"/>
                    </a:lnTo>
                    <a:lnTo>
                      <a:pt x="66" y="124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6" y="124"/>
                    </a:lnTo>
                    <a:lnTo>
                      <a:pt x="82" y="122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8" y="130"/>
                    </a:lnTo>
                    <a:lnTo>
                      <a:pt x="104" y="134"/>
                    </a:lnTo>
                    <a:lnTo>
                      <a:pt x="112" y="138"/>
                    </a:lnTo>
                    <a:lnTo>
                      <a:pt x="118" y="138"/>
                    </a:lnTo>
                    <a:lnTo>
                      <a:pt x="126" y="136"/>
                    </a:lnTo>
                    <a:lnTo>
                      <a:pt x="132" y="132"/>
                    </a:lnTo>
                    <a:lnTo>
                      <a:pt x="136" y="12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06"/>
                    </a:lnTo>
                    <a:lnTo>
                      <a:pt x="140" y="104"/>
                    </a:lnTo>
                    <a:lnTo>
                      <a:pt x="146" y="110"/>
                    </a:lnTo>
                    <a:lnTo>
                      <a:pt x="150" y="114"/>
                    </a:lnTo>
                    <a:lnTo>
                      <a:pt x="154" y="114"/>
                    </a:lnTo>
                    <a:lnTo>
                      <a:pt x="156" y="114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80" y="82"/>
                    </a:lnTo>
                    <a:lnTo>
                      <a:pt x="182" y="76"/>
                    </a:lnTo>
                    <a:lnTo>
                      <a:pt x="182" y="68"/>
                    </a:lnTo>
                    <a:lnTo>
                      <a:pt x="184" y="66"/>
                    </a:lnTo>
                    <a:lnTo>
                      <a:pt x="186" y="66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206" y="56"/>
                    </a:lnTo>
                    <a:lnTo>
                      <a:pt x="208" y="58"/>
                    </a:lnTo>
                    <a:lnTo>
                      <a:pt x="210" y="58"/>
                    </a:lnTo>
                    <a:lnTo>
                      <a:pt x="208" y="64"/>
                    </a:lnTo>
                    <a:lnTo>
                      <a:pt x="206" y="72"/>
                    </a:lnTo>
                    <a:lnTo>
                      <a:pt x="204" y="80"/>
                    </a:lnTo>
                    <a:lnTo>
                      <a:pt x="206" y="88"/>
                    </a:lnTo>
                    <a:lnTo>
                      <a:pt x="208" y="92"/>
                    </a:lnTo>
                    <a:lnTo>
                      <a:pt x="210" y="94"/>
                    </a:lnTo>
                    <a:lnTo>
                      <a:pt x="214" y="96"/>
                    </a:lnTo>
                    <a:lnTo>
                      <a:pt x="222" y="98"/>
                    </a:lnTo>
                    <a:lnTo>
                      <a:pt x="222" y="98"/>
                    </a:lnTo>
                    <a:lnTo>
                      <a:pt x="236" y="100"/>
                    </a:lnTo>
                    <a:lnTo>
                      <a:pt x="242" y="98"/>
                    </a:lnTo>
                    <a:lnTo>
                      <a:pt x="246" y="96"/>
                    </a:lnTo>
                    <a:lnTo>
                      <a:pt x="244" y="92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6" y="80"/>
                    </a:lnTo>
                    <a:lnTo>
                      <a:pt x="254" y="78"/>
                    </a:lnTo>
                    <a:lnTo>
                      <a:pt x="254" y="78"/>
                    </a:lnTo>
                    <a:lnTo>
                      <a:pt x="274" y="74"/>
                    </a:lnTo>
                    <a:lnTo>
                      <a:pt x="284" y="70"/>
                    </a:lnTo>
                    <a:lnTo>
                      <a:pt x="290" y="66"/>
                    </a:lnTo>
                    <a:lnTo>
                      <a:pt x="294" y="60"/>
                    </a:lnTo>
                    <a:lnTo>
                      <a:pt x="294" y="54"/>
                    </a:lnTo>
                    <a:lnTo>
                      <a:pt x="290" y="48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72" y="34"/>
                    </a:lnTo>
                    <a:lnTo>
                      <a:pt x="272" y="32"/>
                    </a:lnTo>
                    <a:lnTo>
                      <a:pt x="278" y="28"/>
                    </a:lnTo>
                    <a:lnTo>
                      <a:pt x="288" y="24"/>
                    </a:lnTo>
                    <a:lnTo>
                      <a:pt x="296" y="22"/>
                    </a:lnTo>
                    <a:lnTo>
                      <a:pt x="300" y="18"/>
                    </a:lnTo>
                    <a:lnTo>
                      <a:pt x="300" y="16"/>
                    </a:lnTo>
                    <a:lnTo>
                      <a:pt x="298" y="14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66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8" y="2"/>
                    </a:lnTo>
                    <a:lnTo>
                      <a:pt x="244" y="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4" y="16"/>
                    </a:lnTo>
                    <a:lnTo>
                      <a:pt x="232" y="16"/>
                    </a:lnTo>
                    <a:lnTo>
                      <a:pt x="224" y="16"/>
                    </a:lnTo>
                    <a:lnTo>
                      <a:pt x="202" y="12"/>
                    </a:lnTo>
                    <a:lnTo>
                      <a:pt x="186" y="12"/>
                    </a:lnTo>
                    <a:lnTo>
                      <a:pt x="170" y="14"/>
                    </a:lnTo>
                    <a:lnTo>
                      <a:pt x="160" y="18"/>
                    </a:lnTo>
                    <a:lnTo>
                      <a:pt x="150" y="22"/>
                    </a:lnTo>
                    <a:lnTo>
                      <a:pt x="140" y="2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102" y="58"/>
                    </a:lnTo>
                    <a:lnTo>
                      <a:pt x="94" y="62"/>
                    </a:lnTo>
                    <a:lnTo>
                      <a:pt x="90" y="62"/>
                    </a:lnTo>
                    <a:lnTo>
                      <a:pt x="82" y="66"/>
                    </a:lnTo>
                    <a:lnTo>
                      <a:pt x="76" y="7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58" y="86"/>
                    </a:lnTo>
                    <a:lnTo>
                      <a:pt x="50" y="88"/>
                    </a:lnTo>
                    <a:lnTo>
                      <a:pt x="44" y="90"/>
                    </a:lnTo>
                    <a:lnTo>
                      <a:pt x="38" y="88"/>
                    </a:lnTo>
                    <a:lnTo>
                      <a:pt x="34" y="86"/>
                    </a:lnTo>
                    <a:lnTo>
                      <a:pt x="28" y="86"/>
                    </a:lnTo>
                    <a:lnTo>
                      <a:pt x="20" y="9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4" y="104"/>
                    </a:lnTo>
                    <a:lnTo>
                      <a:pt x="0" y="108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12" y="114"/>
                    </a:lnTo>
                    <a:lnTo>
                      <a:pt x="14" y="116"/>
                    </a:lnTo>
                    <a:lnTo>
                      <a:pt x="14" y="120"/>
                    </a:lnTo>
                    <a:lnTo>
                      <a:pt x="14" y="1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38" name="Freeform 6019">
                <a:extLst>
                  <a:ext uri="{FF2B5EF4-FFF2-40B4-BE49-F238E27FC236}">
                    <a16:creationId xmlns:a16="http://schemas.microsoft.com/office/drawing/2014/main" id="{8DFF94D9-EB46-4082-9B0C-C4D0908FA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39" name="Freeform 6020">
                <a:extLst>
                  <a:ext uri="{FF2B5EF4-FFF2-40B4-BE49-F238E27FC236}">
                    <a16:creationId xmlns:a16="http://schemas.microsoft.com/office/drawing/2014/main" id="{0A8AC365-1C72-4660-B2E9-E82287379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0" name="Freeform 6021">
                <a:extLst>
                  <a:ext uri="{FF2B5EF4-FFF2-40B4-BE49-F238E27FC236}">
                    <a16:creationId xmlns:a16="http://schemas.microsoft.com/office/drawing/2014/main" id="{B2D0FFA9-608A-4F53-8334-DE631B298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1" name="Freeform 6022">
                <a:extLst>
                  <a:ext uri="{FF2B5EF4-FFF2-40B4-BE49-F238E27FC236}">
                    <a16:creationId xmlns:a16="http://schemas.microsoft.com/office/drawing/2014/main" id="{041C9B3A-7F3F-47F3-9AFB-C122B8451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2" name="Freeform 6023">
                <a:extLst>
                  <a:ext uri="{FF2B5EF4-FFF2-40B4-BE49-F238E27FC236}">
                    <a16:creationId xmlns:a16="http://schemas.microsoft.com/office/drawing/2014/main" id="{892A0A10-1099-4E82-A0A2-0BF271627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3" name="Freeform 6024">
                <a:extLst>
                  <a:ext uri="{FF2B5EF4-FFF2-40B4-BE49-F238E27FC236}">
                    <a16:creationId xmlns:a16="http://schemas.microsoft.com/office/drawing/2014/main" id="{1541E4FD-5556-4FAE-89FB-082F902248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4" name="Freeform 6025">
                <a:extLst>
                  <a:ext uri="{FF2B5EF4-FFF2-40B4-BE49-F238E27FC236}">
                    <a16:creationId xmlns:a16="http://schemas.microsoft.com/office/drawing/2014/main" id="{A3A9F262-8DA6-4E9C-95CE-4CFEC6CB7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5" name="Freeform 6026">
                <a:extLst>
                  <a:ext uri="{FF2B5EF4-FFF2-40B4-BE49-F238E27FC236}">
                    <a16:creationId xmlns:a16="http://schemas.microsoft.com/office/drawing/2014/main" id="{9EFB115D-9B89-41BF-91A8-CAF0D6E08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6" name="Freeform 6027">
                <a:extLst>
                  <a:ext uri="{FF2B5EF4-FFF2-40B4-BE49-F238E27FC236}">
                    <a16:creationId xmlns:a16="http://schemas.microsoft.com/office/drawing/2014/main" id="{BB1D1A63-C214-414F-9B28-392123B90E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410" y="957263"/>
                <a:ext cx="95250" cy="54610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22" y="44"/>
                  </a:cxn>
                  <a:cxn ang="0">
                    <a:pos x="44" y="54"/>
                  </a:cxn>
                  <a:cxn ang="0">
                    <a:pos x="50" y="56"/>
                  </a:cxn>
                  <a:cxn ang="0">
                    <a:pos x="52" y="58"/>
                  </a:cxn>
                  <a:cxn ang="0">
                    <a:pos x="42" y="64"/>
                  </a:cxn>
                  <a:cxn ang="0">
                    <a:pos x="32" y="68"/>
                  </a:cxn>
                  <a:cxn ang="0">
                    <a:pos x="40" y="68"/>
                  </a:cxn>
                  <a:cxn ang="0">
                    <a:pos x="50" y="70"/>
                  </a:cxn>
                  <a:cxn ang="0">
                    <a:pos x="56" y="76"/>
                  </a:cxn>
                  <a:cxn ang="0">
                    <a:pos x="60" y="84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98" y="76"/>
                  </a:cxn>
                  <a:cxn ang="0">
                    <a:pos x="132" y="70"/>
                  </a:cxn>
                  <a:cxn ang="0">
                    <a:pos x="142" y="64"/>
                  </a:cxn>
                  <a:cxn ang="0">
                    <a:pos x="140" y="60"/>
                  </a:cxn>
                  <a:cxn ang="0">
                    <a:pos x="140" y="52"/>
                  </a:cxn>
                  <a:cxn ang="0">
                    <a:pos x="150" y="42"/>
                  </a:cxn>
                  <a:cxn ang="0">
                    <a:pos x="148" y="36"/>
                  </a:cxn>
                  <a:cxn ang="0">
                    <a:pos x="140" y="32"/>
                  </a:cxn>
                  <a:cxn ang="0">
                    <a:pos x="122" y="24"/>
                  </a:cxn>
                  <a:cxn ang="0">
                    <a:pos x="100" y="22"/>
                  </a:cxn>
                  <a:cxn ang="0">
                    <a:pos x="82" y="14"/>
                  </a:cxn>
                  <a:cxn ang="0">
                    <a:pos x="68" y="8"/>
                  </a:cxn>
                  <a:cxn ang="0">
                    <a:pos x="42" y="0"/>
                  </a:cxn>
                  <a:cxn ang="0">
                    <a:pos x="18" y="0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10" y="20"/>
                  </a:cxn>
                  <a:cxn ang="0">
                    <a:pos x="6" y="28"/>
                  </a:cxn>
                  <a:cxn ang="0">
                    <a:pos x="0" y="30"/>
                  </a:cxn>
                  <a:cxn ang="0">
                    <a:pos x="14" y="38"/>
                  </a:cxn>
                </a:cxnLst>
                <a:rect l="0" t="0" r="r" b="b"/>
                <a:pathLst>
                  <a:path w="150" h="86">
                    <a:moveTo>
                      <a:pt x="14" y="38"/>
                    </a:moveTo>
                    <a:lnTo>
                      <a:pt x="14" y="38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8" y="4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48" y="62"/>
                    </a:lnTo>
                    <a:lnTo>
                      <a:pt x="42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50" y="70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8" y="80"/>
                    </a:lnTo>
                    <a:lnTo>
                      <a:pt x="60" y="84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86" y="78"/>
                    </a:lnTo>
                    <a:lnTo>
                      <a:pt x="98" y="76"/>
                    </a:lnTo>
                    <a:lnTo>
                      <a:pt x="122" y="72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38" y="54"/>
                    </a:lnTo>
                    <a:lnTo>
                      <a:pt x="140" y="52"/>
                    </a:lnTo>
                    <a:lnTo>
                      <a:pt x="146" y="46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48" y="36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28" y="26"/>
                    </a:lnTo>
                    <a:lnTo>
                      <a:pt x="122" y="24"/>
                    </a:lnTo>
                    <a:lnTo>
                      <a:pt x="110" y="24"/>
                    </a:lnTo>
                    <a:lnTo>
                      <a:pt x="100" y="22"/>
                    </a:lnTo>
                    <a:lnTo>
                      <a:pt x="92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68" y="8"/>
                    </a:lnTo>
                    <a:lnTo>
                      <a:pt x="56" y="2"/>
                    </a:lnTo>
                    <a:lnTo>
                      <a:pt x="42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7" name="Freeform 6033">
                <a:extLst>
                  <a:ext uri="{FF2B5EF4-FFF2-40B4-BE49-F238E27FC236}">
                    <a16:creationId xmlns:a16="http://schemas.microsoft.com/office/drawing/2014/main" id="{C1130B87-32CC-4AB9-B7A2-4FC285410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8" name="Freeform 6037">
                <a:extLst>
                  <a:ext uri="{FF2B5EF4-FFF2-40B4-BE49-F238E27FC236}">
                    <a16:creationId xmlns:a16="http://schemas.microsoft.com/office/drawing/2014/main" id="{0487870B-36BF-4A48-B924-625A1D8CD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9" name="Freeform 6054">
                <a:extLst>
                  <a:ext uri="{FF2B5EF4-FFF2-40B4-BE49-F238E27FC236}">
                    <a16:creationId xmlns:a16="http://schemas.microsoft.com/office/drawing/2014/main" id="{6F580247-2D5C-4904-8B87-5E2D565A3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730" y="1058863"/>
                <a:ext cx="317500" cy="121920"/>
              </a:xfrm>
              <a:custGeom>
                <a:avLst/>
                <a:gdLst/>
                <a:ahLst/>
                <a:cxnLst>
                  <a:cxn ang="0">
                    <a:pos x="314" y="78"/>
                  </a:cxn>
                  <a:cxn ang="0">
                    <a:pos x="338" y="86"/>
                  </a:cxn>
                  <a:cxn ang="0">
                    <a:pos x="354" y="100"/>
                  </a:cxn>
                  <a:cxn ang="0">
                    <a:pos x="340" y="106"/>
                  </a:cxn>
                  <a:cxn ang="0">
                    <a:pos x="280" y="102"/>
                  </a:cxn>
                  <a:cxn ang="0">
                    <a:pos x="258" y="102"/>
                  </a:cxn>
                  <a:cxn ang="0">
                    <a:pos x="236" y="72"/>
                  </a:cxn>
                  <a:cxn ang="0">
                    <a:pos x="186" y="46"/>
                  </a:cxn>
                  <a:cxn ang="0">
                    <a:pos x="154" y="54"/>
                  </a:cxn>
                  <a:cxn ang="0">
                    <a:pos x="138" y="36"/>
                  </a:cxn>
                  <a:cxn ang="0">
                    <a:pos x="102" y="32"/>
                  </a:cxn>
                  <a:cxn ang="0">
                    <a:pos x="42" y="58"/>
                  </a:cxn>
                  <a:cxn ang="0">
                    <a:pos x="46" y="66"/>
                  </a:cxn>
                  <a:cxn ang="0">
                    <a:pos x="22" y="88"/>
                  </a:cxn>
                  <a:cxn ang="0">
                    <a:pos x="24" y="98"/>
                  </a:cxn>
                  <a:cxn ang="0">
                    <a:pos x="14" y="110"/>
                  </a:cxn>
                  <a:cxn ang="0">
                    <a:pos x="6" y="132"/>
                  </a:cxn>
                  <a:cxn ang="0">
                    <a:pos x="66" y="146"/>
                  </a:cxn>
                  <a:cxn ang="0">
                    <a:pos x="94" y="138"/>
                  </a:cxn>
                  <a:cxn ang="0">
                    <a:pos x="106" y="146"/>
                  </a:cxn>
                  <a:cxn ang="0">
                    <a:pos x="124" y="148"/>
                  </a:cxn>
                  <a:cxn ang="0">
                    <a:pos x="144" y="126"/>
                  </a:cxn>
                  <a:cxn ang="0">
                    <a:pos x="152" y="130"/>
                  </a:cxn>
                  <a:cxn ang="0">
                    <a:pos x="158" y="140"/>
                  </a:cxn>
                  <a:cxn ang="0">
                    <a:pos x="232" y="132"/>
                  </a:cxn>
                  <a:cxn ang="0">
                    <a:pos x="264" y="134"/>
                  </a:cxn>
                  <a:cxn ang="0">
                    <a:pos x="212" y="148"/>
                  </a:cxn>
                  <a:cxn ang="0">
                    <a:pos x="144" y="160"/>
                  </a:cxn>
                  <a:cxn ang="0">
                    <a:pos x="134" y="176"/>
                  </a:cxn>
                  <a:cxn ang="0">
                    <a:pos x="166" y="190"/>
                  </a:cxn>
                  <a:cxn ang="0">
                    <a:pos x="234" y="184"/>
                  </a:cxn>
                  <a:cxn ang="0">
                    <a:pos x="296" y="164"/>
                  </a:cxn>
                  <a:cxn ang="0">
                    <a:pos x="350" y="146"/>
                  </a:cxn>
                  <a:cxn ang="0">
                    <a:pos x="378" y="152"/>
                  </a:cxn>
                  <a:cxn ang="0">
                    <a:pos x="394" y="144"/>
                  </a:cxn>
                  <a:cxn ang="0">
                    <a:pos x="420" y="150"/>
                  </a:cxn>
                  <a:cxn ang="0">
                    <a:pos x="460" y="138"/>
                  </a:cxn>
                  <a:cxn ang="0">
                    <a:pos x="492" y="106"/>
                  </a:cxn>
                  <a:cxn ang="0">
                    <a:pos x="498" y="84"/>
                  </a:cxn>
                  <a:cxn ang="0">
                    <a:pos x="470" y="68"/>
                  </a:cxn>
                  <a:cxn ang="0">
                    <a:pos x="436" y="70"/>
                  </a:cxn>
                  <a:cxn ang="0">
                    <a:pos x="398" y="80"/>
                  </a:cxn>
                  <a:cxn ang="0">
                    <a:pos x="400" y="68"/>
                  </a:cxn>
                  <a:cxn ang="0">
                    <a:pos x="384" y="60"/>
                  </a:cxn>
                  <a:cxn ang="0">
                    <a:pos x="384" y="52"/>
                  </a:cxn>
                  <a:cxn ang="0">
                    <a:pos x="382" y="40"/>
                  </a:cxn>
                  <a:cxn ang="0">
                    <a:pos x="370" y="18"/>
                  </a:cxn>
                  <a:cxn ang="0">
                    <a:pos x="358" y="0"/>
                  </a:cxn>
                  <a:cxn ang="0">
                    <a:pos x="300" y="28"/>
                  </a:cxn>
                  <a:cxn ang="0">
                    <a:pos x="290" y="40"/>
                  </a:cxn>
                  <a:cxn ang="0">
                    <a:pos x="318" y="54"/>
                  </a:cxn>
                  <a:cxn ang="0">
                    <a:pos x="328" y="66"/>
                  </a:cxn>
                </a:cxnLst>
                <a:rect l="0" t="0" r="r" b="b"/>
                <a:pathLst>
                  <a:path w="500" h="192">
                    <a:moveTo>
                      <a:pt x="322" y="70"/>
                    </a:moveTo>
                    <a:lnTo>
                      <a:pt x="322" y="70"/>
                    </a:lnTo>
                    <a:lnTo>
                      <a:pt x="316" y="76"/>
                    </a:lnTo>
                    <a:lnTo>
                      <a:pt x="314" y="78"/>
                    </a:lnTo>
                    <a:lnTo>
                      <a:pt x="316" y="80"/>
                    </a:lnTo>
                    <a:lnTo>
                      <a:pt x="320" y="82"/>
                    </a:lnTo>
                    <a:lnTo>
                      <a:pt x="330" y="84"/>
                    </a:lnTo>
                    <a:lnTo>
                      <a:pt x="338" y="86"/>
                    </a:lnTo>
                    <a:lnTo>
                      <a:pt x="348" y="90"/>
                    </a:lnTo>
                    <a:lnTo>
                      <a:pt x="354" y="94"/>
                    </a:lnTo>
                    <a:lnTo>
                      <a:pt x="356" y="96"/>
                    </a:lnTo>
                    <a:lnTo>
                      <a:pt x="354" y="100"/>
                    </a:lnTo>
                    <a:lnTo>
                      <a:pt x="354" y="100"/>
                    </a:lnTo>
                    <a:lnTo>
                      <a:pt x="352" y="104"/>
                    </a:lnTo>
                    <a:lnTo>
                      <a:pt x="346" y="108"/>
                    </a:lnTo>
                    <a:lnTo>
                      <a:pt x="340" y="106"/>
                    </a:lnTo>
                    <a:lnTo>
                      <a:pt x="332" y="106"/>
                    </a:lnTo>
                    <a:lnTo>
                      <a:pt x="310" y="102"/>
                    </a:lnTo>
                    <a:lnTo>
                      <a:pt x="296" y="100"/>
                    </a:lnTo>
                    <a:lnTo>
                      <a:pt x="280" y="102"/>
                    </a:lnTo>
                    <a:lnTo>
                      <a:pt x="280" y="102"/>
                    </a:lnTo>
                    <a:lnTo>
                      <a:pt x="268" y="104"/>
                    </a:lnTo>
                    <a:lnTo>
                      <a:pt x="260" y="104"/>
                    </a:lnTo>
                    <a:lnTo>
                      <a:pt x="258" y="102"/>
                    </a:lnTo>
                    <a:lnTo>
                      <a:pt x="256" y="98"/>
                    </a:lnTo>
                    <a:lnTo>
                      <a:pt x="252" y="90"/>
                    </a:lnTo>
                    <a:lnTo>
                      <a:pt x="246" y="82"/>
                    </a:lnTo>
                    <a:lnTo>
                      <a:pt x="236" y="72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00" y="50"/>
                    </a:lnTo>
                    <a:lnTo>
                      <a:pt x="186" y="46"/>
                    </a:lnTo>
                    <a:lnTo>
                      <a:pt x="174" y="46"/>
                    </a:lnTo>
                    <a:lnTo>
                      <a:pt x="166" y="50"/>
                    </a:lnTo>
                    <a:lnTo>
                      <a:pt x="160" y="52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38" y="36"/>
                    </a:lnTo>
                    <a:lnTo>
                      <a:pt x="130" y="30"/>
                    </a:lnTo>
                    <a:lnTo>
                      <a:pt x="122" y="30"/>
                    </a:lnTo>
                    <a:lnTo>
                      <a:pt x="112" y="30"/>
                    </a:lnTo>
                    <a:lnTo>
                      <a:pt x="102" y="32"/>
                    </a:lnTo>
                    <a:lnTo>
                      <a:pt x="88" y="3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4"/>
                    </a:lnTo>
                    <a:lnTo>
                      <a:pt x="46" y="66"/>
                    </a:lnTo>
                    <a:lnTo>
                      <a:pt x="42" y="7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2" y="88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98"/>
                    </a:lnTo>
                    <a:lnTo>
                      <a:pt x="26" y="100"/>
                    </a:lnTo>
                    <a:lnTo>
                      <a:pt x="22" y="104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4" y="118"/>
                    </a:lnTo>
                    <a:lnTo>
                      <a:pt x="0" y="124"/>
                    </a:lnTo>
                    <a:lnTo>
                      <a:pt x="2" y="128"/>
                    </a:lnTo>
                    <a:lnTo>
                      <a:pt x="6" y="132"/>
                    </a:lnTo>
                    <a:lnTo>
                      <a:pt x="26" y="138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66" y="146"/>
                    </a:lnTo>
                    <a:lnTo>
                      <a:pt x="76" y="146"/>
                    </a:lnTo>
                    <a:lnTo>
                      <a:pt x="84" y="144"/>
                    </a:lnTo>
                    <a:lnTo>
                      <a:pt x="88" y="142"/>
                    </a:lnTo>
                    <a:lnTo>
                      <a:pt x="94" y="138"/>
                    </a:lnTo>
                    <a:lnTo>
                      <a:pt x="96" y="136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106" y="146"/>
                    </a:lnTo>
                    <a:lnTo>
                      <a:pt x="110" y="148"/>
                    </a:lnTo>
                    <a:lnTo>
                      <a:pt x="114" y="150"/>
                    </a:lnTo>
                    <a:lnTo>
                      <a:pt x="118" y="150"/>
                    </a:lnTo>
                    <a:lnTo>
                      <a:pt x="124" y="148"/>
                    </a:lnTo>
                    <a:lnTo>
                      <a:pt x="128" y="14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44" y="126"/>
                    </a:lnTo>
                    <a:lnTo>
                      <a:pt x="150" y="122"/>
                    </a:lnTo>
                    <a:lnTo>
                      <a:pt x="152" y="122"/>
                    </a:lnTo>
                    <a:lnTo>
                      <a:pt x="154" y="124"/>
                    </a:lnTo>
                    <a:lnTo>
                      <a:pt x="152" y="130"/>
                    </a:lnTo>
                    <a:lnTo>
                      <a:pt x="152" y="130"/>
                    </a:lnTo>
                    <a:lnTo>
                      <a:pt x="150" y="134"/>
                    </a:lnTo>
                    <a:lnTo>
                      <a:pt x="154" y="138"/>
                    </a:lnTo>
                    <a:lnTo>
                      <a:pt x="158" y="140"/>
                    </a:lnTo>
                    <a:lnTo>
                      <a:pt x="166" y="142"/>
                    </a:lnTo>
                    <a:lnTo>
                      <a:pt x="192" y="140"/>
                    </a:lnTo>
                    <a:lnTo>
                      <a:pt x="232" y="132"/>
                    </a:lnTo>
                    <a:lnTo>
                      <a:pt x="232" y="132"/>
                    </a:lnTo>
                    <a:lnTo>
                      <a:pt x="252" y="130"/>
                    </a:lnTo>
                    <a:lnTo>
                      <a:pt x="262" y="130"/>
                    </a:lnTo>
                    <a:lnTo>
                      <a:pt x="266" y="130"/>
                    </a:lnTo>
                    <a:lnTo>
                      <a:pt x="264" y="134"/>
                    </a:lnTo>
                    <a:lnTo>
                      <a:pt x="256" y="138"/>
                    </a:lnTo>
                    <a:lnTo>
                      <a:pt x="244" y="142"/>
                    </a:lnTo>
                    <a:lnTo>
                      <a:pt x="228" y="144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176" y="152"/>
                    </a:lnTo>
                    <a:lnTo>
                      <a:pt x="158" y="156"/>
                    </a:lnTo>
                    <a:lnTo>
                      <a:pt x="144" y="160"/>
                    </a:lnTo>
                    <a:lnTo>
                      <a:pt x="136" y="166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4" y="176"/>
                    </a:lnTo>
                    <a:lnTo>
                      <a:pt x="138" y="178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66" y="190"/>
                    </a:lnTo>
                    <a:lnTo>
                      <a:pt x="178" y="192"/>
                    </a:lnTo>
                    <a:lnTo>
                      <a:pt x="192" y="192"/>
                    </a:lnTo>
                    <a:lnTo>
                      <a:pt x="206" y="190"/>
                    </a:lnTo>
                    <a:lnTo>
                      <a:pt x="234" y="184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82" y="170"/>
                    </a:lnTo>
                    <a:lnTo>
                      <a:pt x="296" y="164"/>
                    </a:lnTo>
                    <a:lnTo>
                      <a:pt x="318" y="154"/>
                    </a:lnTo>
                    <a:lnTo>
                      <a:pt x="328" y="150"/>
                    </a:lnTo>
                    <a:lnTo>
                      <a:pt x="338" y="146"/>
                    </a:lnTo>
                    <a:lnTo>
                      <a:pt x="350" y="146"/>
                    </a:lnTo>
                    <a:lnTo>
                      <a:pt x="360" y="148"/>
                    </a:lnTo>
                    <a:lnTo>
                      <a:pt x="360" y="148"/>
                    </a:lnTo>
                    <a:lnTo>
                      <a:pt x="370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8"/>
                    </a:lnTo>
                    <a:lnTo>
                      <a:pt x="388" y="146"/>
                    </a:lnTo>
                    <a:lnTo>
                      <a:pt x="394" y="144"/>
                    </a:lnTo>
                    <a:lnTo>
                      <a:pt x="400" y="144"/>
                    </a:lnTo>
                    <a:lnTo>
                      <a:pt x="410" y="146"/>
                    </a:lnTo>
                    <a:lnTo>
                      <a:pt x="410" y="146"/>
                    </a:lnTo>
                    <a:lnTo>
                      <a:pt x="420" y="150"/>
                    </a:lnTo>
                    <a:lnTo>
                      <a:pt x="430" y="150"/>
                    </a:lnTo>
                    <a:lnTo>
                      <a:pt x="440" y="148"/>
                    </a:lnTo>
                    <a:lnTo>
                      <a:pt x="450" y="144"/>
                    </a:lnTo>
                    <a:lnTo>
                      <a:pt x="460" y="138"/>
                    </a:lnTo>
                    <a:lnTo>
                      <a:pt x="470" y="130"/>
                    </a:lnTo>
                    <a:lnTo>
                      <a:pt x="482" y="120"/>
                    </a:lnTo>
                    <a:lnTo>
                      <a:pt x="492" y="106"/>
                    </a:lnTo>
                    <a:lnTo>
                      <a:pt x="492" y="106"/>
                    </a:lnTo>
                    <a:lnTo>
                      <a:pt x="496" y="100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498" y="84"/>
                    </a:lnTo>
                    <a:lnTo>
                      <a:pt x="496" y="80"/>
                    </a:lnTo>
                    <a:lnTo>
                      <a:pt x="492" y="76"/>
                    </a:lnTo>
                    <a:lnTo>
                      <a:pt x="482" y="70"/>
                    </a:lnTo>
                    <a:lnTo>
                      <a:pt x="470" y="68"/>
                    </a:lnTo>
                    <a:lnTo>
                      <a:pt x="456" y="66"/>
                    </a:lnTo>
                    <a:lnTo>
                      <a:pt x="444" y="68"/>
                    </a:lnTo>
                    <a:lnTo>
                      <a:pt x="436" y="70"/>
                    </a:lnTo>
                    <a:lnTo>
                      <a:pt x="436" y="70"/>
                    </a:lnTo>
                    <a:lnTo>
                      <a:pt x="420" y="76"/>
                    </a:lnTo>
                    <a:lnTo>
                      <a:pt x="406" y="80"/>
                    </a:lnTo>
                    <a:lnTo>
                      <a:pt x="402" y="82"/>
                    </a:lnTo>
                    <a:lnTo>
                      <a:pt x="398" y="80"/>
                    </a:lnTo>
                    <a:lnTo>
                      <a:pt x="398" y="78"/>
                    </a:lnTo>
                    <a:lnTo>
                      <a:pt x="400" y="72"/>
                    </a:lnTo>
                    <a:lnTo>
                      <a:pt x="400" y="72"/>
                    </a:lnTo>
                    <a:lnTo>
                      <a:pt x="400" y="68"/>
                    </a:lnTo>
                    <a:lnTo>
                      <a:pt x="398" y="64"/>
                    </a:lnTo>
                    <a:lnTo>
                      <a:pt x="394" y="62"/>
                    </a:lnTo>
                    <a:lnTo>
                      <a:pt x="390" y="62"/>
                    </a:lnTo>
                    <a:lnTo>
                      <a:pt x="384" y="60"/>
                    </a:lnTo>
                    <a:lnTo>
                      <a:pt x="380" y="60"/>
                    </a:lnTo>
                    <a:lnTo>
                      <a:pt x="380" y="56"/>
                    </a:lnTo>
                    <a:lnTo>
                      <a:pt x="384" y="52"/>
                    </a:lnTo>
                    <a:lnTo>
                      <a:pt x="384" y="52"/>
                    </a:lnTo>
                    <a:lnTo>
                      <a:pt x="388" y="46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2" y="40"/>
                    </a:lnTo>
                    <a:lnTo>
                      <a:pt x="378" y="38"/>
                    </a:lnTo>
                    <a:lnTo>
                      <a:pt x="374" y="34"/>
                    </a:lnTo>
                    <a:lnTo>
                      <a:pt x="372" y="28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68" y="8"/>
                    </a:lnTo>
                    <a:lnTo>
                      <a:pt x="364" y="2"/>
                    </a:lnTo>
                    <a:lnTo>
                      <a:pt x="358" y="0"/>
                    </a:lnTo>
                    <a:lnTo>
                      <a:pt x="350" y="2"/>
                    </a:lnTo>
                    <a:lnTo>
                      <a:pt x="340" y="6"/>
                    </a:lnTo>
                    <a:lnTo>
                      <a:pt x="328" y="12"/>
                    </a:lnTo>
                    <a:lnTo>
                      <a:pt x="300" y="28"/>
                    </a:lnTo>
                    <a:lnTo>
                      <a:pt x="300" y="28"/>
                    </a:lnTo>
                    <a:lnTo>
                      <a:pt x="294" y="32"/>
                    </a:lnTo>
                    <a:lnTo>
                      <a:pt x="292" y="36"/>
                    </a:lnTo>
                    <a:lnTo>
                      <a:pt x="290" y="40"/>
                    </a:lnTo>
                    <a:lnTo>
                      <a:pt x="292" y="42"/>
                    </a:lnTo>
                    <a:lnTo>
                      <a:pt x="298" y="46"/>
                    </a:lnTo>
                    <a:lnTo>
                      <a:pt x="308" y="50"/>
                    </a:lnTo>
                    <a:lnTo>
                      <a:pt x="318" y="54"/>
                    </a:lnTo>
                    <a:lnTo>
                      <a:pt x="326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2" y="70"/>
                    </a:lnTo>
                    <a:lnTo>
                      <a:pt x="322" y="7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0" name="Freeform 6074">
                <a:extLst>
                  <a:ext uri="{FF2B5EF4-FFF2-40B4-BE49-F238E27FC236}">
                    <a16:creationId xmlns:a16="http://schemas.microsoft.com/office/drawing/2014/main" id="{F94F4020-0DD9-4AAF-BD0D-A62D324C4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1" name="Freeform 6084">
                <a:extLst>
                  <a:ext uri="{FF2B5EF4-FFF2-40B4-BE49-F238E27FC236}">
                    <a16:creationId xmlns:a16="http://schemas.microsoft.com/office/drawing/2014/main" id="{EBFEE333-D800-4608-9F5A-EB9D4891D7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2" name="Freeform 6086">
                <a:extLst>
                  <a:ext uri="{FF2B5EF4-FFF2-40B4-BE49-F238E27FC236}">
                    <a16:creationId xmlns:a16="http://schemas.microsoft.com/office/drawing/2014/main" id="{31FA47B4-D734-43F2-B515-24EC7B1629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979" y="1296353"/>
                <a:ext cx="2874010" cy="2354580"/>
              </a:xfrm>
              <a:custGeom>
                <a:avLst/>
                <a:gdLst/>
                <a:ahLst/>
                <a:cxnLst>
                  <a:cxn ang="0">
                    <a:pos x="3400" y="3516"/>
                  </a:cxn>
                  <a:cxn ang="0">
                    <a:pos x="3292" y="3276"/>
                  </a:cxn>
                  <a:cxn ang="0">
                    <a:pos x="3246" y="3102"/>
                  </a:cxn>
                  <a:cxn ang="0">
                    <a:pos x="3116" y="3080"/>
                  </a:cxn>
                  <a:cxn ang="0">
                    <a:pos x="2830" y="2916"/>
                  </a:cxn>
                  <a:cxn ang="0">
                    <a:pos x="3078" y="2572"/>
                  </a:cxn>
                  <a:cxn ang="0">
                    <a:pos x="3134" y="2554"/>
                  </a:cxn>
                  <a:cxn ang="0">
                    <a:pos x="3436" y="2646"/>
                  </a:cxn>
                  <a:cxn ang="0">
                    <a:pos x="3526" y="2642"/>
                  </a:cxn>
                  <a:cxn ang="0">
                    <a:pos x="3686" y="2282"/>
                  </a:cxn>
                  <a:cxn ang="0">
                    <a:pos x="3698" y="2162"/>
                  </a:cxn>
                  <a:cxn ang="0">
                    <a:pos x="3748" y="2092"/>
                  </a:cxn>
                  <a:cxn ang="0">
                    <a:pos x="3924" y="1928"/>
                  </a:cxn>
                  <a:cxn ang="0">
                    <a:pos x="4006" y="1782"/>
                  </a:cxn>
                  <a:cxn ang="0">
                    <a:pos x="4138" y="1824"/>
                  </a:cxn>
                  <a:cxn ang="0">
                    <a:pos x="4150" y="1496"/>
                  </a:cxn>
                  <a:cxn ang="0">
                    <a:pos x="4522" y="1296"/>
                  </a:cxn>
                  <a:cxn ang="0">
                    <a:pos x="4314" y="1090"/>
                  </a:cxn>
                  <a:cxn ang="0">
                    <a:pos x="4060" y="934"/>
                  </a:cxn>
                  <a:cxn ang="0">
                    <a:pos x="3720" y="680"/>
                  </a:cxn>
                  <a:cxn ang="0">
                    <a:pos x="3570" y="1166"/>
                  </a:cxn>
                  <a:cxn ang="0">
                    <a:pos x="3346" y="1132"/>
                  </a:cxn>
                  <a:cxn ang="0">
                    <a:pos x="3060" y="648"/>
                  </a:cxn>
                  <a:cxn ang="0">
                    <a:pos x="3304" y="420"/>
                  </a:cxn>
                  <a:cxn ang="0">
                    <a:pos x="3452" y="258"/>
                  </a:cxn>
                  <a:cxn ang="0">
                    <a:pos x="3282" y="322"/>
                  </a:cxn>
                  <a:cxn ang="0">
                    <a:pos x="3048" y="164"/>
                  </a:cxn>
                  <a:cxn ang="0">
                    <a:pos x="2954" y="232"/>
                  </a:cxn>
                  <a:cxn ang="0">
                    <a:pos x="2726" y="298"/>
                  </a:cxn>
                  <a:cxn ang="0">
                    <a:pos x="2330" y="286"/>
                  </a:cxn>
                  <a:cxn ang="0">
                    <a:pos x="1732" y="136"/>
                  </a:cxn>
                  <a:cxn ang="0">
                    <a:pos x="1406" y="178"/>
                  </a:cxn>
                  <a:cxn ang="0">
                    <a:pos x="636" y="94"/>
                  </a:cxn>
                  <a:cxn ang="0">
                    <a:pos x="54" y="266"/>
                  </a:cxn>
                  <a:cxn ang="0">
                    <a:pos x="28" y="440"/>
                  </a:cxn>
                  <a:cxn ang="0">
                    <a:pos x="270" y="598"/>
                  </a:cxn>
                  <a:cxn ang="0">
                    <a:pos x="246" y="900"/>
                  </a:cxn>
                  <a:cxn ang="0">
                    <a:pos x="218" y="1124"/>
                  </a:cxn>
                  <a:cxn ang="0">
                    <a:pos x="548" y="956"/>
                  </a:cxn>
                  <a:cxn ang="0">
                    <a:pos x="648" y="882"/>
                  </a:cxn>
                  <a:cxn ang="0">
                    <a:pos x="1136" y="842"/>
                  </a:cxn>
                  <a:cxn ang="0">
                    <a:pos x="1412" y="1020"/>
                  </a:cxn>
                  <a:cxn ang="0">
                    <a:pos x="1524" y="1162"/>
                  </a:cxn>
                  <a:cxn ang="0">
                    <a:pos x="1646" y="1306"/>
                  </a:cxn>
                  <a:cxn ang="0">
                    <a:pos x="1750" y="1434"/>
                  </a:cxn>
                  <a:cxn ang="0">
                    <a:pos x="1840" y="1570"/>
                  </a:cxn>
                  <a:cxn ang="0">
                    <a:pos x="1838" y="2170"/>
                  </a:cxn>
                  <a:cxn ang="0">
                    <a:pos x="2146" y="2682"/>
                  </a:cxn>
                  <a:cxn ang="0">
                    <a:pos x="2168" y="2564"/>
                  </a:cxn>
                  <a:cxn ang="0">
                    <a:pos x="2530" y="2998"/>
                  </a:cxn>
                  <a:cxn ang="0">
                    <a:pos x="3202" y="3400"/>
                  </a:cxn>
                  <a:cxn ang="0">
                    <a:pos x="3330" y="3570"/>
                  </a:cxn>
                  <a:cxn ang="0">
                    <a:pos x="3432" y="3656"/>
                  </a:cxn>
                  <a:cxn ang="0">
                    <a:pos x="3562" y="3616"/>
                  </a:cxn>
                  <a:cxn ang="0">
                    <a:pos x="3408" y="1922"/>
                  </a:cxn>
                  <a:cxn ang="0">
                    <a:pos x="3590" y="1870"/>
                  </a:cxn>
                  <a:cxn ang="0">
                    <a:pos x="3578" y="1812"/>
                  </a:cxn>
                  <a:cxn ang="0">
                    <a:pos x="3344" y="1588"/>
                  </a:cxn>
                  <a:cxn ang="0">
                    <a:pos x="3548" y="1750"/>
                  </a:cxn>
                  <a:cxn ang="0">
                    <a:pos x="3418" y="1798"/>
                  </a:cxn>
                  <a:cxn ang="0">
                    <a:pos x="3294" y="1766"/>
                  </a:cxn>
                  <a:cxn ang="0">
                    <a:pos x="3244" y="1726"/>
                  </a:cxn>
                  <a:cxn ang="0">
                    <a:pos x="3258" y="1654"/>
                  </a:cxn>
                </a:cxnLst>
                <a:rect l="0" t="0" r="r" b="b"/>
                <a:pathLst>
                  <a:path w="4526" h="3708">
                    <a:moveTo>
                      <a:pt x="3654" y="3626"/>
                    </a:move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42" y="3614"/>
                    </a:lnTo>
                    <a:lnTo>
                      <a:pt x="3628" y="3600"/>
                    </a:lnTo>
                    <a:lnTo>
                      <a:pt x="3622" y="3596"/>
                    </a:lnTo>
                    <a:lnTo>
                      <a:pt x="3614" y="3592"/>
                    </a:lnTo>
                    <a:lnTo>
                      <a:pt x="3606" y="3590"/>
                    </a:lnTo>
                    <a:lnTo>
                      <a:pt x="3598" y="3588"/>
                    </a:lnTo>
                    <a:lnTo>
                      <a:pt x="3598" y="3588"/>
                    </a:lnTo>
                    <a:lnTo>
                      <a:pt x="3588" y="3590"/>
                    </a:lnTo>
                    <a:lnTo>
                      <a:pt x="3588" y="3588"/>
                    </a:lnTo>
                    <a:lnTo>
                      <a:pt x="3588" y="3588"/>
                    </a:lnTo>
                    <a:lnTo>
                      <a:pt x="3588" y="3586"/>
                    </a:lnTo>
                    <a:lnTo>
                      <a:pt x="3586" y="3584"/>
                    </a:lnTo>
                    <a:lnTo>
                      <a:pt x="3574" y="3582"/>
                    </a:lnTo>
                    <a:lnTo>
                      <a:pt x="3574" y="3582"/>
                    </a:lnTo>
                    <a:lnTo>
                      <a:pt x="3562" y="3582"/>
                    </a:lnTo>
                    <a:lnTo>
                      <a:pt x="3560" y="3582"/>
                    </a:lnTo>
                    <a:lnTo>
                      <a:pt x="3560" y="3584"/>
                    </a:lnTo>
                    <a:lnTo>
                      <a:pt x="3556" y="3590"/>
                    </a:lnTo>
                    <a:lnTo>
                      <a:pt x="3552" y="3594"/>
                    </a:lnTo>
                    <a:lnTo>
                      <a:pt x="3546" y="3598"/>
                    </a:lnTo>
                    <a:lnTo>
                      <a:pt x="3546" y="3598"/>
                    </a:lnTo>
                    <a:lnTo>
                      <a:pt x="3524" y="3608"/>
                    </a:lnTo>
                    <a:lnTo>
                      <a:pt x="3518" y="3612"/>
                    </a:lnTo>
                    <a:lnTo>
                      <a:pt x="3514" y="3616"/>
                    </a:lnTo>
                    <a:lnTo>
                      <a:pt x="3496" y="3622"/>
                    </a:lnTo>
                    <a:lnTo>
                      <a:pt x="3496" y="3622"/>
                    </a:lnTo>
                    <a:lnTo>
                      <a:pt x="3492" y="3622"/>
                    </a:lnTo>
                    <a:lnTo>
                      <a:pt x="3488" y="3620"/>
                    </a:lnTo>
                    <a:lnTo>
                      <a:pt x="3480" y="3612"/>
                    </a:lnTo>
                    <a:lnTo>
                      <a:pt x="3480" y="3612"/>
                    </a:lnTo>
                    <a:lnTo>
                      <a:pt x="3476" y="3608"/>
                    </a:lnTo>
                    <a:lnTo>
                      <a:pt x="3474" y="3604"/>
                    </a:lnTo>
                    <a:lnTo>
                      <a:pt x="3474" y="3604"/>
                    </a:lnTo>
                    <a:lnTo>
                      <a:pt x="3472" y="3602"/>
                    </a:lnTo>
                    <a:lnTo>
                      <a:pt x="3470" y="3602"/>
                    </a:lnTo>
                    <a:lnTo>
                      <a:pt x="3468" y="3604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68" y="3612"/>
                    </a:lnTo>
                    <a:lnTo>
                      <a:pt x="3464" y="3612"/>
                    </a:lnTo>
                    <a:lnTo>
                      <a:pt x="3460" y="3610"/>
                    </a:lnTo>
                    <a:lnTo>
                      <a:pt x="3456" y="3608"/>
                    </a:lnTo>
                    <a:lnTo>
                      <a:pt x="3456" y="3608"/>
                    </a:lnTo>
                    <a:lnTo>
                      <a:pt x="3458" y="3604"/>
                    </a:lnTo>
                    <a:lnTo>
                      <a:pt x="3460" y="3604"/>
                    </a:lnTo>
                    <a:lnTo>
                      <a:pt x="3460" y="3602"/>
                    </a:lnTo>
                    <a:lnTo>
                      <a:pt x="3460" y="3600"/>
                    </a:lnTo>
                    <a:lnTo>
                      <a:pt x="3460" y="3600"/>
                    </a:lnTo>
                    <a:lnTo>
                      <a:pt x="3458" y="3600"/>
                    </a:lnTo>
                    <a:lnTo>
                      <a:pt x="3454" y="3600"/>
                    </a:lnTo>
                    <a:lnTo>
                      <a:pt x="3452" y="3600"/>
                    </a:lnTo>
                    <a:lnTo>
                      <a:pt x="3452" y="3596"/>
                    </a:lnTo>
                    <a:lnTo>
                      <a:pt x="3452" y="3596"/>
                    </a:lnTo>
                    <a:lnTo>
                      <a:pt x="3452" y="3590"/>
                    </a:lnTo>
                    <a:lnTo>
                      <a:pt x="3450" y="3588"/>
                    </a:lnTo>
                    <a:lnTo>
                      <a:pt x="3444" y="3584"/>
                    </a:lnTo>
                    <a:lnTo>
                      <a:pt x="3444" y="3584"/>
                    </a:lnTo>
                    <a:lnTo>
                      <a:pt x="3440" y="3578"/>
                    </a:lnTo>
                    <a:lnTo>
                      <a:pt x="3432" y="3568"/>
                    </a:lnTo>
                    <a:lnTo>
                      <a:pt x="3422" y="3558"/>
                    </a:lnTo>
                    <a:lnTo>
                      <a:pt x="3412" y="3544"/>
                    </a:lnTo>
                    <a:lnTo>
                      <a:pt x="3412" y="3544"/>
                    </a:lnTo>
                    <a:lnTo>
                      <a:pt x="3406" y="3534"/>
                    </a:lnTo>
                    <a:lnTo>
                      <a:pt x="3404" y="3528"/>
                    </a:lnTo>
                    <a:lnTo>
                      <a:pt x="3404" y="3522"/>
                    </a:lnTo>
                    <a:lnTo>
                      <a:pt x="3400" y="3516"/>
                    </a:lnTo>
                    <a:lnTo>
                      <a:pt x="3400" y="3516"/>
                    </a:lnTo>
                    <a:lnTo>
                      <a:pt x="3396" y="3512"/>
                    </a:lnTo>
                    <a:lnTo>
                      <a:pt x="3392" y="3504"/>
                    </a:lnTo>
                    <a:lnTo>
                      <a:pt x="3392" y="3504"/>
                    </a:lnTo>
                    <a:lnTo>
                      <a:pt x="3392" y="3498"/>
                    </a:lnTo>
                    <a:lnTo>
                      <a:pt x="3392" y="3492"/>
                    </a:lnTo>
                    <a:lnTo>
                      <a:pt x="3396" y="3486"/>
                    </a:lnTo>
                    <a:lnTo>
                      <a:pt x="3398" y="3484"/>
                    </a:lnTo>
                    <a:lnTo>
                      <a:pt x="3398" y="3484"/>
                    </a:lnTo>
                    <a:lnTo>
                      <a:pt x="3400" y="3482"/>
                    </a:lnTo>
                    <a:lnTo>
                      <a:pt x="3400" y="3478"/>
                    </a:lnTo>
                    <a:lnTo>
                      <a:pt x="3398" y="3474"/>
                    </a:lnTo>
                    <a:lnTo>
                      <a:pt x="3396" y="3472"/>
                    </a:lnTo>
                    <a:lnTo>
                      <a:pt x="3396" y="3472"/>
                    </a:lnTo>
                    <a:lnTo>
                      <a:pt x="3396" y="3470"/>
                    </a:lnTo>
                    <a:lnTo>
                      <a:pt x="3394" y="3470"/>
                    </a:lnTo>
                    <a:lnTo>
                      <a:pt x="3396" y="3464"/>
                    </a:lnTo>
                    <a:lnTo>
                      <a:pt x="3400" y="3452"/>
                    </a:lnTo>
                    <a:lnTo>
                      <a:pt x="3400" y="3452"/>
                    </a:lnTo>
                    <a:lnTo>
                      <a:pt x="3400" y="3446"/>
                    </a:lnTo>
                    <a:lnTo>
                      <a:pt x="3402" y="3444"/>
                    </a:lnTo>
                    <a:lnTo>
                      <a:pt x="3404" y="3444"/>
                    </a:lnTo>
                    <a:lnTo>
                      <a:pt x="3404" y="3444"/>
                    </a:lnTo>
                    <a:lnTo>
                      <a:pt x="3408" y="3444"/>
                    </a:lnTo>
                    <a:lnTo>
                      <a:pt x="3406" y="3438"/>
                    </a:lnTo>
                    <a:lnTo>
                      <a:pt x="3406" y="3438"/>
                    </a:lnTo>
                    <a:lnTo>
                      <a:pt x="3406" y="3424"/>
                    </a:lnTo>
                    <a:lnTo>
                      <a:pt x="3404" y="3404"/>
                    </a:lnTo>
                    <a:lnTo>
                      <a:pt x="3404" y="3404"/>
                    </a:lnTo>
                    <a:lnTo>
                      <a:pt x="3402" y="3396"/>
                    </a:lnTo>
                    <a:lnTo>
                      <a:pt x="3404" y="3392"/>
                    </a:lnTo>
                    <a:lnTo>
                      <a:pt x="3406" y="3386"/>
                    </a:lnTo>
                    <a:lnTo>
                      <a:pt x="3408" y="3378"/>
                    </a:lnTo>
                    <a:lnTo>
                      <a:pt x="3408" y="3378"/>
                    </a:lnTo>
                    <a:lnTo>
                      <a:pt x="3410" y="3368"/>
                    </a:lnTo>
                    <a:lnTo>
                      <a:pt x="3414" y="3358"/>
                    </a:lnTo>
                    <a:lnTo>
                      <a:pt x="3418" y="3350"/>
                    </a:lnTo>
                    <a:lnTo>
                      <a:pt x="3418" y="3346"/>
                    </a:lnTo>
                    <a:lnTo>
                      <a:pt x="3418" y="3342"/>
                    </a:lnTo>
                    <a:lnTo>
                      <a:pt x="3418" y="3342"/>
                    </a:lnTo>
                    <a:lnTo>
                      <a:pt x="3416" y="3334"/>
                    </a:lnTo>
                    <a:lnTo>
                      <a:pt x="3416" y="3328"/>
                    </a:lnTo>
                    <a:lnTo>
                      <a:pt x="3418" y="3324"/>
                    </a:lnTo>
                    <a:lnTo>
                      <a:pt x="3420" y="3318"/>
                    </a:lnTo>
                    <a:lnTo>
                      <a:pt x="3420" y="3318"/>
                    </a:lnTo>
                    <a:lnTo>
                      <a:pt x="3420" y="3314"/>
                    </a:lnTo>
                    <a:lnTo>
                      <a:pt x="3418" y="3310"/>
                    </a:lnTo>
                    <a:lnTo>
                      <a:pt x="3412" y="3304"/>
                    </a:lnTo>
                    <a:lnTo>
                      <a:pt x="3406" y="3300"/>
                    </a:lnTo>
                    <a:lnTo>
                      <a:pt x="3406" y="3300"/>
                    </a:lnTo>
                    <a:lnTo>
                      <a:pt x="3388" y="3290"/>
                    </a:lnTo>
                    <a:lnTo>
                      <a:pt x="3380" y="3280"/>
                    </a:lnTo>
                    <a:lnTo>
                      <a:pt x="3380" y="3280"/>
                    </a:lnTo>
                    <a:lnTo>
                      <a:pt x="3372" y="3274"/>
                    </a:lnTo>
                    <a:lnTo>
                      <a:pt x="3360" y="3270"/>
                    </a:lnTo>
                    <a:lnTo>
                      <a:pt x="3350" y="3268"/>
                    </a:lnTo>
                    <a:lnTo>
                      <a:pt x="3344" y="3268"/>
                    </a:lnTo>
                    <a:lnTo>
                      <a:pt x="3344" y="3268"/>
                    </a:lnTo>
                    <a:lnTo>
                      <a:pt x="3340" y="3270"/>
                    </a:lnTo>
                    <a:lnTo>
                      <a:pt x="3334" y="3270"/>
                    </a:lnTo>
                    <a:lnTo>
                      <a:pt x="3326" y="3270"/>
                    </a:lnTo>
                    <a:lnTo>
                      <a:pt x="3320" y="3268"/>
                    </a:lnTo>
                    <a:lnTo>
                      <a:pt x="3320" y="3268"/>
                    </a:lnTo>
                    <a:lnTo>
                      <a:pt x="3308" y="3264"/>
                    </a:lnTo>
                    <a:lnTo>
                      <a:pt x="3306" y="3264"/>
                    </a:lnTo>
                    <a:lnTo>
                      <a:pt x="3308" y="3266"/>
                    </a:lnTo>
                    <a:lnTo>
                      <a:pt x="3308" y="3266"/>
                    </a:lnTo>
                    <a:lnTo>
                      <a:pt x="3308" y="3268"/>
                    </a:lnTo>
                    <a:lnTo>
                      <a:pt x="3308" y="3270"/>
                    </a:lnTo>
                    <a:lnTo>
                      <a:pt x="3304" y="3272"/>
                    </a:lnTo>
                    <a:lnTo>
                      <a:pt x="3292" y="3276"/>
                    </a:lnTo>
                    <a:lnTo>
                      <a:pt x="3292" y="3276"/>
                    </a:lnTo>
                    <a:lnTo>
                      <a:pt x="3278" y="3278"/>
                    </a:lnTo>
                    <a:lnTo>
                      <a:pt x="3266" y="3276"/>
                    </a:lnTo>
                    <a:lnTo>
                      <a:pt x="3258" y="3274"/>
                    </a:lnTo>
                    <a:lnTo>
                      <a:pt x="3248" y="3274"/>
                    </a:lnTo>
                    <a:lnTo>
                      <a:pt x="3248" y="3274"/>
                    </a:lnTo>
                    <a:lnTo>
                      <a:pt x="3244" y="3276"/>
                    </a:lnTo>
                    <a:lnTo>
                      <a:pt x="3242" y="3274"/>
                    </a:lnTo>
                    <a:lnTo>
                      <a:pt x="3240" y="3272"/>
                    </a:lnTo>
                    <a:lnTo>
                      <a:pt x="3238" y="3270"/>
                    </a:lnTo>
                    <a:lnTo>
                      <a:pt x="3238" y="3270"/>
                    </a:lnTo>
                    <a:lnTo>
                      <a:pt x="3236" y="3270"/>
                    </a:lnTo>
                    <a:lnTo>
                      <a:pt x="3232" y="3272"/>
                    </a:lnTo>
                    <a:lnTo>
                      <a:pt x="3226" y="3276"/>
                    </a:lnTo>
                    <a:lnTo>
                      <a:pt x="3222" y="3282"/>
                    </a:lnTo>
                    <a:lnTo>
                      <a:pt x="3218" y="3282"/>
                    </a:lnTo>
                    <a:lnTo>
                      <a:pt x="3216" y="3280"/>
                    </a:lnTo>
                    <a:lnTo>
                      <a:pt x="3216" y="3280"/>
                    </a:lnTo>
                    <a:lnTo>
                      <a:pt x="3206" y="3272"/>
                    </a:lnTo>
                    <a:lnTo>
                      <a:pt x="3202" y="3268"/>
                    </a:lnTo>
                    <a:lnTo>
                      <a:pt x="3200" y="3268"/>
                    </a:lnTo>
                    <a:lnTo>
                      <a:pt x="3202" y="3270"/>
                    </a:lnTo>
                    <a:lnTo>
                      <a:pt x="3202" y="3270"/>
                    </a:lnTo>
                    <a:lnTo>
                      <a:pt x="3204" y="3274"/>
                    </a:lnTo>
                    <a:lnTo>
                      <a:pt x="3202" y="3280"/>
                    </a:lnTo>
                    <a:lnTo>
                      <a:pt x="3202" y="3280"/>
                    </a:lnTo>
                    <a:lnTo>
                      <a:pt x="3200" y="3282"/>
                    </a:lnTo>
                    <a:lnTo>
                      <a:pt x="3198" y="3280"/>
                    </a:lnTo>
                    <a:lnTo>
                      <a:pt x="3194" y="3274"/>
                    </a:lnTo>
                    <a:lnTo>
                      <a:pt x="3188" y="3270"/>
                    </a:lnTo>
                    <a:lnTo>
                      <a:pt x="3188" y="3270"/>
                    </a:lnTo>
                    <a:lnTo>
                      <a:pt x="3188" y="3268"/>
                    </a:lnTo>
                    <a:lnTo>
                      <a:pt x="3190" y="3264"/>
                    </a:lnTo>
                    <a:lnTo>
                      <a:pt x="3196" y="3256"/>
                    </a:lnTo>
                    <a:lnTo>
                      <a:pt x="3202" y="3250"/>
                    </a:lnTo>
                    <a:lnTo>
                      <a:pt x="3208" y="3242"/>
                    </a:lnTo>
                    <a:lnTo>
                      <a:pt x="3208" y="3242"/>
                    </a:lnTo>
                    <a:lnTo>
                      <a:pt x="3212" y="3236"/>
                    </a:lnTo>
                    <a:lnTo>
                      <a:pt x="3214" y="3228"/>
                    </a:lnTo>
                    <a:lnTo>
                      <a:pt x="3216" y="3206"/>
                    </a:lnTo>
                    <a:lnTo>
                      <a:pt x="3218" y="3182"/>
                    </a:lnTo>
                    <a:lnTo>
                      <a:pt x="3222" y="3160"/>
                    </a:lnTo>
                    <a:lnTo>
                      <a:pt x="3222" y="3160"/>
                    </a:lnTo>
                    <a:lnTo>
                      <a:pt x="3222" y="3154"/>
                    </a:lnTo>
                    <a:lnTo>
                      <a:pt x="3220" y="3150"/>
                    </a:lnTo>
                    <a:lnTo>
                      <a:pt x="3218" y="3148"/>
                    </a:lnTo>
                    <a:lnTo>
                      <a:pt x="3216" y="3148"/>
                    </a:lnTo>
                    <a:lnTo>
                      <a:pt x="3216" y="3148"/>
                    </a:lnTo>
                    <a:lnTo>
                      <a:pt x="3214" y="3150"/>
                    </a:lnTo>
                    <a:lnTo>
                      <a:pt x="3212" y="3150"/>
                    </a:lnTo>
                    <a:lnTo>
                      <a:pt x="3212" y="3144"/>
                    </a:lnTo>
                    <a:lnTo>
                      <a:pt x="3212" y="3144"/>
                    </a:lnTo>
                    <a:lnTo>
                      <a:pt x="3220" y="3128"/>
                    </a:lnTo>
                    <a:lnTo>
                      <a:pt x="3220" y="3128"/>
                    </a:lnTo>
                    <a:lnTo>
                      <a:pt x="3222" y="3124"/>
                    </a:lnTo>
                    <a:lnTo>
                      <a:pt x="3224" y="3124"/>
                    </a:lnTo>
                    <a:lnTo>
                      <a:pt x="3224" y="3128"/>
                    </a:lnTo>
                    <a:lnTo>
                      <a:pt x="3222" y="3134"/>
                    </a:lnTo>
                    <a:lnTo>
                      <a:pt x="3222" y="3134"/>
                    </a:lnTo>
                    <a:lnTo>
                      <a:pt x="3222" y="3140"/>
                    </a:lnTo>
                    <a:lnTo>
                      <a:pt x="3224" y="3144"/>
                    </a:lnTo>
                    <a:lnTo>
                      <a:pt x="3226" y="3148"/>
                    </a:lnTo>
                    <a:lnTo>
                      <a:pt x="3230" y="3154"/>
                    </a:lnTo>
                    <a:lnTo>
                      <a:pt x="3230" y="3154"/>
                    </a:lnTo>
                    <a:lnTo>
                      <a:pt x="3232" y="3156"/>
                    </a:lnTo>
                    <a:lnTo>
                      <a:pt x="3232" y="3152"/>
                    </a:lnTo>
                    <a:lnTo>
                      <a:pt x="3236" y="3138"/>
                    </a:lnTo>
                    <a:lnTo>
                      <a:pt x="3242" y="3118"/>
                    </a:lnTo>
                    <a:lnTo>
                      <a:pt x="3244" y="3104"/>
                    </a:lnTo>
                    <a:lnTo>
                      <a:pt x="3244" y="3104"/>
                    </a:lnTo>
                    <a:lnTo>
                      <a:pt x="3246" y="3102"/>
                    </a:lnTo>
                    <a:lnTo>
                      <a:pt x="3244" y="3102"/>
                    </a:lnTo>
                    <a:lnTo>
                      <a:pt x="3240" y="3102"/>
                    </a:lnTo>
                    <a:lnTo>
                      <a:pt x="3238" y="3102"/>
                    </a:lnTo>
                    <a:lnTo>
                      <a:pt x="3242" y="3098"/>
                    </a:lnTo>
                    <a:lnTo>
                      <a:pt x="3242" y="3098"/>
                    </a:lnTo>
                    <a:lnTo>
                      <a:pt x="3250" y="3088"/>
                    </a:lnTo>
                    <a:lnTo>
                      <a:pt x="3248" y="3086"/>
                    </a:lnTo>
                    <a:lnTo>
                      <a:pt x="3244" y="3088"/>
                    </a:lnTo>
                    <a:lnTo>
                      <a:pt x="3244" y="3088"/>
                    </a:lnTo>
                    <a:lnTo>
                      <a:pt x="3238" y="3090"/>
                    </a:lnTo>
                    <a:lnTo>
                      <a:pt x="3236" y="3088"/>
                    </a:lnTo>
                    <a:lnTo>
                      <a:pt x="3236" y="3084"/>
                    </a:lnTo>
                    <a:lnTo>
                      <a:pt x="3242" y="3078"/>
                    </a:lnTo>
                    <a:lnTo>
                      <a:pt x="3242" y="3078"/>
                    </a:lnTo>
                    <a:lnTo>
                      <a:pt x="3246" y="3076"/>
                    </a:lnTo>
                    <a:lnTo>
                      <a:pt x="3248" y="3072"/>
                    </a:lnTo>
                    <a:lnTo>
                      <a:pt x="3248" y="3064"/>
                    </a:lnTo>
                    <a:lnTo>
                      <a:pt x="3252" y="3050"/>
                    </a:lnTo>
                    <a:lnTo>
                      <a:pt x="3256" y="3040"/>
                    </a:lnTo>
                    <a:lnTo>
                      <a:pt x="3264" y="3030"/>
                    </a:lnTo>
                    <a:lnTo>
                      <a:pt x="3264" y="3030"/>
                    </a:lnTo>
                    <a:lnTo>
                      <a:pt x="3274" y="3016"/>
                    </a:lnTo>
                    <a:lnTo>
                      <a:pt x="3276" y="3010"/>
                    </a:lnTo>
                    <a:lnTo>
                      <a:pt x="3274" y="3006"/>
                    </a:lnTo>
                    <a:lnTo>
                      <a:pt x="3272" y="3002"/>
                    </a:lnTo>
                    <a:lnTo>
                      <a:pt x="3272" y="3002"/>
                    </a:lnTo>
                    <a:lnTo>
                      <a:pt x="3272" y="2996"/>
                    </a:lnTo>
                    <a:lnTo>
                      <a:pt x="3272" y="2994"/>
                    </a:lnTo>
                    <a:lnTo>
                      <a:pt x="3268" y="2992"/>
                    </a:lnTo>
                    <a:lnTo>
                      <a:pt x="3266" y="2988"/>
                    </a:lnTo>
                    <a:lnTo>
                      <a:pt x="3266" y="2988"/>
                    </a:lnTo>
                    <a:lnTo>
                      <a:pt x="3264" y="2986"/>
                    </a:lnTo>
                    <a:lnTo>
                      <a:pt x="3260" y="2986"/>
                    </a:lnTo>
                    <a:lnTo>
                      <a:pt x="3256" y="2986"/>
                    </a:lnTo>
                    <a:lnTo>
                      <a:pt x="3252" y="2988"/>
                    </a:lnTo>
                    <a:lnTo>
                      <a:pt x="3252" y="2988"/>
                    </a:lnTo>
                    <a:lnTo>
                      <a:pt x="3254" y="2990"/>
                    </a:lnTo>
                    <a:lnTo>
                      <a:pt x="3254" y="2990"/>
                    </a:lnTo>
                    <a:lnTo>
                      <a:pt x="3260" y="2990"/>
                    </a:lnTo>
                    <a:lnTo>
                      <a:pt x="3260" y="2992"/>
                    </a:lnTo>
                    <a:lnTo>
                      <a:pt x="3256" y="2994"/>
                    </a:lnTo>
                    <a:lnTo>
                      <a:pt x="3256" y="2994"/>
                    </a:lnTo>
                    <a:lnTo>
                      <a:pt x="3254" y="2994"/>
                    </a:lnTo>
                    <a:lnTo>
                      <a:pt x="3250" y="2994"/>
                    </a:lnTo>
                    <a:lnTo>
                      <a:pt x="3242" y="2990"/>
                    </a:lnTo>
                    <a:lnTo>
                      <a:pt x="3230" y="2988"/>
                    </a:lnTo>
                    <a:lnTo>
                      <a:pt x="3222" y="2986"/>
                    </a:lnTo>
                    <a:lnTo>
                      <a:pt x="3214" y="2986"/>
                    </a:lnTo>
                    <a:lnTo>
                      <a:pt x="3214" y="2986"/>
                    </a:lnTo>
                    <a:lnTo>
                      <a:pt x="3202" y="2990"/>
                    </a:lnTo>
                    <a:lnTo>
                      <a:pt x="3196" y="2992"/>
                    </a:lnTo>
                    <a:lnTo>
                      <a:pt x="3190" y="2996"/>
                    </a:lnTo>
                    <a:lnTo>
                      <a:pt x="3180" y="2998"/>
                    </a:lnTo>
                    <a:lnTo>
                      <a:pt x="3180" y="2998"/>
                    </a:lnTo>
                    <a:lnTo>
                      <a:pt x="3162" y="3000"/>
                    </a:lnTo>
                    <a:lnTo>
                      <a:pt x="3146" y="3004"/>
                    </a:lnTo>
                    <a:lnTo>
                      <a:pt x="3140" y="3008"/>
                    </a:lnTo>
                    <a:lnTo>
                      <a:pt x="3134" y="3012"/>
                    </a:lnTo>
                    <a:lnTo>
                      <a:pt x="3130" y="3016"/>
                    </a:lnTo>
                    <a:lnTo>
                      <a:pt x="3130" y="3020"/>
                    </a:lnTo>
                    <a:lnTo>
                      <a:pt x="3130" y="3020"/>
                    </a:lnTo>
                    <a:lnTo>
                      <a:pt x="3128" y="3028"/>
                    </a:lnTo>
                    <a:lnTo>
                      <a:pt x="3126" y="3034"/>
                    </a:lnTo>
                    <a:lnTo>
                      <a:pt x="3124" y="3040"/>
                    </a:lnTo>
                    <a:lnTo>
                      <a:pt x="3124" y="3056"/>
                    </a:lnTo>
                    <a:lnTo>
                      <a:pt x="3124" y="3056"/>
                    </a:lnTo>
                    <a:lnTo>
                      <a:pt x="3126" y="3068"/>
                    </a:lnTo>
                    <a:lnTo>
                      <a:pt x="3124" y="3070"/>
                    </a:lnTo>
                    <a:lnTo>
                      <a:pt x="3122" y="3072"/>
                    </a:lnTo>
                    <a:lnTo>
                      <a:pt x="3118" y="3076"/>
                    </a:lnTo>
                    <a:lnTo>
                      <a:pt x="3116" y="3080"/>
                    </a:lnTo>
                    <a:lnTo>
                      <a:pt x="3116" y="3088"/>
                    </a:lnTo>
                    <a:lnTo>
                      <a:pt x="3116" y="3088"/>
                    </a:lnTo>
                    <a:lnTo>
                      <a:pt x="3114" y="3096"/>
                    </a:lnTo>
                    <a:lnTo>
                      <a:pt x="3112" y="3102"/>
                    </a:lnTo>
                    <a:lnTo>
                      <a:pt x="3108" y="3108"/>
                    </a:lnTo>
                    <a:lnTo>
                      <a:pt x="3104" y="3112"/>
                    </a:lnTo>
                    <a:lnTo>
                      <a:pt x="3094" y="3118"/>
                    </a:lnTo>
                    <a:lnTo>
                      <a:pt x="3086" y="3122"/>
                    </a:lnTo>
                    <a:lnTo>
                      <a:pt x="3086" y="3122"/>
                    </a:lnTo>
                    <a:lnTo>
                      <a:pt x="3084" y="3126"/>
                    </a:lnTo>
                    <a:lnTo>
                      <a:pt x="3084" y="3126"/>
                    </a:lnTo>
                    <a:lnTo>
                      <a:pt x="3088" y="3128"/>
                    </a:lnTo>
                    <a:lnTo>
                      <a:pt x="3092" y="3132"/>
                    </a:lnTo>
                    <a:lnTo>
                      <a:pt x="3092" y="3134"/>
                    </a:lnTo>
                    <a:lnTo>
                      <a:pt x="3090" y="3138"/>
                    </a:lnTo>
                    <a:lnTo>
                      <a:pt x="3090" y="3138"/>
                    </a:lnTo>
                    <a:lnTo>
                      <a:pt x="3086" y="3142"/>
                    </a:lnTo>
                    <a:lnTo>
                      <a:pt x="3078" y="3144"/>
                    </a:lnTo>
                    <a:lnTo>
                      <a:pt x="3072" y="3144"/>
                    </a:lnTo>
                    <a:lnTo>
                      <a:pt x="3070" y="3142"/>
                    </a:lnTo>
                    <a:lnTo>
                      <a:pt x="3070" y="3140"/>
                    </a:lnTo>
                    <a:lnTo>
                      <a:pt x="3070" y="3140"/>
                    </a:lnTo>
                    <a:lnTo>
                      <a:pt x="3068" y="3134"/>
                    </a:lnTo>
                    <a:lnTo>
                      <a:pt x="3066" y="3132"/>
                    </a:lnTo>
                    <a:lnTo>
                      <a:pt x="3058" y="3132"/>
                    </a:lnTo>
                    <a:lnTo>
                      <a:pt x="3046" y="3132"/>
                    </a:lnTo>
                    <a:lnTo>
                      <a:pt x="3046" y="3132"/>
                    </a:lnTo>
                    <a:lnTo>
                      <a:pt x="3038" y="3134"/>
                    </a:lnTo>
                    <a:lnTo>
                      <a:pt x="3034" y="3138"/>
                    </a:lnTo>
                    <a:lnTo>
                      <a:pt x="3028" y="3142"/>
                    </a:lnTo>
                    <a:lnTo>
                      <a:pt x="3010" y="3144"/>
                    </a:lnTo>
                    <a:lnTo>
                      <a:pt x="3010" y="3144"/>
                    </a:lnTo>
                    <a:lnTo>
                      <a:pt x="2996" y="3146"/>
                    </a:lnTo>
                    <a:lnTo>
                      <a:pt x="2986" y="3152"/>
                    </a:lnTo>
                    <a:lnTo>
                      <a:pt x="2978" y="3156"/>
                    </a:lnTo>
                    <a:lnTo>
                      <a:pt x="2968" y="3160"/>
                    </a:lnTo>
                    <a:lnTo>
                      <a:pt x="2968" y="3160"/>
                    </a:lnTo>
                    <a:lnTo>
                      <a:pt x="2964" y="3160"/>
                    </a:lnTo>
                    <a:lnTo>
                      <a:pt x="2960" y="3158"/>
                    </a:lnTo>
                    <a:lnTo>
                      <a:pt x="2956" y="3148"/>
                    </a:lnTo>
                    <a:lnTo>
                      <a:pt x="2952" y="3144"/>
                    </a:lnTo>
                    <a:lnTo>
                      <a:pt x="2946" y="3138"/>
                    </a:lnTo>
                    <a:lnTo>
                      <a:pt x="2938" y="3134"/>
                    </a:lnTo>
                    <a:lnTo>
                      <a:pt x="2924" y="3130"/>
                    </a:lnTo>
                    <a:lnTo>
                      <a:pt x="2924" y="3130"/>
                    </a:lnTo>
                    <a:lnTo>
                      <a:pt x="2912" y="3126"/>
                    </a:lnTo>
                    <a:lnTo>
                      <a:pt x="2904" y="3120"/>
                    </a:lnTo>
                    <a:lnTo>
                      <a:pt x="2898" y="3112"/>
                    </a:lnTo>
                    <a:lnTo>
                      <a:pt x="2894" y="3102"/>
                    </a:lnTo>
                    <a:lnTo>
                      <a:pt x="2884" y="3076"/>
                    </a:lnTo>
                    <a:lnTo>
                      <a:pt x="2876" y="3062"/>
                    </a:lnTo>
                    <a:lnTo>
                      <a:pt x="2864" y="3046"/>
                    </a:lnTo>
                    <a:lnTo>
                      <a:pt x="2864" y="3046"/>
                    </a:lnTo>
                    <a:lnTo>
                      <a:pt x="2858" y="3036"/>
                    </a:lnTo>
                    <a:lnTo>
                      <a:pt x="2852" y="3028"/>
                    </a:lnTo>
                    <a:lnTo>
                      <a:pt x="2848" y="3010"/>
                    </a:lnTo>
                    <a:lnTo>
                      <a:pt x="2844" y="2998"/>
                    </a:lnTo>
                    <a:lnTo>
                      <a:pt x="2844" y="2994"/>
                    </a:lnTo>
                    <a:lnTo>
                      <a:pt x="2842" y="2992"/>
                    </a:lnTo>
                    <a:lnTo>
                      <a:pt x="2842" y="2992"/>
                    </a:lnTo>
                    <a:lnTo>
                      <a:pt x="2838" y="2990"/>
                    </a:lnTo>
                    <a:lnTo>
                      <a:pt x="2836" y="2988"/>
                    </a:lnTo>
                    <a:lnTo>
                      <a:pt x="2834" y="2976"/>
                    </a:lnTo>
                    <a:lnTo>
                      <a:pt x="2830" y="2948"/>
                    </a:lnTo>
                    <a:lnTo>
                      <a:pt x="2830" y="2948"/>
                    </a:lnTo>
                    <a:lnTo>
                      <a:pt x="2830" y="2938"/>
                    </a:lnTo>
                    <a:lnTo>
                      <a:pt x="2828" y="2934"/>
                    </a:lnTo>
                    <a:lnTo>
                      <a:pt x="2828" y="2932"/>
                    </a:lnTo>
                    <a:lnTo>
                      <a:pt x="2830" y="2926"/>
                    </a:lnTo>
                    <a:lnTo>
                      <a:pt x="2830" y="2926"/>
                    </a:lnTo>
                    <a:lnTo>
                      <a:pt x="2830" y="2916"/>
                    </a:lnTo>
                    <a:lnTo>
                      <a:pt x="2830" y="2906"/>
                    </a:lnTo>
                    <a:lnTo>
                      <a:pt x="2830" y="2886"/>
                    </a:lnTo>
                    <a:lnTo>
                      <a:pt x="2834" y="2854"/>
                    </a:lnTo>
                    <a:lnTo>
                      <a:pt x="2834" y="2854"/>
                    </a:lnTo>
                    <a:lnTo>
                      <a:pt x="2840" y="2820"/>
                    </a:lnTo>
                    <a:lnTo>
                      <a:pt x="2846" y="2800"/>
                    </a:lnTo>
                    <a:lnTo>
                      <a:pt x="2852" y="2784"/>
                    </a:lnTo>
                    <a:lnTo>
                      <a:pt x="2856" y="2766"/>
                    </a:lnTo>
                    <a:lnTo>
                      <a:pt x="2856" y="2766"/>
                    </a:lnTo>
                    <a:lnTo>
                      <a:pt x="2854" y="2748"/>
                    </a:lnTo>
                    <a:lnTo>
                      <a:pt x="2850" y="2728"/>
                    </a:lnTo>
                    <a:lnTo>
                      <a:pt x="2846" y="2710"/>
                    </a:lnTo>
                    <a:lnTo>
                      <a:pt x="2846" y="2696"/>
                    </a:lnTo>
                    <a:lnTo>
                      <a:pt x="2846" y="2696"/>
                    </a:lnTo>
                    <a:lnTo>
                      <a:pt x="2850" y="2686"/>
                    </a:lnTo>
                    <a:lnTo>
                      <a:pt x="2854" y="2678"/>
                    </a:lnTo>
                    <a:lnTo>
                      <a:pt x="2858" y="2672"/>
                    </a:lnTo>
                    <a:lnTo>
                      <a:pt x="2864" y="2662"/>
                    </a:lnTo>
                    <a:lnTo>
                      <a:pt x="2864" y="2662"/>
                    </a:lnTo>
                    <a:lnTo>
                      <a:pt x="2866" y="2658"/>
                    </a:lnTo>
                    <a:lnTo>
                      <a:pt x="2870" y="2654"/>
                    </a:lnTo>
                    <a:lnTo>
                      <a:pt x="2880" y="2646"/>
                    </a:lnTo>
                    <a:lnTo>
                      <a:pt x="2886" y="2642"/>
                    </a:lnTo>
                    <a:lnTo>
                      <a:pt x="2888" y="2640"/>
                    </a:lnTo>
                    <a:lnTo>
                      <a:pt x="2886" y="2638"/>
                    </a:lnTo>
                    <a:lnTo>
                      <a:pt x="2886" y="2638"/>
                    </a:lnTo>
                    <a:lnTo>
                      <a:pt x="2880" y="2628"/>
                    </a:lnTo>
                    <a:lnTo>
                      <a:pt x="2878" y="2626"/>
                    </a:lnTo>
                    <a:lnTo>
                      <a:pt x="2882" y="2628"/>
                    </a:lnTo>
                    <a:lnTo>
                      <a:pt x="2882" y="2628"/>
                    </a:lnTo>
                    <a:lnTo>
                      <a:pt x="2886" y="2628"/>
                    </a:lnTo>
                    <a:lnTo>
                      <a:pt x="2890" y="2628"/>
                    </a:lnTo>
                    <a:lnTo>
                      <a:pt x="2892" y="2626"/>
                    </a:lnTo>
                    <a:lnTo>
                      <a:pt x="2894" y="2628"/>
                    </a:lnTo>
                    <a:lnTo>
                      <a:pt x="2894" y="2628"/>
                    </a:lnTo>
                    <a:lnTo>
                      <a:pt x="2896" y="2628"/>
                    </a:lnTo>
                    <a:lnTo>
                      <a:pt x="2902" y="2628"/>
                    </a:lnTo>
                    <a:lnTo>
                      <a:pt x="2912" y="2624"/>
                    </a:lnTo>
                    <a:lnTo>
                      <a:pt x="2926" y="2616"/>
                    </a:lnTo>
                    <a:lnTo>
                      <a:pt x="2936" y="2606"/>
                    </a:lnTo>
                    <a:lnTo>
                      <a:pt x="2936" y="2606"/>
                    </a:lnTo>
                    <a:lnTo>
                      <a:pt x="2942" y="2600"/>
                    </a:lnTo>
                    <a:lnTo>
                      <a:pt x="2948" y="2594"/>
                    </a:lnTo>
                    <a:lnTo>
                      <a:pt x="2964" y="2584"/>
                    </a:lnTo>
                    <a:lnTo>
                      <a:pt x="2964" y="2584"/>
                    </a:lnTo>
                    <a:lnTo>
                      <a:pt x="2980" y="2572"/>
                    </a:lnTo>
                    <a:lnTo>
                      <a:pt x="2990" y="2570"/>
                    </a:lnTo>
                    <a:lnTo>
                      <a:pt x="3006" y="2568"/>
                    </a:lnTo>
                    <a:lnTo>
                      <a:pt x="3006" y="2568"/>
                    </a:lnTo>
                    <a:lnTo>
                      <a:pt x="3014" y="2568"/>
                    </a:lnTo>
                    <a:lnTo>
                      <a:pt x="3020" y="2570"/>
                    </a:lnTo>
                    <a:lnTo>
                      <a:pt x="3032" y="2574"/>
                    </a:lnTo>
                    <a:lnTo>
                      <a:pt x="3040" y="2580"/>
                    </a:lnTo>
                    <a:lnTo>
                      <a:pt x="3046" y="2580"/>
                    </a:lnTo>
                    <a:lnTo>
                      <a:pt x="3050" y="2580"/>
                    </a:lnTo>
                    <a:lnTo>
                      <a:pt x="3050" y="2580"/>
                    </a:lnTo>
                    <a:lnTo>
                      <a:pt x="3060" y="2578"/>
                    </a:lnTo>
                    <a:lnTo>
                      <a:pt x="3064" y="2580"/>
                    </a:lnTo>
                    <a:lnTo>
                      <a:pt x="3068" y="2582"/>
                    </a:lnTo>
                    <a:lnTo>
                      <a:pt x="3072" y="2580"/>
                    </a:lnTo>
                    <a:lnTo>
                      <a:pt x="3072" y="2580"/>
                    </a:lnTo>
                    <a:lnTo>
                      <a:pt x="3074" y="2578"/>
                    </a:lnTo>
                    <a:lnTo>
                      <a:pt x="3072" y="2578"/>
                    </a:lnTo>
                    <a:lnTo>
                      <a:pt x="3066" y="2576"/>
                    </a:lnTo>
                    <a:lnTo>
                      <a:pt x="3058" y="2572"/>
                    </a:lnTo>
                    <a:lnTo>
                      <a:pt x="3058" y="2572"/>
                    </a:lnTo>
                    <a:lnTo>
                      <a:pt x="3060" y="2568"/>
                    </a:lnTo>
                    <a:lnTo>
                      <a:pt x="3060" y="2568"/>
                    </a:lnTo>
                    <a:lnTo>
                      <a:pt x="3068" y="2566"/>
                    </a:lnTo>
                    <a:lnTo>
                      <a:pt x="3074" y="2568"/>
                    </a:lnTo>
                    <a:lnTo>
                      <a:pt x="3078" y="2572"/>
                    </a:lnTo>
                    <a:lnTo>
                      <a:pt x="3082" y="2578"/>
                    </a:lnTo>
                    <a:lnTo>
                      <a:pt x="3082" y="2578"/>
                    </a:lnTo>
                    <a:lnTo>
                      <a:pt x="3084" y="2580"/>
                    </a:lnTo>
                    <a:lnTo>
                      <a:pt x="3086" y="2582"/>
                    </a:lnTo>
                    <a:lnTo>
                      <a:pt x="3092" y="2584"/>
                    </a:lnTo>
                    <a:lnTo>
                      <a:pt x="3096" y="2586"/>
                    </a:lnTo>
                    <a:lnTo>
                      <a:pt x="3094" y="2588"/>
                    </a:lnTo>
                    <a:lnTo>
                      <a:pt x="3092" y="2590"/>
                    </a:lnTo>
                    <a:lnTo>
                      <a:pt x="3092" y="2590"/>
                    </a:lnTo>
                    <a:lnTo>
                      <a:pt x="3092" y="2594"/>
                    </a:lnTo>
                    <a:lnTo>
                      <a:pt x="3094" y="2596"/>
                    </a:lnTo>
                    <a:lnTo>
                      <a:pt x="3102" y="2600"/>
                    </a:lnTo>
                    <a:lnTo>
                      <a:pt x="3112" y="2600"/>
                    </a:lnTo>
                    <a:lnTo>
                      <a:pt x="3118" y="2600"/>
                    </a:lnTo>
                    <a:lnTo>
                      <a:pt x="3118" y="2600"/>
                    </a:lnTo>
                    <a:lnTo>
                      <a:pt x="3120" y="2596"/>
                    </a:lnTo>
                    <a:lnTo>
                      <a:pt x="3126" y="2594"/>
                    </a:lnTo>
                    <a:lnTo>
                      <a:pt x="3130" y="2594"/>
                    </a:lnTo>
                    <a:lnTo>
                      <a:pt x="3134" y="2600"/>
                    </a:lnTo>
                    <a:lnTo>
                      <a:pt x="3134" y="2600"/>
                    </a:lnTo>
                    <a:lnTo>
                      <a:pt x="3136" y="2602"/>
                    </a:lnTo>
                    <a:lnTo>
                      <a:pt x="3138" y="2604"/>
                    </a:lnTo>
                    <a:lnTo>
                      <a:pt x="3142" y="2602"/>
                    </a:lnTo>
                    <a:lnTo>
                      <a:pt x="3144" y="2596"/>
                    </a:lnTo>
                    <a:lnTo>
                      <a:pt x="3144" y="2592"/>
                    </a:lnTo>
                    <a:lnTo>
                      <a:pt x="3142" y="2588"/>
                    </a:lnTo>
                    <a:lnTo>
                      <a:pt x="3142" y="2588"/>
                    </a:lnTo>
                    <a:lnTo>
                      <a:pt x="3142" y="2584"/>
                    </a:lnTo>
                    <a:lnTo>
                      <a:pt x="3146" y="2584"/>
                    </a:lnTo>
                    <a:lnTo>
                      <a:pt x="3152" y="2586"/>
                    </a:lnTo>
                    <a:lnTo>
                      <a:pt x="3160" y="2594"/>
                    </a:lnTo>
                    <a:lnTo>
                      <a:pt x="3160" y="2594"/>
                    </a:lnTo>
                    <a:lnTo>
                      <a:pt x="3166" y="2602"/>
                    </a:lnTo>
                    <a:lnTo>
                      <a:pt x="3168" y="2608"/>
                    </a:lnTo>
                    <a:lnTo>
                      <a:pt x="3168" y="2610"/>
                    </a:lnTo>
                    <a:lnTo>
                      <a:pt x="3170" y="2610"/>
                    </a:lnTo>
                    <a:lnTo>
                      <a:pt x="3176" y="2606"/>
                    </a:lnTo>
                    <a:lnTo>
                      <a:pt x="3176" y="2606"/>
                    </a:lnTo>
                    <a:lnTo>
                      <a:pt x="3180" y="2602"/>
                    </a:lnTo>
                    <a:lnTo>
                      <a:pt x="3182" y="2600"/>
                    </a:lnTo>
                    <a:lnTo>
                      <a:pt x="3182" y="2596"/>
                    </a:lnTo>
                    <a:lnTo>
                      <a:pt x="3180" y="2594"/>
                    </a:lnTo>
                    <a:lnTo>
                      <a:pt x="3174" y="2590"/>
                    </a:lnTo>
                    <a:lnTo>
                      <a:pt x="3162" y="2584"/>
                    </a:lnTo>
                    <a:lnTo>
                      <a:pt x="3162" y="2584"/>
                    </a:lnTo>
                    <a:lnTo>
                      <a:pt x="3158" y="2580"/>
                    </a:lnTo>
                    <a:lnTo>
                      <a:pt x="3158" y="2578"/>
                    </a:lnTo>
                    <a:lnTo>
                      <a:pt x="3160" y="2576"/>
                    </a:lnTo>
                    <a:lnTo>
                      <a:pt x="3164" y="2574"/>
                    </a:lnTo>
                    <a:lnTo>
                      <a:pt x="3170" y="2568"/>
                    </a:lnTo>
                    <a:lnTo>
                      <a:pt x="3172" y="2564"/>
                    </a:lnTo>
                    <a:lnTo>
                      <a:pt x="3172" y="2560"/>
                    </a:lnTo>
                    <a:lnTo>
                      <a:pt x="3172" y="2560"/>
                    </a:lnTo>
                    <a:lnTo>
                      <a:pt x="3170" y="2556"/>
                    </a:lnTo>
                    <a:lnTo>
                      <a:pt x="3168" y="2556"/>
                    </a:lnTo>
                    <a:lnTo>
                      <a:pt x="3164" y="2558"/>
                    </a:lnTo>
                    <a:lnTo>
                      <a:pt x="3160" y="2562"/>
                    </a:lnTo>
                    <a:lnTo>
                      <a:pt x="3158" y="2562"/>
                    </a:lnTo>
                    <a:lnTo>
                      <a:pt x="3156" y="2562"/>
                    </a:lnTo>
                    <a:lnTo>
                      <a:pt x="3156" y="2562"/>
                    </a:lnTo>
                    <a:lnTo>
                      <a:pt x="3154" y="2560"/>
                    </a:lnTo>
                    <a:lnTo>
                      <a:pt x="3154" y="2558"/>
                    </a:lnTo>
                    <a:lnTo>
                      <a:pt x="3156" y="2556"/>
                    </a:lnTo>
                    <a:lnTo>
                      <a:pt x="3158" y="2552"/>
                    </a:lnTo>
                    <a:lnTo>
                      <a:pt x="3154" y="2550"/>
                    </a:lnTo>
                    <a:lnTo>
                      <a:pt x="3154" y="2550"/>
                    </a:lnTo>
                    <a:lnTo>
                      <a:pt x="3148" y="2550"/>
                    </a:lnTo>
                    <a:lnTo>
                      <a:pt x="3144" y="2554"/>
                    </a:lnTo>
                    <a:lnTo>
                      <a:pt x="3142" y="2556"/>
                    </a:lnTo>
                    <a:lnTo>
                      <a:pt x="3134" y="2554"/>
                    </a:lnTo>
                    <a:lnTo>
                      <a:pt x="3134" y="2554"/>
                    </a:lnTo>
                    <a:lnTo>
                      <a:pt x="3130" y="2550"/>
                    </a:lnTo>
                    <a:lnTo>
                      <a:pt x="3128" y="2548"/>
                    </a:lnTo>
                    <a:lnTo>
                      <a:pt x="3128" y="2544"/>
                    </a:lnTo>
                    <a:lnTo>
                      <a:pt x="3130" y="2540"/>
                    </a:lnTo>
                    <a:lnTo>
                      <a:pt x="3132" y="2538"/>
                    </a:lnTo>
                    <a:lnTo>
                      <a:pt x="3136" y="2536"/>
                    </a:lnTo>
                    <a:lnTo>
                      <a:pt x="3142" y="2536"/>
                    </a:lnTo>
                    <a:lnTo>
                      <a:pt x="3148" y="2538"/>
                    </a:lnTo>
                    <a:lnTo>
                      <a:pt x="3148" y="2538"/>
                    </a:lnTo>
                    <a:lnTo>
                      <a:pt x="3156" y="2544"/>
                    </a:lnTo>
                    <a:lnTo>
                      <a:pt x="3164" y="2546"/>
                    </a:lnTo>
                    <a:lnTo>
                      <a:pt x="3170" y="2544"/>
                    </a:lnTo>
                    <a:lnTo>
                      <a:pt x="3178" y="2538"/>
                    </a:lnTo>
                    <a:lnTo>
                      <a:pt x="3178" y="2538"/>
                    </a:lnTo>
                    <a:lnTo>
                      <a:pt x="3182" y="2536"/>
                    </a:lnTo>
                    <a:lnTo>
                      <a:pt x="3190" y="2536"/>
                    </a:lnTo>
                    <a:lnTo>
                      <a:pt x="3202" y="2536"/>
                    </a:lnTo>
                    <a:lnTo>
                      <a:pt x="3214" y="2538"/>
                    </a:lnTo>
                    <a:lnTo>
                      <a:pt x="3218" y="2538"/>
                    </a:lnTo>
                    <a:lnTo>
                      <a:pt x="3220" y="2536"/>
                    </a:lnTo>
                    <a:lnTo>
                      <a:pt x="3220" y="2536"/>
                    </a:lnTo>
                    <a:lnTo>
                      <a:pt x="3222" y="2522"/>
                    </a:lnTo>
                    <a:lnTo>
                      <a:pt x="3224" y="2520"/>
                    </a:lnTo>
                    <a:lnTo>
                      <a:pt x="3226" y="2522"/>
                    </a:lnTo>
                    <a:lnTo>
                      <a:pt x="3232" y="2534"/>
                    </a:lnTo>
                    <a:lnTo>
                      <a:pt x="3232" y="2534"/>
                    </a:lnTo>
                    <a:lnTo>
                      <a:pt x="3232" y="2538"/>
                    </a:lnTo>
                    <a:lnTo>
                      <a:pt x="3230" y="2540"/>
                    </a:lnTo>
                    <a:lnTo>
                      <a:pt x="3226" y="2544"/>
                    </a:lnTo>
                    <a:lnTo>
                      <a:pt x="3224" y="2546"/>
                    </a:lnTo>
                    <a:lnTo>
                      <a:pt x="3234" y="2544"/>
                    </a:lnTo>
                    <a:lnTo>
                      <a:pt x="3234" y="2544"/>
                    </a:lnTo>
                    <a:lnTo>
                      <a:pt x="3268" y="2536"/>
                    </a:lnTo>
                    <a:lnTo>
                      <a:pt x="3282" y="2536"/>
                    </a:lnTo>
                    <a:lnTo>
                      <a:pt x="3296" y="2538"/>
                    </a:lnTo>
                    <a:lnTo>
                      <a:pt x="3296" y="2538"/>
                    </a:lnTo>
                    <a:lnTo>
                      <a:pt x="3312" y="2544"/>
                    </a:lnTo>
                    <a:lnTo>
                      <a:pt x="3318" y="2546"/>
                    </a:lnTo>
                    <a:lnTo>
                      <a:pt x="3320" y="2552"/>
                    </a:lnTo>
                    <a:lnTo>
                      <a:pt x="3320" y="2552"/>
                    </a:lnTo>
                    <a:lnTo>
                      <a:pt x="3324" y="2556"/>
                    </a:lnTo>
                    <a:lnTo>
                      <a:pt x="3326" y="2556"/>
                    </a:lnTo>
                    <a:lnTo>
                      <a:pt x="3330" y="2560"/>
                    </a:lnTo>
                    <a:lnTo>
                      <a:pt x="3330" y="2566"/>
                    </a:lnTo>
                    <a:lnTo>
                      <a:pt x="3330" y="2566"/>
                    </a:lnTo>
                    <a:lnTo>
                      <a:pt x="3332" y="2570"/>
                    </a:lnTo>
                    <a:lnTo>
                      <a:pt x="3336" y="2572"/>
                    </a:lnTo>
                    <a:lnTo>
                      <a:pt x="3340" y="2570"/>
                    </a:lnTo>
                    <a:lnTo>
                      <a:pt x="3346" y="2570"/>
                    </a:lnTo>
                    <a:lnTo>
                      <a:pt x="3360" y="2564"/>
                    </a:lnTo>
                    <a:lnTo>
                      <a:pt x="3368" y="2562"/>
                    </a:lnTo>
                    <a:lnTo>
                      <a:pt x="3368" y="2562"/>
                    </a:lnTo>
                    <a:lnTo>
                      <a:pt x="3370" y="2560"/>
                    </a:lnTo>
                    <a:lnTo>
                      <a:pt x="3372" y="2560"/>
                    </a:lnTo>
                    <a:lnTo>
                      <a:pt x="3372" y="2556"/>
                    </a:lnTo>
                    <a:lnTo>
                      <a:pt x="3376" y="2552"/>
                    </a:lnTo>
                    <a:lnTo>
                      <a:pt x="3382" y="2552"/>
                    </a:lnTo>
                    <a:lnTo>
                      <a:pt x="3382" y="2552"/>
                    </a:lnTo>
                    <a:lnTo>
                      <a:pt x="3388" y="2554"/>
                    </a:lnTo>
                    <a:lnTo>
                      <a:pt x="3394" y="2558"/>
                    </a:lnTo>
                    <a:lnTo>
                      <a:pt x="3406" y="2574"/>
                    </a:lnTo>
                    <a:lnTo>
                      <a:pt x="3418" y="2592"/>
                    </a:lnTo>
                    <a:lnTo>
                      <a:pt x="3424" y="2596"/>
                    </a:lnTo>
                    <a:lnTo>
                      <a:pt x="3428" y="2598"/>
                    </a:lnTo>
                    <a:lnTo>
                      <a:pt x="3428" y="2598"/>
                    </a:lnTo>
                    <a:lnTo>
                      <a:pt x="3432" y="2600"/>
                    </a:lnTo>
                    <a:lnTo>
                      <a:pt x="3434" y="2604"/>
                    </a:lnTo>
                    <a:lnTo>
                      <a:pt x="3438" y="2616"/>
                    </a:lnTo>
                    <a:lnTo>
                      <a:pt x="3440" y="2630"/>
                    </a:lnTo>
                    <a:lnTo>
                      <a:pt x="3436" y="2646"/>
                    </a:lnTo>
                    <a:lnTo>
                      <a:pt x="3436" y="2646"/>
                    </a:lnTo>
                    <a:lnTo>
                      <a:pt x="3434" y="2658"/>
                    </a:lnTo>
                    <a:lnTo>
                      <a:pt x="3434" y="2670"/>
                    </a:lnTo>
                    <a:lnTo>
                      <a:pt x="3436" y="2676"/>
                    </a:lnTo>
                    <a:lnTo>
                      <a:pt x="3438" y="2678"/>
                    </a:lnTo>
                    <a:lnTo>
                      <a:pt x="3440" y="2676"/>
                    </a:lnTo>
                    <a:lnTo>
                      <a:pt x="3440" y="2676"/>
                    </a:lnTo>
                    <a:lnTo>
                      <a:pt x="3446" y="2672"/>
                    </a:lnTo>
                    <a:lnTo>
                      <a:pt x="3450" y="2670"/>
                    </a:lnTo>
                    <a:lnTo>
                      <a:pt x="3450" y="2670"/>
                    </a:lnTo>
                    <a:lnTo>
                      <a:pt x="3452" y="2672"/>
                    </a:lnTo>
                    <a:lnTo>
                      <a:pt x="3448" y="2678"/>
                    </a:lnTo>
                    <a:lnTo>
                      <a:pt x="3448" y="2678"/>
                    </a:lnTo>
                    <a:lnTo>
                      <a:pt x="3444" y="2682"/>
                    </a:lnTo>
                    <a:lnTo>
                      <a:pt x="3444" y="2688"/>
                    </a:lnTo>
                    <a:lnTo>
                      <a:pt x="3446" y="2698"/>
                    </a:lnTo>
                    <a:lnTo>
                      <a:pt x="3450" y="2710"/>
                    </a:lnTo>
                    <a:lnTo>
                      <a:pt x="3456" y="2718"/>
                    </a:lnTo>
                    <a:lnTo>
                      <a:pt x="3456" y="2718"/>
                    </a:lnTo>
                    <a:lnTo>
                      <a:pt x="3458" y="2720"/>
                    </a:lnTo>
                    <a:lnTo>
                      <a:pt x="3460" y="2720"/>
                    </a:lnTo>
                    <a:lnTo>
                      <a:pt x="3462" y="2720"/>
                    </a:lnTo>
                    <a:lnTo>
                      <a:pt x="3462" y="2718"/>
                    </a:lnTo>
                    <a:lnTo>
                      <a:pt x="3462" y="2720"/>
                    </a:lnTo>
                    <a:lnTo>
                      <a:pt x="3464" y="2726"/>
                    </a:lnTo>
                    <a:lnTo>
                      <a:pt x="3464" y="2726"/>
                    </a:lnTo>
                    <a:lnTo>
                      <a:pt x="3466" y="2734"/>
                    </a:lnTo>
                    <a:lnTo>
                      <a:pt x="3470" y="2738"/>
                    </a:lnTo>
                    <a:lnTo>
                      <a:pt x="3474" y="2742"/>
                    </a:lnTo>
                    <a:lnTo>
                      <a:pt x="3476" y="2754"/>
                    </a:lnTo>
                    <a:lnTo>
                      <a:pt x="3476" y="2754"/>
                    </a:lnTo>
                    <a:lnTo>
                      <a:pt x="3478" y="2760"/>
                    </a:lnTo>
                    <a:lnTo>
                      <a:pt x="3480" y="2764"/>
                    </a:lnTo>
                    <a:lnTo>
                      <a:pt x="3484" y="2768"/>
                    </a:lnTo>
                    <a:lnTo>
                      <a:pt x="3486" y="2768"/>
                    </a:lnTo>
                    <a:lnTo>
                      <a:pt x="3492" y="2772"/>
                    </a:lnTo>
                    <a:lnTo>
                      <a:pt x="3496" y="2776"/>
                    </a:lnTo>
                    <a:lnTo>
                      <a:pt x="3498" y="2782"/>
                    </a:lnTo>
                    <a:lnTo>
                      <a:pt x="3498" y="2782"/>
                    </a:lnTo>
                    <a:lnTo>
                      <a:pt x="3500" y="2792"/>
                    </a:lnTo>
                    <a:lnTo>
                      <a:pt x="3504" y="2796"/>
                    </a:lnTo>
                    <a:lnTo>
                      <a:pt x="3506" y="2796"/>
                    </a:lnTo>
                    <a:lnTo>
                      <a:pt x="3504" y="2798"/>
                    </a:lnTo>
                    <a:lnTo>
                      <a:pt x="3504" y="2798"/>
                    </a:lnTo>
                    <a:lnTo>
                      <a:pt x="3502" y="2804"/>
                    </a:lnTo>
                    <a:lnTo>
                      <a:pt x="3504" y="2808"/>
                    </a:lnTo>
                    <a:lnTo>
                      <a:pt x="3508" y="2808"/>
                    </a:lnTo>
                    <a:lnTo>
                      <a:pt x="3518" y="2806"/>
                    </a:lnTo>
                    <a:lnTo>
                      <a:pt x="3518" y="2806"/>
                    </a:lnTo>
                    <a:lnTo>
                      <a:pt x="3522" y="2806"/>
                    </a:lnTo>
                    <a:lnTo>
                      <a:pt x="3524" y="2806"/>
                    </a:lnTo>
                    <a:lnTo>
                      <a:pt x="3526" y="2810"/>
                    </a:lnTo>
                    <a:lnTo>
                      <a:pt x="3526" y="2810"/>
                    </a:lnTo>
                    <a:lnTo>
                      <a:pt x="3530" y="2804"/>
                    </a:lnTo>
                    <a:lnTo>
                      <a:pt x="3530" y="2804"/>
                    </a:lnTo>
                    <a:lnTo>
                      <a:pt x="3534" y="2796"/>
                    </a:lnTo>
                    <a:lnTo>
                      <a:pt x="3536" y="2790"/>
                    </a:lnTo>
                    <a:lnTo>
                      <a:pt x="3536" y="2786"/>
                    </a:lnTo>
                    <a:lnTo>
                      <a:pt x="3540" y="2778"/>
                    </a:lnTo>
                    <a:lnTo>
                      <a:pt x="3540" y="2778"/>
                    </a:lnTo>
                    <a:lnTo>
                      <a:pt x="3544" y="2768"/>
                    </a:lnTo>
                    <a:lnTo>
                      <a:pt x="3544" y="2758"/>
                    </a:lnTo>
                    <a:lnTo>
                      <a:pt x="3544" y="2746"/>
                    </a:lnTo>
                    <a:lnTo>
                      <a:pt x="3546" y="2732"/>
                    </a:lnTo>
                    <a:lnTo>
                      <a:pt x="3546" y="2732"/>
                    </a:lnTo>
                    <a:lnTo>
                      <a:pt x="3546" y="2722"/>
                    </a:lnTo>
                    <a:lnTo>
                      <a:pt x="3544" y="2712"/>
                    </a:lnTo>
                    <a:lnTo>
                      <a:pt x="3536" y="2686"/>
                    </a:lnTo>
                    <a:lnTo>
                      <a:pt x="3526" y="2662"/>
                    </a:lnTo>
                    <a:lnTo>
                      <a:pt x="3526" y="2650"/>
                    </a:lnTo>
                    <a:lnTo>
                      <a:pt x="3526" y="2642"/>
                    </a:lnTo>
                    <a:lnTo>
                      <a:pt x="3526" y="2642"/>
                    </a:lnTo>
                    <a:lnTo>
                      <a:pt x="3526" y="2636"/>
                    </a:lnTo>
                    <a:lnTo>
                      <a:pt x="3524" y="2630"/>
                    </a:lnTo>
                    <a:lnTo>
                      <a:pt x="3514" y="2610"/>
                    </a:lnTo>
                    <a:lnTo>
                      <a:pt x="3506" y="2598"/>
                    </a:lnTo>
                    <a:lnTo>
                      <a:pt x="3500" y="2582"/>
                    </a:lnTo>
                    <a:lnTo>
                      <a:pt x="3496" y="2564"/>
                    </a:lnTo>
                    <a:lnTo>
                      <a:pt x="3492" y="2542"/>
                    </a:lnTo>
                    <a:lnTo>
                      <a:pt x="3492" y="2542"/>
                    </a:lnTo>
                    <a:lnTo>
                      <a:pt x="3490" y="2520"/>
                    </a:lnTo>
                    <a:lnTo>
                      <a:pt x="3492" y="2500"/>
                    </a:lnTo>
                    <a:lnTo>
                      <a:pt x="3496" y="2484"/>
                    </a:lnTo>
                    <a:lnTo>
                      <a:pt x="3502" y="2470"/>
                    </a:lnTo>
                    <a:lnTo>
                      <a:pt x="3508" y="2458"/>
                    </a:lnTo>
                    <a:lnTo>
                      <a:pt x="3514" y="2448"/>
                    </a:lnTo>
                    <a:lnTo>
                      <a:pt x="3524" y="2438"/>
                    </a:lnTo>
                    <a:lnTo>
                      <a:pt x="3524" y="2438"/>
                    </a:lnTo>
                    <a:lnTo>
                      <a:pt x="3528" y="2434"/>
                    </a:lnTo>
                    <a:lnTo>
                      <a:pt x="3528" y="2432"/>
                    </a:lnTo>
                    <a:lnTo>
                      <a:pt x="3528" y="2428"/>
                    </a:lnTo>
                    <a:lnTo>
                      <a:pt x="3528" y="2426"/>
                    </a:lnTo>
                    <a:lnTo>
                      <a:pt x="3528" y="2426"/>
                    </a:lnTo>
                    <a:lnTo>
                      <a:pt x="3536" y="2424"/>
                    </a:lnTo>
                    <a:lnTo>
                      <a:pt x="3536" y="2424"/>
                    </a:lnTo>
                    <a:lnTo>
                      <a:pt x="3542" y="2424"/>
                    </a:lnTo>
                    <a:lnTo>
                      <a:pt x="3548" y="2420"/>
                    </a:lnTo>
                    <a:lnTo>
                      <a:pt x="3556" y="2412"/>
                    </a:lnTo>
                    <a:lnTo>
                      <a:pt x="3564" y="2402"/>
                    </a:lnTo>
                    <a:lnTo>
                      <a:pt x="3568" y="2400"/>
                    </a:lnTo>
                    <a:lnTo>
                      <a:pt x="3570" y="2398"/>
                    </a:lnTo>
                    <a:lnTo>
                      <a:pt x="3570" y="2398"/>
                    </a:lnTo>
                    <a:lnTo>
                      <a:pt x="3574" y="2398"/>
                    </a:lnTo>
                    <a:lnTo>
                      <a:pt x="3576" y="2394"/>
                    </a:lnTo>
                    <a:lnTo>
                      <a:pt x="3580" y="2384"/>
                    </a:lnTo>
                    <a:lnTo>
                      <a:pt x="3588" y="2370"/>
                    </a:lnTo>
                    <a:lnTo>
                      <a:pt x="3592" y="2362"/>
                    </a:lnTo>
                    <a:lnTo>
                      <a:pt x="3600" y="2356"/>
                    </a:lnTo>
                    <a:lnTo>
                      <a:pt x="3600" y="2356"/>
                    </a:lnTo>
                    <a:lnTo>
                      <a:pt x="3606" y="2352"/>
                    </a:lnTo>
                    <a:lnTo>
                      <a:pt x="3612" y="2350"/>
                    </a:lnTo>
                    <a:lnTo>
                      <a:pt x="3624" y="2350"/>
                    </a:lnTo>
                    <a:lnTo>
                      <a:pt x="3628" y="2350"/>
                    </a:lnTo>
                    <a:lnTo>
                      <a:pt x="3630" y="2350"/>
                    </a:lnTo>
                    <a:lnTo>
                      <a:pt x="3634" y="2346"/>
                    </a:lnTo>
                    <a:lnTo>
                      <a:pt x="3636" y="2342"/>
                    </a:lnTo>
                    <a:lnTo>
                      <a:pt x="3636" y="2342"/>
                    </a:lnTo>
                    <a:lnTo>
                      <a:pt x="3638" y="2334"/>
                    </a:lnTo>
                    <a:lnTo>
                      <a:pt x="3642" y="2328"/>
                    </a:lnTo>
                    <a:lnTo>
                      <a:pt x="3654" y="2318"/>
                    </a:lnTo>
                    <a:lnTo>
                      <a:pt x="3666" y="2310"/>
                    </a:lnTo>
                    <a:lnTo>
                      <a:pt x="3680" y="2306"/>
                    </a:lnTo>
                    <a:lnTo>
                      <a:pt x="3680" y="2306"/>
                    </a:lnTo>
                    <a:lnTo>
                      <a:pt x="3690" y="2304"/>
                    </a:lnTo>
                    <a:lnTo>
                      <a:pt x="3696" y="2300"/>
                    </a:lnTo>
                    <a:lnTo>
                      <a:pt x="3698" y="2294"/>
                    </a:lnTo>
                    <a:lnTo>
                      <a:pt x="3698" y="2292"/>
                    </a:lnTo>
                    <a:lnTo>
                      <a:pt x="3696" y="2290"/>
                    </a:lnTo>
                    <a:lnTo>
                      <a:pt x="3696" y="2290"/>
                    </a:lnTo>
                    <a:lnTo>
                      <a:pt x="3694" y="2290"/>
                    </a:lnTo>
                    <a:lnTo>
                      <a:pt x="3690" y="2290"/>
                    </a:lnTo>
                    <a:lnTo>
                      <a:pt x="3686" y="2294"/>
                    </a:lnTo>
                    <a:lnTo>
                      <a:pt x="3680" y="2296"/>
                    </a:lnTo>
                    <a:lnTo>
                      <a:pt x="3676" y="2298"/>
                    </a:lnTo>
                    <a:lnTo>
                      <a:pt x="3674" y="2296"/>
                    </a:lnTo>
                    <a:lnTo>
                      <a:pt x="3674" y="2296"/>
                    </a:lnTo>
                    <a:lnTo>
                      <a:pt x="3672" y="2294"/>
                    </a:lnTo>
                    <a:lnTo>
                      <a:pt x="3674" y="2292"/>
                    </a:lnTo>
                    <a:lnTo>
                      <a:pt x="3680" y="2290"/>
                    </a:lnTo>
                    <a:lnTo>
                      <a:pt x="3682" y="2288"/>
                    </a:lnTo>
                    <a:lnTo>
                      <a:pt x="3684" y="2286"/>
                    </a:lnTo>
                    <a:lnTo>
                      <a:pt x="3684" y="2286"/>
                    </a:lnTo>
                    <a:lnTo>
                      <a:pt x="3686" y="2282"/>
                    </a:lnTo>
                    <a:lnTo>
                      <a:pt x="3684" y="2278"/>
                    </a:lnTo>
                    <a:lnTo>
                      <a:pt x="3678" y="2272"/>
                    </a:lnTo>
                    <a:lnTo>
                      <a:pt x="3676" y="2268"/>
                    </a:lnTo>
                    <a:lnTo>
                      <a:pt x="3682" y="2268"/>
                    </a:lnTo>
                    <a:lnTo>
                      <a:pt x="3682" y="2268"/>
                    </a:lnTo>
                    <a:lnTo>
                      <a:pt x="3692" y="2272"/>
                    </a:lnTo>
                    <a:lnTo>
                      <a:pt x="3696" y="2274"/>
                    </a:lnTo>
                    <a:lnTo>
                      <a:pt x="3698" y="2276"/>
                    </a:lnTo>
                    <a:lnTo>
                      <a:pt x="3700" y="2274"/>
                    </a:lnTo>
                    <a:lnTo>
                      <a:pt x="3706" y="2270"/>
                    </a:lnTo>
                    <a:lnTo>
                      <a:pt x="3706" y="2270"/>
                    </a:lnTo>
                    <a:lnTo>
                      <a:pt x="3710" y="2264"/>
                    </a:lnTo>
                    <a:lnTo>
                      <a:pt x="3714" y="2262"/>
                    </a:lnTo>
                    <a:lnTo>
                      <a:pt x="3716" y="2260"/>
                    </a:lnTo>
                    <a:lnTo>
                      <a:pt x="3718" y="2254"/>
                    </a:lnTo>
                    <a:lnTo>
                      <a:pt x="3718" y="2254"/>
                    </a:lnTo>
                    <a:lnTo>
                      <a:pt x="3720" y="2246"/>
                    </a:lnTo>
                    <a:lnTo>
                      <a:pt x="3718" y="2242"/>
                    </a:lnTo>
                    <a:lnTo>
                      <a:pt x="3714" y="2240"/>
                    </a:lnTo>
                    <a:lnTo>
                      <a:pt x="3710" y="2244"/>
                    </a:lnTo>
                    <a:lnTo>
                      <a:pt x="3710" y="2244"/>
                    </a:lnTo>
                    <a:lnTo>
                      <a:pt x="3708" y="2244"/>
                    </a:lnTo>
                    <a:lnTo>
                      <a:pt x="3708" y="2242"/>
                    </a:lnTo>
                    <a:lnTo>
                      <a:pt x="3704" y="2240"/>
                    </a:lnTo>
                    <a:lnTo>
                      <a:pt x="3694" y="2240"/>
                    </a:lnTo>
                    <a:lnTo>
                      <a:pt x="3694" y="2240"/>
                    </a:lnTo>
                    <a:lnTo>
                      <a:pt x="3684" y="2242"/>
                    </a:lnTo>
                    <a:lnTo>
                      <a:pt x="3678" y="2240"/>
                    </a:lnTo>
                    <a:lnTo>
                      <a:pt x="3678" y="2236"/>
                    </a:lnTo>
                    <a:lnTo>
                      <a:pt x="3678" y="2230"/>
                    </a:lnTo>
                    <a:lnTo>
                      <a:pt x="3678" y="2230"/>
                    </a:lnTo>
                    <a:lnTo>
                      <a:pt x="3678" y="2228"/>
                    </a:lnTo>
                    <a:lnTo>
                      <a:pt x="3678" y="2228"/>
                    </a:lnTo>
                    <a:lnTo>
                      <a:pt x="3680" y="2232"/>
                    </a:lnTo>
                    <a:lnTo>
                      <a:pt x="3684" y="2236"/>
                    </a:lnTo>
                    <a:lnTo>
                      <a:pt x="3686" y="2236"/>
                    </a:lnTo>
                    <a:lnTo>
                      <a:pt x="3690" y="2236"/>
                    </a:lnTo>
                    <a:lnTo>
                      <a:pt x="3696" y="2234"/>
                    </a:lnTo>
                    <a:lnTo>
                      <a:pt x="3696" y="2234"/>
                    </a:lnTo>
                    <a:lnTo>
                      <a:pt x="3704" y="2230"/>
                    </a:lnTo>
                    <a:lnTo>
                      <a:pt x="3708" y="2230"/>
                    </a:lnTo>
                    <a:lnTo>
                      <a:pt x="3714" y="2232"/>
                    </a:lnTo>
                    <a:lnTo>
                      <a:pt x="3718" y="2236"/>
                    </a:lnTo>
                    <a:lnTo>
                      <a:pt x="3724" y="2244"/>
                    </a:lnTo>
                    <a:lnTo>
                      <a:pt x="3726" y="2248"/>
                    </a:lnTo>
                    <a:lnTo>
                      <a:pt x="3728" y="2248"/>
                    </a:lnTo>
                    <a:lnTo>
                      <a:pt x="3728" y="2248"/>
                    </a:lnTo>
                    <a:lnTo>
                      <a:pt x="3728" y="2246"/>
                    </a:lnTo>
                    <a:lnTo>
                      <a:pt x="3728" y="2244"/>
                    </a:lnTo>
                    <a:lnTo>
                      <a:pt x="3724" y="2236"/>
                    </a:lnTo>
                    <a:lnTo>
                      <a:pt x="3718" y="2222"/>
                    </a:lnTo>
                    <a:lnTo>
                      <a:pt x="3712" y="2198"/>
                    </a:lnTo>
                    <a:lnTo>
                      <a:pt x="3712" y="2198"/>
                    </a:lnTo>
                    <a:lnTo>
                      <a:pt x="3708" y="2188"/>
                    </a:lnTo>
                    <a:lnTo>
                      <a:pt x="3706" y="2186"/>
                    </a:lnTo>
                    <a:lnTo>
                      <a:pt x="3704" y="2186"/>
                    </a:lnTo>
                    <a:lnTo>
                      <a:pt x="3700" y="2188"/>
                    </a:lnTo>
                    <a:lnTo>
                      <a:pt x="3694" y="2190"/>
                    </a:lnTo>
                    <a:lnTo>
                      <a:pt x="3694" y="2190"/>
                    </a:lnTo>
                    <a:lnTo>
                      <a:pt x="3692" y="2190"/>
                    </a:lnTo>
                    <a:lnTo>
                      <a:pt x="3692" y="2190"/>
                    </a:lnTo>
                    <a:lnTo>
                      <a:pt x="3696" y="2186"/>
                    </a:lnTo>
                    <a:lnTo>
                      <a:pt x="3698" y="2180"/>
                    </a:lnTo>
                    <a:lnTo>
                      <a:pt x="3698" y="2176"/>
                    </a:lnTo>
                    <a:lnTo>
                      <a:pt x="3694" y="2174"/>
                    </a:lnTo>
                    <a:lnTo>
                      <a:pt x="3694" y="2174"/>
                    </a:lnTo>
                    <a:lnTo>
                      <a:pt x="3690" y="2170"/>
                    </a:lnTo>
                    <a:lnTo>
                      <a:pt x="3692" y="2170"/>
                    </a:lnTo>
                    <a:lnTo>
                      <a:pt x="3696" y="2168"/>
                    </a:lnTo>
                    <a:lnTo>
                      <a:pt x="3698" y="2166"/>
                    </a:lnTo>
                    <a:lnTo>
                      <a:pt x="3698" y="2162"/>
                    </a:lnTo>
                    <a:lnTo>
                      <a:pt x="3698" y="2156"/>
                    </a:lnTo>
                    <a:lnTo>
                      <a:pt x="3698" y="2156"/>
                    </a:lnTo>
                    <a:lnTo>
                      <a:pt x="3696" y="2144"/>
                    </a:lnTo>
                    <a:lnTo>
                      <a:pt x="3696" y="2140"/>
                    </a:lnTo>
                    <a:lnTo>
                      <a:pt x="3696" y="2136"/>
                    </a:lnTo>
                    <a:lnTo>
                      <a:pt x="3690" y="2130"/>
                    </a:lnTo>
                    <a:lnTo>
                      <a:pt x="3690" y="2130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86" y="2122"/>
                    </a:lnTo>
                    <a:lnTo>
                      <a:pt x="3686" y="2122"/>
                    </a:lnTo>
                    <a:lnTo>
                      <a:pt x="3694" y="2126"/>
                    </a:lnTo>
                    <a:lnTo>
                      <a:pt x="3696" y="2124"/>
                    </a:lnTo>
                    <a:lnTo>
                      <a:pt x="3696" y="2124"/>
                    </a:lnTo>
                    <a:lnTo>
                      <a:pt x="3692" y="2108"/>
                    </a:lnTo>
                    <a:lnTo>
                      <a:pt x="3692" y="2108"/>
                    </a:lnTo>
                    <a:lnTo>
                      <a:pt x="3688" y="2092"/>
                    </a:lnTo>
                    <a:lnTo>
                      <a:pt x="3690" y="2076"/>
                    </a:lnTo>
                    <a:lnTo>
                      <a:pt x="3690" y="2076"/>
                    </a:lnTo>
                    <a:lnTo>
                      <a:pt x="3692" y="2064"/>
                    </a:lnTo>
                    <a:lnTo>
                      <a:pt x="3696" y="2058"/>
                    </a:lnTo>
                    <a:lnTo>
                      <a:pt x="3702" y="2054"/>
                    </a:lnTo>
                    <a:lnTo>
                      <a:pt x="3702" y="2054"/>
                    </a:lnTo>
                    <a:lnTo>
                      <a:pt x="3704" y="2050"/>
                    </a:lnTo>
                    <a:lnTo>
                      <a:pt x="3704" y="2052"/>
                    </a:lnTo>
                    <a:lnTo>
                      <a:pt x="3700" y="2058"/>
                    </a:lnTo>
                    <a:lnTo>
                      <a:pt x="3698" y="2064"/>
                    </a:lnTo>
                    <a:lnTo>
                      <a:pt x="3698" y="2064"/>
                    </a:lnTo>
                    <a:lnTo>
                      <a:pt x="3694" y="2076"/>
                    </a:lnTo>
                    <a:lnTo>
                      <a:pt x="3694" y="2082"/>
                    </a:lnTo>
                    <a:lnTo>
                      <a:pt x="3696" y="2086"/>
                    </a:lnTo>
                    <a:lnTo>
                      <a:pt x="3696" y="2086"/>
                    </a:lnTo>
                    <a:lnTo>
                      <a:pt x="3696" y="2088"/>
                    </a:lnTo>
                    <a:lnTo>
                      <a:pt x="3696" y="2090"/>
                    </a:lnTo>
                    <a:lnTo>
                      <a:pt x="3694" y="2094"/>
                    </a:lnTo>
                    <a:lnTo>
                      <a:pt x="3696" y="2098"/>
                    </a:lnTo>
                    <a:lnTo>
                      <a:pt x="3696" y="2098"/>
                    </a:lnTo>
                    <a:lnTo>
                      <a:pt x="3698" y="2104"/>
                    </a:lnTo>
                    <a:lnTo>
                      <a:pt x="3696" y="2106"/>
                    </a:lnTo>
                    <a:lnTo>
                      <a:pt x="3696" y="2110"/>
                    </a:lnTo>
                    <a:lnTo>
                      <a:pt x="3700" y="2114"/>
                    </a:lnTo>
                    <a:lnTo>
                      <a:pt x="3700" y="2114"/>
                    </a:lnTo>
                    <a:lnTo>
                      <a:pt x="3706" y="2116"/>
                    </a:lnTo>
                    <a:lnTo>
                      <a:pt x="3708" y="2116"/>
                    </a:lnTo>
                    <a:lnTo>
                      <a:pt x="3710" y="2116"/>
                    </a:lnTo>
                    <a:lnTo>
                      <a:pt x="3712" y="2120"/>
                    </a:lnTo>
                    <a:lnTo>
                      <a:pt x="3712" y="2120"/>
                    </a:lnTo>
                    <a:lnTo>
                      <a:pt x="3712" y="2126"/>
                    </a:lnTo>
                    <a:lnTo>
                      <a:pt x="3712" y="2130"/>
                    </a:lnTo>
                    <a:lnTo>
                      <a:pt x="3712" y="2134"/>
                    </a:lnTo>
                    <a:lnTo>
                      <a:pt x="3716" y="2136"/>
                    </a:lnTo>
                    <a:lnTo>
                      <a:pt x="3716" y="2136"/>
                    </a:lnTo>
                    <a:lnTo>
                      <a:pt x="3718" y="2138"/>
                    </a:lnTo>
                    <a:lnTo>
                      <a:pt x="3716" y="2142"/>
                    </a:lnTo>
                    <a:lnTo>
                      <a:pt x="3710" y="2154"/>
                    </a:lnTo>
                    <a:lnTo>
                      <a:pt x="3706" y="2166"/>
                    </a:lnTo>
                    <a:lnTo>
                      <a:pt x="3706" y="2172"/>
                    </a:lnTo>
                    <a:lnTo>
                      <a:pt x="3710" y="2176"/>
                    </a:lnTo>
                    <a:lnTo>
                      <a:pt x="3710" y="2176"/>
                    </a:lnTo>
                    <a:lnTo>
                      <a:pt x="3712" y="2176"/>
                    </a:lnTo>
                    <a:lnTo>
                      <a:pt x="3714" y="2172"/>
                    </a:lnTo>
                    <a:lnTo>
                      <a:pt x="3720" y="2158"/>
                    </a:lnTo>
                    <a:lnTo>
                      <a:pt x="3728" y="2138"/>
                    </a:lnTo>
                    <a:lnTo>
                      <a:pt x="3738" y="2122"/>
                    </a:lnTo>
                    <a:lnTo>
                      <a:pt x="3738" y="2122"/>
                    </a:lnTo>
                    <a:lnTo>
                      <a:pt x="3744" y="2114"/>
                    </a:lnTo>
                    <a:lnTo>
                      <a:pt x="3746" y="2108"/>
                    </a:lnTo>
                    <a:lnTo>
                      <a:pt x="3748" y="2102"/>
                    </a:lnTo>
                    <a:lnTo>
                      <a:pt x="3748" y="2096"/>
                    </a:lnTo>
                    <a:lnTo>
                      <a:pt x="3748" y="2092"/>
                    </a:lnTo>
                    <a:lnTo>
                      <a:pt x="3746" y="2088"/>
                    </a:lnTo>
                    <a:lnTo>
                      <a:pt x="3744" y="2086"/>
                    </a:lnTo>
                    <a:lnTo>
                      <a:pt x="3740" y="2086"/>
                    </a:lnTo>
                    <a:lnTo>
                      <a:pt x="3740" y="2086"/>
                    </a:lnTo>
                    <a:lnTo>
                      <a:pt x="3738" y="2084"/>
                    </a:lnTo>
                    <a:lnTo>
                      <a:pt x="3736" y="2082"/>
                    </a:lnTo>
                    <a:lnTo>
                      <a:pt x="3732" y="2074"/>
                    </a:lnTo>
                    <a:lnTo>
                      <a:pt x="3726" y="2054"/>
                    </a:lnTo>
                    <a:lnTo>
                      <a:pt x="3726" y="2054"/>
                    </a:lnTo>
                    <a:lnTo>
                      <a:pt x="3724" y="2044"/>
                    </a:lnTo>
                    <a:lnTo>
                      <a:pt x="3726" y="2036"/>
                    </a:lnTo>
                    <a:lnTo>
                      <a:pt x="3730" y="2030"/>
                    </a:lnTo>
                    <a:lnTo>
                      <a:pt x="3738" y="2024"/>
                    </a:lnTo>
                    <a:lnTo>
                      <a:pt x="3738" y="2024"/>
                    </a:lnTo>
                    <a:lnTo>
                      <a:pt x="3742" y="2024"/>
                    </a:lnTo>
                    <a:lnTo>
                      <a:pt x="3736" y="2030"/>
                    </a:lnTo>
                    <a:lnTo>
                      <a:pt x="3732" y="2034"/>
                    </a:lnTo>
                    <a:lnTo>
                      <a:pt x="3730" y="2040"/>
                    </a:lnTo>
                    <a:lnTo>
                      <a:pt x="3730" y="2046"/>
                    </a:lnTo>
                    <a:lnTo>
                      <a:pt x="3732" y="2054"/>
                    </a:lnTo>
                    <a:lnTo>
                      <a:pt x="3732" y="2054"/>
                    </a:lnTo>
                    <a:lnTo>
                      <a:pt x="3738" y="2060"/>
                    </a:lnTo>
                    <a:lnTo>
                      <a:pt x="3742" y="2062"/>
                    </a:lnTo>
                    <a:lnTo>
                      <a:pt x="3748" y="2064"/>
                    </a:lnTo>
                    <a:lnTo>
                      <a:pt x="3750" y="2066"/>
                    </a:lnTo>
                    <a:lnTo>
                      <a:pt x="3750" y="2072"/>
                    </a:lnTo>
                    <a:lnTo>
                      <a:pt x="3750" y="2072"/>
                    </a:lnTo>
                    <a:lnTo>
                      <a:pt x="3750" y="2078"/>
                    </a:lnTo>
                    <a:lnTo>
                      <a:pt x="3752" y="2078"/>
                    </a:lnTo>
                    <a:lnTo>
                      <a:pt x="3754" y="2078"/>
                    </a:lnTo>
                    <a:lnTo>
                      <a:pt x="3758" y="2074"/>
                    </a:lnTo>
                    <a:lnTo>
                      <a:pt x="3766" y="2062"/>
                    </a:lnTo>
                    <a:lnTo>
                      <a:pt x="3774" y="2048"/>
                    </a:lnTo>
                    <a:lnTo>
                      <a:pt x="3774" y="2048"/>
                    </a:lnTo>
                    <a:lnTo>
                      <a:pt x="3784" y="2030"/>
                    </a:lnTo>
                    <a:lnTo>
                      <a:pt x="3790" y="2014"/>
                    </a:lnTo>
                    <a:lnTo>
                      <a:pt x="3790" y="2008"/>
                    </a:lnTo>
                    <a:lnTo>
                      <a:pt x="3790" y="2002"/>
                    </a:lnTo>
                    <a:lnTo>
                      <a:pt x="3790" y="2000"/>
                    </a:lnTo>
                    <a:lnTo>
                      <a:pt x="3786" y="1998"/>
                    </a:lnTo>
                    <a:lnTo>
                      <a:pt x="3786" y="1998"/>
                    </a:lnTo>
                    <a:lnTo>
                      <a:pt x="3778" y="1996"/>
                    </a:lnTo>
                    <a:lnTo>
                      <a:pt x="3776" y="1996"/>
                    </a:lnTo>
                    <a:lnTo>
                      <a:pt x="3776" y="1994"/>
                    </a:lnTo>
                    <a:lnTo>
                      <a:pt x="3778" y="1988"/>
                    </a:lnTo>
                    <a:lnTo>
                      <a:pt x="3784" y="1980"/>
                    </a:lnTo>
                    <a:lnTo>
                      <a:pt x="3784" y="1980"/>
                    </a:lnTo>
                    <a:lnTo>
                      <a:pt x="3796" y="1972"/>
                    </a:lnTo>
                    <a:lnTo>
                      <a:pt x="3808" y="1962"/>
                    </a:lnTo>
                    <a:lnTo>
                      <a:pt x="3824" y="1956"/>
                    </a:lnTo>
                    <a:lnTo>
                      <a:pt x="3838" y="1950"/>
                    </a:lnTo>
                    <a:lnTo>
                      <a:pt x="3838" y="1950"/>
                    </a:lnTo>
                    <a:lnTo>
                      <a:pt x="3854" y="1948"/>
                    </a:lnTo>
                    <a:lnTo>
                      <a:pt x="3870" y="1946"/>
                    </a:lnTo>
                    <a:lnTo>
                      <a:pt x="3886" y="1944"/>
                    </a:lnTo>
                    <a:lnTo>
                      <a:pt x="3890" y="1944"/>
                    </a:lnTo>
                    <a:lnTo>
                      <a:pt x="3892" y="1940"/>
                    </a:lnTo>
                    <a:lnTo>
                      <a:pt x="3892" y="1940"/>
                    </a:lnTo>
                    <a:lnTo>
                      <a:pt x="3894" y="1926"/>
                    </a:lnTo>
                    <a:lnTo>
                      <a:pt x="3896" y="1924"/>
                    </a:lnTo>
                    <a:lnTo>
                      <a:pt x="3898" y="1928"/>
                    </a:lnTo>
                    <a:lnTo>
                      <a:pt x="3898" y="1928"/>
                    </a:lnTo>
                    <a:lnTo>
                      <a:pt x="3900" y="1936"/>
                    </a:lnTo>
                    <a:lnTo>
                      <a:pt x="3904" y="1940"/>
                    </a:lnTo>
                    <a:lnTo>
                      <a:pt x="3906" y="1940"/>
                    </a:lnTo>
                    <a:lnTo>
                      <a:pt x="3908" y="1940"/>
                    </a:lnTo>
                    <a:lnTo>
                      <a:pt x="3914" y="1932"/>
                    </a:lnTo>
                    <a:lnTo>
                      <a:pt x="3914" y="1932"/>
                    </a:lnTo>
                    <a:lnTo>
                      <a:pt x="3920" y="1928"/>
                    </a:lnTo>
                    <a:lnTo>
                      <a:pt x="3922" y="1926"/>
                    </a:lnTo>
                    <a:lnTo>
                      <a:pt x="3924" y="1928"/>
                    </a:lnTo>
                    <a:lnTo>
                      <a:pt x="3924" y="1930"/>
                    </a:lnTo>
                    <a:lnTo>
                      <a:pt x="3924" y="1936"/>
                    </a:lnTo>
                    <a:lnTo>
                      <a:pt x="3926" y="1936"/>
                    </a:lnTo>
                    <a:lnTo>
                      <a:pt x="3928" y="1934"/>
                    </a:lnTo>
                    <a:lnTo>
                      <a:pt x="3928" y="1934"/>
                    </a:lnTo>
                    <a:lnTo>
                      <a:pt x="3932" y="1932"/>
                    </a:lnTo>
                    <a:lnTo>
                      <a:pt x="3936" y="1930"/>
                    </a:lnTo>
                    <a:lnTo>
                      <a:pt x="3946" y="1930"/>
                    </a:lnTo>
                    <a:lnTo>
                      <a:pt x="3952" y="1928"/>
                    </a:lnTo>
                    <a:lnTo>
                      <a:pt x="3952" y="1924"/>
                    </a:lnTo>
                    <a:lnTo>
                      <a:pt x="3952" y="1920"/>
                    </a:lnTo>
                    <a:lnTo>
                      <a:pt x="3952" y="1920"/>
                    </a:lnTo>
                    <a:lnTo>
                      <a:pt x="3948" y="1906"/>
                    </a:lnTo>
                    <a:lnTo>
                      <a:pt x="3946" y="1904"/>
                    </a:lnTo>
                    <a:lnTo>
                      <a:pt x="3942" y="1904"/>
                    </a:lnTo>
                    <a:lnTo>
                      <a:pt x="3942" y="1904"/>
                    </a:lnTo>
                    <a:lnTo>
                      <a:pt x="3940" y="1904"/>
                    </a:lnTo>
                    <a:lnTo>
                      <a:pt x="3942" y="1906"/>
                    </a:lnTo>
                    <a:lnTo>
                      <a:pt x="3946" y="1908"/>
                    </a:lnTo>
                    <a:lnTo>
                      <a:pt x="3948" y="1914"/>
                    </a:lnTo>
                    <a:lnTo>
                      <a:pt x="3948" y="1914"/>
                    </a:lnTo>
                    <a:lnTo>
                      <a:pt x="3944" y="1920"/>
                    </a:lnTo>
                    <a:lnTo>
                      <a:pt x="3940" y="1924"/>
                    </a:lnTo>
                    <a:lnTo>
                      <a:pt x="3936" y="1926"/>
                    </a:lnTo>
                    <a:lnTo>
                      <a:pt x="3932" y="1926"/>
                    </a:lnTo>
                    <a:lnTo>
                      <a:pt x="3930" y="1922"/>
                    </a:lnTo>
                    <a:lnTo>
                      <a:pt x="3928" y="1918"/>
                    </a:lnTo>
                    <a:lnTo>
                      <a:pt x="3928" y="1918"/>
                    </a:lnTo>
                    <a:lnTo>
                      <a:pt x="3924" y="1908"/>
                    </a:lnTo>
                    <a:lnTo>
                      <a:pt x="3924" y="1902"/>
                    </a:lnTo>
                    <a:lnTo>
                      <a:pt x="3920" y="1896"/>
                    </a:lnTo>
                    <a:lnTo>
                      <a:pt x="3912" y="1894"/>
                    </a:lnTo>
                    <a:lnTo>
                      <a:pt x="3912" y="1894"/>
                    </a:lnTo>
                    <a:lnTo>
                      <a:pt x="3910" y="1894"/>
                    </a:lnTo>
                    <a:lnTo>
                      <a:pt x="3910" y="1892"/>
                    </a:lnTo>
                    <a:lnTo>
                      <a:pt x="3918" y="1884"/>
                    </a:lnTo>
                    <a:lnTo>
                      <a:pt x="3926" y="1876"/>
                    </a:lnTo>
                    <a:lnTo>
                      <a:pt x="3926" y="1874"/>
                    </a:lnTo>
                    <a:lnTo>
                      <a:pt x="3924" y="1872"/>
                    </a:lnTo>
                    <a:lnTo>
                      <a:pt x="3924" y="1872"/>
                    </a:lnTo>
                    <a:lnTo>
                      <a:pt x="3922" y="1868"/>
                    </a:lnTo>
                    <a:lnTo>
                      <a:pt x="3920" y="1864"/>
                    </a:lnTo>
                    <a:lnTo>
                      <a:pt x="3922" y="1850"/>
                    </a:lnTo>
                    <a:lnTo>
                      <a:pt x="3928" y="1836"/>
                    </a:lnTo>
                    <a:lnTo>
                      <a:pt x="3936" y="1826"/>
                    </a:lnTo>
                    <a:lnTo>
                      <a:pt x="3936" y="1826"/>
                    </a:lnTo>
                    <a:lnTo>
                      <a:pt x="3940" y="1820"/>
                    </a:lnTo>
                    <a:lnTo>
                      <a:pt x="3940" y="1816"/>
                    </a:lnTo>
                    <a:lnTo>
                      <a:pt x="3940" y="1814"/>
                    </a:lnTo>
                    <a:lnTo>
                      <a:pt x="3942" y="1810"/>
                    </a:lnTo>
                    <a:lnTo>
                      <a:pt x="3942" y="1810"/>
                    </a:lnTo>
                    <a:lnTo>
                      <a:pt x="3944" y="1808"/>
                    </a:lnTo>
                    <a:lnTo>
                      <a:pt x="3946" y="1808"/>
                    </a:lnTo>
                    <a:lnTo>
                      <a:pt x="3948" y="1812"/>
                    </a:lnTo>
                    <a:lnTo>
                      <a:pt x="3952" y="1814"/>
                    </a:lnTo>
                    <a:lnTo>
                      <a:pt x="3954" y="1814"/>
                    </a:lnTo>
                    <a:lnTo>
                      <a:pt x="3958" y="1812"/>
                    </a:lnTo>
                    <a:lnTo>
                      <a:pt x="3958" y="1812"/>
                    </a:lnTo>
                    <a:lnTo>
                      <a:pt x="3966" y="1806"/>
                    </a:lnTo>
                    <a:lnTo>
                      <a:pt x="3970" y="1802"/>
                    </a:lnTo>
                    <a:lnTo>
                      <a:pt x="3974" y="1800"/>
                    </a:lnTo>
                    <a:lnTo>
                      <a:pt x="3976" y="1800"/>
                    </a:lnTo>
                    <a:lnTo>
                      <a:pt x="3976" y="1800"/>
                    </a:lnTo>
                    <a:lnTo>
                      <a:pt x="3982" y="1798"/>
                    </a:lnTo>
                    <a:lnTo>
                      <a:pt x="3984" y="1796"/>
                    </a:lnTo>
                    <a:lnTo>
                      <a:pt x="3988" y="1786"/>
                    </a:lnTo>
                    <a:lnTo>
                      <a:pt x="3992" y="1778"/>
                    </a:lnTo>
                    <a:lnTo>
                      <a:pt x="3996" y="1776"/>
                    </a:lnTo>
                    <a:lnTo>
                      <a:pt x="4000" y="1778"/>
                    </a:lnTo>
                    <a:lnTo>
                      <a:pt x="4000" y="1778"/>
                    </a:lnTo>
                    <a:lnTo>
                      <a:pt x="4006" y="1782"/>
                    </a:lnTo>
                    <a:lnTo>
                      <a:pt x="4008" y="1780"/>
                    </a:lnTo>
                    <a:lnTo>
                      <a:pt x="4010" y="1780"/>
                    </a:lnTo>
                    <a:lnTo>
                      <a:pt x="4012" y="1776"/>
                    </a:lnTo>
                    <a:lnTo>
                      <a:pt x="4016" y="1772"/>
                    </a:lnTo>
                    <a:lnTo>
                      <a:pt x="4016" y="1772"/>
                    </a:lnTo>
                    <a:lnTo>
                      <a:pt x="4022" y="1772"/>
                    </a:lnTo>
                    <a:lnTo>
                      <a:pt x="4024" y="1774"/>
                    </a:lnTo>
                    <a:lnTo>
                      <a:pt x="4028" y="1776"/>
                    </a:lnTo>
                    <a:lnTo>
                      <a:pt x="4036" y="1772"/>
                    </a:lnTo>
                    <a:lnTo>
                      <a:pt x="4036" y="1772"/>
                    </a:lnTo>
                    <a:lnTo>
                      <a:pt x="4044" y="1766"/>
                    </a:lnTo>
                    <a:lnTo>
                      <a:pt x="4052" y="1764"/>
                    </a:lnTo>
                    <a:lnTo>
                      <a:pt x="4060" y="1762"/>
                    </a:lnTo>
                    <a:lnTo>
                      <a:pt x="4066" y="1756"/>
                    </a:lnTo>
                    <a:lnTo>
                      <a:pt x="4066" y="1756"/>
                    </a:lnTo>
                    <a:lnTo>
                      <a:pt x="4070" y="1752"/>
                    </a:lnTo>
                    <a:lnTo>
                      <a:pt x="4070" y="1748"/>
                    </a:lnTo>
                    <a:lnTo>
                      <a:pt x="4068" y="1746"/>
                    </a:lnTo>
                    <a:lnTo>
                      <a:pt x="4066" y="1742"/>
                    </a:lnTo>
                    <a:lnTo>
                      <a:pt x="4066" y="1742"/>
                    </a:lnTo>
                    <a:lnTo>
                      <a:pt x="4064" y="1736"/>
                    </a:lnTo>
                    <a:lnTo>
                      <a:pt x="4062" y="1734"/>
                    </a:lnTo>
                    <a:lnTo>
                      <a:pt x="4054" y="1730"/>
                    </a:lnTo>
                    <a:lnTo>
                      <a:pt x="4054" y="1730"/>
                    </a:lnTo>
                    <a:lnTo>
                      <a:pt x="4052" y="1726"/>
                    </a:lnTo>
                    <a:lnTo>
                      <a:pt x="4050" y="1718"/>
                    </a:lnTo>
                    <a:lnTo>
                      <a:pt x="4050" y="1704"/>
                    </a:lnTo>
                    <a:lnTo>
                      <a:pt x="4050" y="1704"/>
                    </a:lnTo>
                    <a:lnTo>
                      <a:pt x="4052" y="1706"/>
                    </a:lnTo>
                    <a:lnTo>
                      <a:pt x="4054" y="1708"/>
                    </a:lnTo>
                    <a:lnTo>
                      <a:pt x="4054" y="1716"/>
                    </a:lnTo>
                    <a:lnTo>
                      <a:pt x="4054" y="1716"/>
                    </a:lnTo>
                    <a:lnTo>
                      <a:pt x="4054" y="1720"/>
                    </a:lnTo>
                    <a:lnTo>
                      <a:pt x="4056" y="1724"/>
                    </a:lnTo>
                    <a:lnTo>
                      <a:pt x="4060" y="1728"/>
                    </a:lnTo>
                    <a:lnTo>
                      <a:pt x="4066" y="1730"/>
                    </a:lnTo>
                    <a:lnTo>
                      <a:pt x="4066" y="1730"/>
                    </a:lnTo>
                    <a:lnTo>
                      <a:pt x="4078" y="1734"/>
                    </a:lnTo>
                    <a:lnTo>
                      <a:pt x="4088" y="1734"/>
                    </a:lnTo>
                    <a:lnTo>
                      <a:pt x="4096" y="1734"/>
                    </a:lnTo>
                    <a:lnTo>
                      <a:pt x="4106" y="1732"/>
                    </a:lnTo>
                    <a:lnTo>
                      <a:pt x="4122" y="1724"/>
                    </a:lnTo>
                    <a:lnTo>
                      <a:pt x="4144" y="1714"/>
                    </a:lnTo>
                    <a:lnTo>
                      <a:pt x="4144" y="1714"/>
                    </a:lnTo>
                    <a:lnTo>
                      <a:pt x="4152" y="1708"/>
                    </a:lnTo>
                    <a:lnTo>
                      <a:pt x="4156" y="1708"/>
                    </a:lnTo>
                    <a:lnTo>
                      <a:pt x="4156" y="1708"/>
                    </a:lnTo>
                    <a:lnTo>
                      <a:pt x="4158" y="1712"/>
                    </a:lnTo>
                    <a:lnTo>
                      <a:pt x="4160" y="1714"/>
                    </a:lnTo>
                    <a:lnTo>
                      <a:pt x="4164" y="1718"/>
                    </a:lnTo>
                    <a:lnTo>
                      <a:pt x="4172" y="1718"/>
                    </a:lnTo>
                    <a:lnTo>
                      <a:pt x="4188" y="1716"/>
                    </a:lnTo>
                    <a:lnTo>
                      <a:pt x="4188" y="1716"/>
                    </a:lnTo>
                    <a:lnTo>
                      <a:pt x="4202" y="1716"/>
                    </a:lnTo>
                    <a:lnTo>
                      <a:pt x="4194" y="1720"/>
                    </a:lnTo>
                    <a:lnTo>
                      <a:pt x="4172" y="1728"/>
                    </a:lnTo>
                    <a:lnTo>
                      <a:pt x="4148" y="1740"/>
                    </a:lnTo>
                    <a:lnTo>
                      <a:pt x="4148" y="1740"/>
                    </a:lnTo>
                    <a:lnTo>
                      <a:pt x="4136" y="1746"/>
                    </a:lnTo>
                    <a:lnTo>
                      <a:pt x="4126" y="1754"/>
                    </a:lnTo>
                    <a:lnTo>
                      <a:pt x="4118" y="1762"/>
                    </a:lnTo>
                    <a:lnTo>
                      <a:pt x="4110" y="1770"/>
                    </a:lnTo>
                    <a:lnTo>
                      <a:pt x="4106" y="1780"/>
                    </a:lnTo>
                    <a:lnTo>
                      <a:pt x="4104" y="1790"/>
                    </a:lnTo>
                    <a:lnTo>
                      <a:pt x="4106" y="1802"/>
                    </a:lnTo>
                    <a:lnTo>
                      <a:pt x="4110" y="1812"/>
                    </a:lnTo>
                    <a:lnTo>
                      <a:pt x="4110" y="1812"/>
                    </a:lnTo>
                    <a:lnTo>
                      <a:pt x="4116" y="1822"/>
                    </a:lnTo>
                    <a:lnTo>
                      <a:pt x="4124" y="1826"/>
                    </a:lnTo>
                    <a:lnTo>
                      <a:pt x="4130" y="1828"/>
                    </a:lnTo>
                    <a:lnTo>
                      <a:pt x="4138" y="1824"/>
                    </a:lnTo>
                    <a:lnTo>
                      <a:pt x="4146" y="1818"/>
                    </a:lnTo>
                    <a:lnTo>
                      <a:pt x="4154" y="1810"/>
                    </a:lnTo>
                    <a:lnTo>
                      <a:pt x="4174" y="1786"/>
                    </a:lnTo>
                    <a:lnTo>
                      <a:pt x="4174" y="1786"/>
                    </a:lnTo>
                    <a:lnTo>
                      <a:pt x="4182" y="1776"/>
                    </a:lnTo>
                    <a:lnTo>
                      <a:pt x="4190" y="1770"/>
                    </a:lnTo>
                    <a:lnTo>
                      <a:pt x="4196" y="1768"/>
                    </a:lnTo>
                    <a:lnTo>
                      <a:pt x="4202" y="1768"/>
                    </a:lnTo>
                    <a:lnTo>
                      <a:pt x="4208" y="1768"/>
                    </a:lnTo>
                    <a:lnTo>
                      <a:pt x="4216" y="1766"/>
                    </a:lnTo>
                    <a:lnTo>
                      <a:pt x="4224" y="1764"/>
                    </a:lnTo>
                    <a:lnTo>
                      <a:pt x="4238" y="1756"/>
                    </a:lnTo>
                    <a:lnTo>
                      <a:pt x="4238" y="1756"/>
                    </a:lnTo>
                    <a:lnTo>
                      <a:pt x="4252" y="1748"/>
                    </a:lnTo>
                    <a:lnTo>
                      <a:pt x="4266" y="1742"/>
                    </a:lnTo>
                    <a:lnTo>
                      <a:pt x="4290" y="1734"/>
                    </a:lnTo>
                    <a:lnTo>
                      <a:pt x="4300" y="1730"/>
                    </a:lnTo>
                    <a:lnTo>
                      <a:pt x="4306" y="1728"/>
                    </a:lnTo>
                    <a:lnTo>
                      <a:pt x="4308" y="1724"/>
                    </a:lnTo>
                    <a:lnTo>
                      <a:pt x="4304" y="1720"/>
                    </a:lnTo>
                    <a:lnTo>
                      <a:pt x="4304" y="1720"/>
                    </a:lnTo>
                    <a:lnTo>
                      <a:pt x="4284" y="1700"/>
                    </a:lnTo>
                    <a:lnTo>
                      <a:pt x="4280" y="1698"/>
                    </a:lnTo>
                    <a:lnTo>
                      <a:pt x="4276" y="1696"/>
                    </a:lnTo>
                    <a:lnTo>
                      <a:pt x="4270" y="1696"/>
                    </a:lnTo>
                    <a:lnTo>
                      <a:pt x="4264" y="1698"/>
                    </a:lnTo>
                    <a:lnTo>
                      <a:pt x="4264" y="1698"/>
                    </a:lnTo>
                    <a:lnTo>
                      <a:pt x="4258" y="1700"/>
                    </a:lnTo>
                    <a:lnTo>
                      <a:pt x="4246" y="1700"/>
                    </a:lnTo>
                    <a:lnTo>
                      <a:pt x="4236" y="1700"/>
                    </a:lnTo>
                    <a:lnTo>
                      <a:pt x="4224" y="1696"/>
                    </a:lnTo>
                    <a:lnTo>
                      <a:pt x="4212" y="1694"/>
                    </a:lnTo>
                    <a:lnTo>
                      <a:pt x="4204" y="1690"/>
                    </a:lnTo>
                    <a:lnTo>
                      <a:pt x="4198" y="1684"/>
                    </a:lnTo>
                    <a:lnTo>
                      <a:pt x="4196" y="1682"/>
                    </a:lnTo>
                    <a:lnTo>
                      <a:pt x="4196" y="1680"/>
                    </a:lnTo>
                    <a:lnTo>
                      <a:pt x="4196" y="1680"/>
                    </a:lnTo>
                    <a:lnTo>
                      <a:pt x="4196" y="1676"/>
                    </a:lnTo>
                    <a:lnTo>
                      <a:pt x="4194" y="1674"/>
                    </a:lnTo>
                    <a:lnTo>
                      <a:pt x="4186" y="1672"/>
                    </a:lnTo>
                    <a:lnTo>
                      <a:pt x="4178" y="1668"/>
                    </a:lnTo>
                    <a:lnTo>
                      <a:pt x="4172" y="1664"/>
                    </a:lnTo>
                    <a:lnTo>
                      <a:pt x="4166" y="1654"/>
                    </a:lnTo>
                    <a:lnTo>
                      <a:pt x="4160" y="1640"/>
                    </a:lnTo>
                    <a:lnTo>
                      <a:pt x="4160" y="1640"/>
                    </a:lnTo>
                    <a:lnTo>
                      <a:pt x="4156" y="1624"/>
                    </a:lnTo>
                    <a:lnTo>
                      <a:pt x="4156" y="1610"/>
                    </a:lnTo>
                    <a:lnTo>
                      <a:pt x="4158" y="1598"/>
                    </a:lnTo>
                    <a:lnTo>
                      <a:pt x="4160" y="1588"/>
                    </a:lnTo>
                    <a:lnTo>
                      <a:pt x="4162" y="1580"/>
                    </a:lnTo>
                    <a:lnTo>
                      <a:pt x="4162" y="1576"/>
                    </a:lnTo>
                    <a:lnTo>
                      <a:pt x="4158" y="1574"/>
                    </a:lnTo>
                    <a:lnTo>
                      <a:pt x="4148" y="1576"/>
                    </a:lnTo>
                    <a:lnTo>
                      <a:pt x="4148" y="1576"/>
                    </a:lnTo>
                    <a:lnTo>
                      <a:pt x="4134" y="1578"/>
                    </a:lnTo>
                    <a:lnTo>
                      <a:pt x="4126" y="1580"/>
                    </a:lnTo>
                    <a:lnTo>
                      <a:pt x="4124" y="1578"/>
                    </a:lnTo>
                    <a:lnTo>
                      <a:pt x="4126" y="1574"/>
                    </a:lnTo>
                    <a:lnTo>
                      <a:pt x="4140" y="1564"/>
                    </a:lnTo>
                    <a:lnTo>
                      <a:pt x="4164" y="1550"/>
                    </a:lnTo>
                    <a:lnTo>
                      <a:pt x="4164" y="1550"/>
                    </a:lnTo>
                    <a:lnTo>
                      <a:pt x="4178" y="1538"/>
                    </a:lnTo>
                    <a:lnTo>
                      <a:pt x="4182" y="1532"/>
                    </a:lnTo>
                    <a:lnTo>
                      <a:pt x="4184" y="1528"/>
                    </a:lnTo>
                    <a:lnTo>
                      <a:pt x="4184" y="1522"/>
                    </a:lnTo>
                    <a:lnTo>
                      <a:pt x="4180" y="1516"/>
                    </a:lnTo>
                    <a:lnTo>
                      <a:pt x="4174" y="1508"/>
                    </a:lnTo>
                    <a:lnTo>
                      <a:pt x="4166" y="1502"/>
                    </a:lnTo>
                    <a:lnTo>
                      <a:pt x="4166" y="1502"/>
                    </a:lnTo>
                    <a:lnTo>
                      <a:pt x="4160" y="1498"/>
                    </a:lnTo>
                    <a:lnTo>
                      <a:pt x="4150" y="1496"/>
                    </a:lnTo>
                    <a:lnTo>
                      <a:pt x="4140" y="1496"/>
                    </a:lnTo>
                    <a:lnTo>
                      <a:pt x="4130" y="1496"/>
                    </a:lnTo>
                    <a:lnTo>
                      <a:pt x="4102" y="1500"/>
                    </a:lnTo>
                    <a:lnTo>
                      <a:pt x="4074" y="1508"/>
                    </a:lnTo>
                    <a:lnTo>
                      <a:pt x="4044" y="1518"/>
                    </a:lnTo>
                    <a:lnTo>
                      <a:pt x="4018" y="1532"/>
                    </a:lnTo>
                    <a:lnTo>
                      <a:pt x="3996" y="1546"/>
                    </a:lnTo>
                    <a:lnTo>
                      <a:pt x="3988" y="1554"/>
                    </a:lnTo>
                    <a:lnTo>
                      <a:pt x="3982" y="1560"/>
                    </a:lnTo>
                    <a:lnTo>
                      <a:pt x="3982" y="1560"/>
                    </a:lnTo>
                    <a:lnTo>
                      <a:pt x="3964" y="1584"/>
                    </a:lnTo>
                    <a:lnTo>
                      <a:pt x="3948" y="1602"/>
                    </a:lnTo>
                    <a:lnTo>
                      <a:pt x="3934" y="1616"/>
                    </a:lnTo>
                    <a:lnTo>
                      <a:pt x="3922" y="1626"/>
                    </a:lnTo>
                    <a:lnTo>
                      <a:pt x="3914" y="1634"/>
                    </a:lnTo>
                    <a:lnTo>
                      <a:pt x="3908" y="1636"/>
                    </a:lnTo>
                    <a:lnTo>
                      <a:pt x="3908" y="1636"/>
                    </a:lnTo>
                    <a:lnTo>
                      <a:pt x="3908" y="1634"/>
                    </a:lnTo>
                    <a:lnTo>
                      <a:pt x="3914" y="1628"/>
                    </a:lnTo>
                    <a:lnTo>
                      <a:pt x="3914" y="1628"/>
                    </a:lnTo>
                    <a:lnTo>
                      <a:pt x="3924" y="1616"/>
                    </a:lnTo>
                    <a:lnTo>
                      <a:pt x="3936" y="1600"/>
                    </a:lnTo>
                    <a:lnTo>
                      <a:pt x="3964" y="1560"/>
                    </a:lnTo>
                    <a:lnTo>
                      <a:pt x="3978" y="1542"/>
                    </a:lnTo>
                    <a:lnTo>
                      <a:pt x="3994" y="1524"/>
                    </a:lnTo>
                    <a:lnTo>
                      <a:pt x="4010" y="1510"/>
                    </a:lnTo>
                    <a:lnTo>
                      <a:pt x="4020" y="1504"/>
                    </a:lnTo>
                    <a:lnTo>
                      <a:pt x="4030" y="1500"/>
                    </a:lnTo>
                    <a:lnTo>
                      <a:pt x="4030" y="1500"/>
                    </a:lnTo>
                    <a:lnTo>
                      <a:pt x="4040" y="1496"/>
                    </a:lnTo>
                    <a:lnTo>
                      <a:pt x="4050" y="1490"/>
                    </a:lnTo>
                    <a:lnTo>
                      <a:pt x="4056" y="1486"/>
                    </a:lnTo>
                    <a:lnTo>
                      <a:pt x="4060" y="1482"/>
                    </a:lnTo>
                    <a:lnTo>
                      <a:pt x="4066" y="1472"/>
                    </a:lnTo>
                    <a:lnTo>
                      <a:pt x="4068" y="1464"/>
                    </a:lnTo>
                    <a:lnTo>
                      <a:pt x="4072" y="1456"/>
                    </a:lnTo>
                    <a:lnTo>
                      <a:pt x="4076" y="1452"/>
                    </a:lnTo>
                    <a:lnTo>
                      <a:pt x="4082" y="1448"/>
                    </a:lnTo>
                    <a:lnTo>
                      <a:pt x="4090" y="1444"/>
                    </a:lnTo>
                    <a:lnTo>
                      <a:pt x="4102" y="1440"/>
                    </a:lnTo>
                    <a:lnTo>
                      <a:pt x="4136" y="1432"/>
                    </a:lnTo>
                    <a:lnTo>
                      <a:pt x="4136" y="1432"/>
                    </a:lnTo>
                    <a:lnTo>
                      <a:pt x="4160" y="1430"/>
                    </a:lnTo>
                    <a:lnTo>
                      <a:pt x="4182" y="1428"/>
                    </a:lnTo>
                    <a:lnTo>
                      <a:pt x="4202" y="1430"/>
                    </a:lnTo>
                    <a:lnTo>
                      <a:pt x="4220" y="1432"/>
                    </a:lnTo>
                    <a:lnTo>
                      <a:pt x="4252" y="1436"/>
                    </a:lnTo>
                    <a:lnTo>
                      <a:pt x="4278" y="1442"/>
                    </a:lnTo>
                    <a:lnTo>
                      <a:pt x="4304" y="1446"/>
                    </a:lnTo>
                    <a:lnTo>
                      <a:pt x="4316" y="1444"/>
                    </a:lnTo>
                    <a:lnTo>
                      <a:pt x="4330" y="1442"/>
                    </a:lnTo>
                    <a:lnTo>
                      <a:pt x="4342" y="1438"/>
                    </a:lnTo>
                    <a:lnTo>
                      <a:pt x="4356" y="1430"/>
                    </a:lnTo>
                    <a:lnTo>
                      <a:pt x="4370" y="1420"/>
                    </a:lnTo>
                    <a:lnTo>
                      <a:pt x="4386" y="1406"/>
                    </a:lnTo>
                    <a:lnTo>
                      <a:pt x="4386" y="1406"/>
                    </a:lnTo>
                    <a:lnTo>
                      <a:pt x="4414" y="1382"/>
                    </a:lnTo>
                    <a:lnTo>
                      <a:pt x="4434" y="1368"/>
                    </a:lnTo>
                    <a:lnTo>
                      <a:pt x="4448" y="1362"/>
                    </a:lnTo>
                    <a:lnTo>
                      <a:pt x="4458" y="1362"/>
                    </a:lnTo>
                    <a:lnTo>
                      <a:pt x="4470" y="1366"/>
                    </a:lnTo>
                    <a:lnTo>
                      <a:pt x="4474" y="1366"/>
                    </a:lnTo>
                    <a:lnTo>
                      <a:pt x="4482" y="1358"/>
                    </a:lnTo>
                    <a:lnTo>
                      <a:pt x="4482" y="1358"/>
                    </a:lnTo>
                    <a:lnTo>
                      <a:pt x="4492" y="1348"/>
                    </a:lnTo>
                    <a:lnTo>
                      <a:pt x="4502" y="1342"/>
                    </a:lnTo>
                    <a:lnTo>
                      <a:pt x="4518" y="1330"/>
                    </a:lnTo>
                    <a:lnTo>
                      <a:pt x="4524" y="1324"/>
                    </a:lnTo>
                    <a:lnTo>
                      <a:pt x="4526" y="1316"/>
                    </a:lnTo>
                    <a:lnTo>
                      <a:pt x="4526" y="1308"/>
                    </a:lnTo>
                    <a:lnTo>
                      <a:pt x="4522" y="1296"/>
                    </a:lnTo>
                    <a:lnTo>
                      <a:pt x="4522" y="1296"/>
                    </a:lnTo>
                    <a:lnTo>
                      <a:pt x="4518" y="1284"/>
                    </a:lnTo>
                    <a:lnTo>
                      <a:pt x="4518" y="1278"/>
                    </a:lnTo>
                    <a:lnTo>
                      <a:pt x="4518" y="1274"/>
                    </a:lnTo>
                    <a:lnTo>
                      <a:pt x="4522" y="1270"/>
                    </a:lnTo>
                    <a:lnTo>
                      <a:pt x="4524" y="1268"/>
                    </a:lnTo>
                    <a:lnTo>
                      <a:pt x="4526" y="1264"/>
                    </a:lnTo>
                    <a:lnTo>
                      <a:pt x="4524" y="1258"/>
                    </a:lnTo>
                    <a:lnTo>
                      <a:pt x="4522" y="1248"/>
                    </a:lnTo>
                    <a:lnTo>
                      <a:pt x="4522" y="1248"/>
                    </a:lnTo>
                    <a:lnTo>
                      <a:pt x="4516" y="1238"/>
                    </a:lnTo>
                    <a:lnTo>
                      <a:pt x="4510" y="1234"/>
                    </a:lnTo>
                    <a:lnTo>
                      <a:pt x="4502" y="1232"/>
                    </a:lnTo>
                    <a:lnTo>
                      <a:pt x="4496" y="1230"/>
                    </a:lnTo>
                    <a:lnTo>
                      <a:pt x="4488" y="1230"/>
                    </a:lnTo>
                    <a:lnTo>
                      <a:pt x="4480" y="1228"/>
                    </a:lnTo>
                    <a:lnTo>
                      <a:pt x="4472" y="1222"/>
                    </a:lnTo>
                    <a:lnTo>
                      <a:pt x="4464" y="1214"/>
                    </a:lnTo>
                    <a:lnTo>
                      <a:pt x="4464" y="1214"/>
                    </a:lnTo>
                    <a:lnTo>
                      <a:pt x="4454" y="1204"/>
                    </a:lnTo>
                    <a:lnTo>
                      <a:pt x="4446" y="1198"/>
                    </a:lnTo>
                    <a:lnTo>
                      <a:pt x="4436" y="1198"/>
                    </a:lnTo>
                    <a:lnTo>
                      <a:pt x="4428" y="1200"/>
                    </a:lnTo>
                    <a:lnTo>
                      <a:pt x="4416" y="1204"/>
                    </a:lnTo>
                    <a:lnTo>
                      <a:pt x="4406" y="1212"/>
                    </a:lnTo>
                    <a:lnTo>
                      <a:pt x="4376" y="1234"/>
                    </a:lnTo>
                    <a:lnTo>
                      <a:pt x="4376" y="1234"/>
                    </a:lnTo>
                    <a:lnTo>
                      <a:pt x="4362" y="1242"/>
                    </a:lnTo>
                    <a:lnTo>
                      <a:pt x="4352" y="1246"/>
                    </a:lnTo>
                    <a:lnTo>
                      <a:pt x="4344" y="1246"/>
                    </a:lnTo>
                    <a:lnTo>
                      <a:pt x="4342" y="1242"/>
                    </a:lnTo>
                    <a:lnTo>
                      <a:pt x="4342" y="1238"/>
                    </a:lnTo>
                    <a:lnTo>
                      <a:pt x="4346" y="1230"/>
                    </a:lnTo>
                    <a:lnTo>
                      <a:pt x="4354" y="1226"/>
                    </a:lnTo>
                    <a:lnTo>
                      <a:pt x="4364" y="1220"/>
                    </a:lnTo>
                    <a:lnTo>
                      <a:pt x="4364" y="1220"/>
                    </a:lnTo>
                    <a:lnTo>
                      <a:pt x="4376" y="1218"/>
                    </a:lnTo>
                    <a:lnTo>
                      <a:pt x="4386" y="1214"/>
                    </a:lnTo>
                    <a:lnTo>
                      <a:pt x="4400" y="1204"/>
                    </a:lnTo>
                    <a:lnTo>
                      <a:pt x="4414" y="1196"/>
                    </a:lnTo>
                    <a:lnTo>
                      <a:pt x="4424" y="1192"/>
                    </a:lnTo>
                    <a:lnTo>
                      <a:pt x="4438" y="1190"/>
                    </a:lnTo>
                    <a:lnTo>
                      <a:pt x="4438" y="1190"/>
                    </a:lnTo>
                    <a:lnTo>
                      <a:pt x="4450" y="1186"/>
                    </a:lnTo>
                    <a:lnTo>
                      <a:pt x="4456" y="1184"/>
                    </a:lnTo>
                    <a:lnTo>
                      <a:pt x="4458" y="1178"/>
                    </a:lnTo>
                    <a:lnTo>
                      <a:pt x="4456" y="1174"/>
                    </a:lnTo>
                    <a:lnTo>
                      <a:pt x="4450" y="1170"/>
                    </a:lnTo>
                    <a:lnTo>
                      <a:pt x="4442" y="1166"/>
                    </a:lnTo>
                    <a:lnTo>
                      <a:pt x="4432" y="1162"/>
                    </a:lnTo>
                    <a:lnTo>
                      <a:pt x="4418" y="1160"/>
                    </a:lnTo>
                    <a:lnTo>
                      <a:pt x="4418" y="1160"/>
                    </a:lnTo>
                    <a:lnTo>
                      <a:pt x="4406" y="1158"/>
                    </a:lnTo>
                    <a:lnTo>
                      <a:pt x="4400" y="1154"/>
                    </a:lnTo>
                    <a:lnTo>
                      <a:pt x="4396" y="1150"/>
                    </a:lnTo>
                    <a:lnTo>
                      <a:pt x="4394" y="1146"/>
                    </a:lnTo>
                    <a:lnTo>
                      <a:pt x="4392" y="1142"/>
                    </a:lnTo>
                    <a:lnTo>
                      <a:pt x="4388" y="1138"/>
                    </a:lnTo>
                    <a:lnTo>
                      <a:pt x="4378" y="1136"/>
                    </a:lnTo>
                    <a:lnTo>
                      <a:pt x="4364" y="1132"/>
                    </a:lnTo>
                    <a:lnTo>
                      <a:pt x="4364" y="1132"/>
                    </a:lnTo>
                    <a:lnTo>
                      <a:pt x="4350" y="1130"/>
                    </a:lnTo>
                    <a:lnTo>
                      <a:pt x="4342" y="1126"/>
                    </a:lnTo>
                    <a:lnTo>
                      <a:pt x="4340" y="1122"/>
                    </a:lnTo>
                    <a:lnTo>
                      <a:pt x="4338" y="1116"/>
                    </a:lnTo>
                    <a:lnTo>
                      <a:pt x="4340" y="1112"/>
                    </a:lnTo>
                    <a:lnTo>
                      <a:pt x="4338" y="1106"/>
                    </a:lnTo>
                    <a:lnTo>
                      <a:pt x="4334" y="1102"/>
                    </a:lnTo>
                    <a:lnTo>
                      <a:pt x="4324" y="1096"/>
                    </a:lnTo>
                    <a:lnTo>
                      <a:pt x="4324" y="1096"/>
                    </a:lnTo>
                    <a:lnTo>
                      <a:pt x="4314" y="1090"/>
                    </a:lnTo>
                    <a:lnTo>
                      <a:pt x="4304" y="1084"/>
                    </a:lnTo>
                    <a:lnTo>
                      <a:pt x="4296" y="1078"/>
                    </a:lnTo>
                    <a:lnTo>
                      <a:pt x="4290" y="1070"/>
                    </a:lnTo>
                    <a:lnTo>
                      <a:pt x="4286" y="1062"/>
                    </a:lnTo>
                    <a:lnTo>
                      <a:pt x="4286" y="1052"/>
                    </a:lnTo>
                    <a:lnTo>
                      <a:pt x="4288" y="1042"/>
                    </a:lnTo>
                    <a:lnTo>
                      <a:pt x="4294" y="1030"/>
                    </a:lnTo>
                    <a:lnTo>
                      <a:pt x="4294" y="1030"/>
                    </a:lnTo>
                    <a:lnTo>
                      <a:pt x="4298" y="1024"/>
                    </a:lnTo>
                    <a:lnTo>
                      <a:pt x="4298" y="1020"/>
                    </a:lnTo>
                    <a:lnTo>
                      <a:pt x="4298" y="1016"/>
                    </a:lnTo>
                    <a:lnTo>
                      <a:pt x="4296" y="1012"/>
                    </a:lnTo>
                    <a:lnTo>
                      <a:pt x="4290" y="1008"/>
                    </a:lnTo>
                    <a:lnTo>
                      <a:pt x="4282" y="1004"/>
                    </a:lnTo>
                    <a:lnTo>
                      <a:pt x="4274" y="1002"/>
                    </a:lnTo>
                    <a:lnTo>
                      <a:pt x="4268" y="998"/>
                    </a:lnTo>
                    <a:lnTo>
                      <a:pt x="4266" y="996"/>
                    </a:lnTo>
                    <a:lnTo>
                      <a:pt x="4266" y="994"/>
                    </a:lnTo>
                    <a:lnTo>
                      <a:pt x="4266" y="990"/>
                    </a:lnTo>
                    <a:lnTo>
                      <a:pt x="4270" y="986"/>
                    </a:lnTo>
                    <a:lnTo>
                      <a:pt x="4270" y="986"/>
                    </a:lnTo>
                    <a:lnTo>
                      <a:pt x="4274" y="978"/>
                    </a:lnTo>
                    <a:lnTo>
                      <a:pt x="4274" y="970"/>
                    </a:lnTo>
                    <a:lnTo>
                      <a:pt x="4270" y="966"/>
                    </a:lnTo>
                    <a:lnTo>
                      <a:pt x="4264" y="960"/>
                    </a:lnTo>
                    <a:lnTo>
                      <a:pt x="4258" y="954"/>
                    </a:lnTo>
                    <a:lnTo>
                      <a:pt x="4252" y="948"/>
                    </a:lnTo>
                    <a:lnTo>
                      <a:pt x="4246" y="940"/>
                    </a:lnTo>
                    <a:lnTo>
                      <a:pt x="4244" y="928"/>
                    </a:lnTo>
                    <a:lnTo>
                      <a:pt x="4244" y="928"/>
                    </a:lnTo>
                    <a:lnTo>
                      <a:pt x="4240" y="912"/>
                    </a:lnTo>
                    <a:lnTo>
                      <a:pt x="4238" y="908"/>
                    </a:lnTo>
                    <a:lnTo>
                      <a:pt x="4236" y="906"/>
                    </a:lnTo>
                    <a:lnTo>
                      <a:pt x="4230" y="902"/>
                    </a:lnTo>
                    <a:lnTo>
                      <a:pt x="4228" y="898"/>
                    </a:lnTo>
                    <a:lnTo>
                      <a:pt x="4226" y="890"/>
                    </a:lnTo>
                    <a:lnTo>
                      <a:pt x="4226" y="890"/>
                    </a:lnTo>
                    <a:lnTo>
                      <a:pt x="4222" y="882"/>
                    </a:lnTo>
                    <a:lnTo>
                      <a:pt x="4218" y="878"/>
                    </a:lnTo>
                    <a:lnTo>
                      <a:pt x="4210" y="872"/>
                    </a:lnTo>
                    <a:lnTo>
                      <a:pt x="4206" y="868"/>
                    </a:lnTo>
                    <a:lnTo>
                      <a:pt x="4200" y="862"/>
                    </a:lnTo>
                    <a:lnTo>
                      <a:pt x="4194" y="852"/>
                    </a:lnTo>
                    <a:lnTo>
                      <a:pt x="4186" y="838"/>
                    </a:lnTo>
                    <a:lnTo>
                      <a:pt x="4186" y="838"/>
                    </a:lnTo>
                    <a:lnTo>
                      <a:pt x="4180" y="824"/>
                    </a:lnTo>
                    <a:lnTo>
                      <a:pt x="4174" y="816"/>
                    </a:lnTo>
                    <a:lnTo>
                      <a:pt x="4168" y="812"/>
                    </a:lnTo>
                    <a:lnTo>
                      <a:pt x="4164" y="812"/>
                    </a:lnTo>
                    <a:lnTo>
                      <a:pt x="4158" y="814"/>
                    </a:lnTo>
                    <a:lnTo>
                      <a:pt x="4154" y="820"/>
                    </a:lnTo>
                    <a:lnTo>
                      <a:pt x="4140" y="836"/>
                    </a:lnTo>
                    <a:lnTo>
                      <a:pt x="4140" y="836"/>
                    </a:lnTo>
                    <a:lnTo>
                      <a:pt x="4132" y="848"/>
                    </a:lnTo>
                    <a:lnTo>
                      <a:pt x="4128" y="860"/>
                    </a:lnTo>
                    <a:lnTo>
                      <a:pt x="4124" y="884"/>
                    </a:lnTo>
                    <a:lnTo>
                      <a:pt x="4120" y="896"/>
                    </a:lnTo>
                    <a:lnTo>
                      <a:pt x="4116" y="904"/>
                    </a:lnTo>
                    <a:lnTo>
                      <a:pt x="4114" y="906"/>
                    </a:lnTo>
                    <a:lnTo>
                      <a:pt x="4110" y="908"/>
                    </a:lnTo>
                    <a:lnTo>
                      <a:pt x="4106" y="908"/>
                    </a:lnTo>
                    <a:lnTo>
                      <a:pt x="4100" y="906"/>
                    </a:lnTo>
                    <a:lnTo>
                      <a:pt x="4100" y="906"/>
                    </a:lnTo>
                    <a:lnTo>
                      <a:pt x="4090" y="904"/>
                    </a:lnTo>
                    <a:lnTo>
                      <a:pt x="4086" y="906"/>
                    </a:lnTo>
                    <a:lnTo>
                      <a:pt x="4084" y="908"/>
                    </a:lnTo>
                    <a:lnTo>
                      <a:pt x="4084" y="912"/>
                    </a:lnTo>
                    <a:lnTo>
                      <a:pt x="4082" y="916"/>
                    </a:lnTo>
                    <a:lnTo>
                      <a:pt x="4080" y="922"/>
                    </a:lnTo>
                    <a:lnTo>
                      <a:pt x="4074" y="928"/>
                    </a:lnTo>
                    <a:lnTo>
                      <a:pt x="4060" y="934"/>
                    </a:lnTo>
                    <a:lnTo>
                      <a:pt x="4060" y="934"/>
                    </a:lnTo>
                    <a:lnTo>
                      <a:pt x="4048" y="936"/>
                    </a:lnTo>
                    <a:lnTo>
                      <a:pt x="4038" y="934"/>
                    </a:lnTo>
                    <a:lnTo>
                      <a:pt x="4030" y="930"/>
                    </a:lnTo>
                    <a:lnTo>
                      <a:pt x="4024" y="922"/>
                    </a:lnTo>
                    <a:lnTo>
                      <a:pt x="4018" y="914"/>
                    </a:lnTo>
                    <a:lnTo>
                      <a:pt x="4010" y="908"/>
                    </a:lnTo>
                    <a:lnTo>
                      <a:pt x="4002" y="902"/>
                    </a:lnTo>
                    <a:lnTo>
                      <a:pt x="3988" y="900"/>
                    </a:lnTo>
                    <a:lnTo>
                      <a:pt x="3988" y="900"/>
                    </a:lnTo>
                    <a:lnTo>
                      <a:pt x="3976" y="900"/>
                    </a:lnTo>
                    <a:lnTo>
                      <a:pt x="3972" y="900"/>
                    </a:lnTo>
                    <a:lnTo>
                      <a:pt x="3970" y="896"/>
                    </a:lnTo>
                    <a:lnTo>
                      <a:pt x="3972" y="892"/>
                    </a:lnTo>
                    <a:lnTo>
                      <a:pt x="3974" y="888"/>
                    </a:lnTo>
                    <a:lnTo>
                      <a:pt x="3976" y="884"/>
                    </a:lnTo>
                    <a:lnTo>
                      <a:pt x="3974" y="880"/>
                    </a:lnTo>
                    <a:lnTo>
                      <a:pt x="3968" y="874"/>
                    </a:lnTo>
                    <a:lnTo>
                      <a:pt x="3968" y="874"/>
                    </a:lnTo>
                    <a:lnTo>
                      <a:pt x="3962" y="870"/>
                    </a:lnTo>
                    <a:lnTo>
                      <a:pt x="3960" y="866"/>
                    </a:lnTo>
                    <a:lnTo>
                      <a:pt x="3962" y="864"/>
                    </a:lnTo>
                    <a:lnTo>
                      <a:pt x="3964" y="860"/>
                    </a:lnTo>
                    <a:lnTo>
                      <a:pt x="3966" y="856"/>
                    </a:lnTo>
                    <a:lnTo>
                      <a:pt x="3968" y="850"/>
                    </a:lnTo>
                    <a:lnTo>
                      <a:pt x="3968" y="844"/>
                    </a:lnTo>
                    <a:lnTo>
                      <a:pt x="3964" y="836"/>
                    </a:lnTo>
                    <a:lnTo>
                      <a:pt x="3964" y="836"/>
                    </a:lnTo>
                    <a:lnTo>
                      <a:pt x="3960" y="824"/>
                    </a:lnTo>
                    <a:lnTo>
                      <a:pt x="3958" y="814"/>
                    </a:lnTo>
                    <a:lnTo>
                      <a:pt x="3962" y="802"/>
                    </a:lnTo>
                    <a:lnTo>
                      <a:pt x="3966" y="794"/>
                    </a:lnTo>
                    <a:lnTo>
                      <a:pt x="3974" y="776"/>
                    </a:lnTo>
                    <a:lnTo>
                      <a:pt x="3974" y="770"/>
                    </a:lnTo>
                    <a:lnTo>
                      <a:pt x="3972" y="764"/>
                    </a:lnTo>
                    <a:lnTo>
                      <a:pt x="3972" y="764"/>
                    </a:lnTo>
                    <a:lnTo>
                      <a:pt x="3968" y="758"/>
                    </a:lnTo>
                    <a:lnTo>
                      <a:pt x="3964" y="758"/>
                    </a:lnTo>
                    <a:lnTo>
                      <a:pt x="3960" y="760"/>
                    </a:lnTo>
                    <a:lnTo>
                      <a:pt x="3958" y="764"/>
                    </a:lnTo>
                    <a:lnTo>
                      <a:pt x="3954" y="770"/>
                    </a:lnTo>
                    <a:lnTo>
                      <a:pt x="3952" y="772"/>
                    </a:lnTo>
                    <a:lnTo>
                      <a:pt x="3950" y="770"/>
                    </a:lnTo>
                    <a:lnTo>
                      <a:pt x="3950" y="770"/>
                    </a:lnTo>
                    <a:lnTo>
                      <a:pt x="3944" y="766"/>
                    </a:lnTo>
                    <a:lnTo>
                      <a:pt x="3936" y="762"/>
                    </a:lnTo>
                    <a:lnTo>
                      <a:pt x="3914" y="756"/>
                    </a:lnTo>
                    <a:lnTo>
                      <a:pt x="3902" y="752"/>
                    </a:lnTo>
                    <a:lnTo>
                      <a:pt x="3894" y="748"/>
                    </a:lnTo>
                    <a:lnTo>
                      <a:pt x="3888" y="742"/>
                    </a:lnTo>
                    <a:lnTo>
                      <a:pt x="3886" y="740"/>
                    </a:lnTo>
                    <a:lnTo>
                      <a:pt x="3886" y="736"/>
                    </a:lnTo>
                    <a:lnTo>
                      <a:pt x="3886" y="736"/>
                    </a:lnTo>
                    <a:lnTo>
                      <a:pt x="3886" y="728"/>
                    </a:lnTo>
                    <a:lnTo>
                      <a:pt x="3882" y="722"/>
                    </a:lnTo>
                    <a:lnTo>
                      <a:pt x="3878" y="716"/>
                    </a:lnTo>
                    <a:lnTo>
                      <a:pt x="3870" y="710"/>
                    </a:lnTo>
                    <a:lnTo>
                      <a:pt x="3826" y="680"/>
                    </a:lnTo>
                    <a:lnTo>
                      <a:pt x="3826" y="680"/>
                    </a:lnTo>
                    <a:lnTo>
                      <a:pt x="3806" y="668"/>
                    </a:lnTo>
                    <a:lnTo>
                      <a:pt x="3800" y="668"/>
                    </a:lnTo>
                    <a:lnTo>
                      <a:pt x="3796" y="666"/>
                    </a:lnTo>
                    <a:lnTo>
                      <a:pt x="3790" y="668"/>
                    </a:lnTo>
                    <a:lnTo>
                      <a:pt x="3788" y="670"/>
                    </a:lnTo>
                    <a:lnTo>
                      <a:pt x="3780" y="678"/>
                    </a:lnTo>
                    <a:lnTo>
                      <a:pt x="3774" y="680"/>
                    </a:lnTo>
                    <a:lnTo>
                      <a:pt x="3768" y="684"/>
                    </a:lnTo>
                    <a:lnTo>
                      <a:pt x="3760" y="684"/>
                    </a:lnTo>
                    <a:lnTo>
                      <a:pt x="3750" y="686"/>
                    </a:lnTo>
                    <a:lnTo>
                      <a:pt x="3736" y="684"/>
                    </a:lnTo>
                    <a:lnTo>
                      <a:pt x="3720" y="680"/>
                    </a:lnTo>
                    <a:lnTo>
                      <a:pt x="3700" y="674"/>
                    </a:lnTo>
                    <a:lnTo>
                      <a:pt x="3676" y="664"/>
                    </a:lnTo>
                    <a:lnTo>
                      <a:pt x="3676" y="664"/>
                    </a:lnTo>
                    <a:lnTo>
                      <a:pt x="3666" y="662"/>
                    </a:lnTo>
                    <a:lnTo>
                      <a:pt x="3656" y="660"/>
                    </a:lnTo>
                    <a:lnTo>
                      <a:pt x="3648" y="660"/>
                    </a:lnTo>
                    <a:lnTo>
                      <a:pt x="3642" y="662"/>
                    </a:lnTo>
                    <a:lnTo>
                      <a:pt x="3636" y="664"/>
                    </a:lnTo>
                    <a:lnTo>
                      <a:pt x="3632" y="668"/>
                    </a:lnTo>
                    <a:lnTo>
                      <a:pt x="3626" y="678"/>
                    </a:lnTo>
                    <a:lnTo>
                      <a:pt x="3622" y="690"/>
                    </a:lnTo>
                    <a:lnTo>
                      <a:pt x="3622" y="702"/>
                    </a:lnTo>
                    <a:lnTo>
                      <a:pt x="3626" y="712"/>
                    </a:lnTo>
                    <a:lnTo>
                      <a:pt x="3630" y="720"/>
                    </a:lnTo>
                    <a:lnTo>
                      <a:pt x="3630" y="720"/>
                    </a:lnTo>
                    <a:lnTo>
                      <a:pt x="3634" y="726"/>
                    </a:lnTo>
                    <a:lnTo>
                      <a:pt x="3636" y="732"/>
                    </a:lnTo>
                    <a:lnTo>
                      <a:pt x="3638" y="738"/>
                    </a:lnTo>
                    <a:lnTo>
                      <a:pt x="3638" y="746"/>
                    </a:lnTo>
                    <a:lnTo>
                      <a:pt x="3634" y="760"/>
                    </a:lnTo>
                    <a:lnTo>
                      <a:pt x="3626" y="772"/>
                    </a:lnTo>
                    <a:lnTo>
                      <a:pt x="3626" y="772"/>
                    </a:lnTo>
                    <a:lnTo>
                      <a:pt x="3622" y="776"/>
                    </a:lnTo>
                    <a:lnTo>
                      <a:pt x="3622" y="780"/>
                    </a:lnTo>
                    <a:lnTo>
                      <a:pt x="3624" y="782"/>
                    </a:lnTo>
                    <a:lnTo>
                      <a:pt x="3626" y="786"/>
                    </a:lnTo>
                    <a:lnTo>
                      <a:pt x="3634" y="794"/>
                    </a:lnTo>
                    <a:lnTo>
                      <a:pt x="3640" y="802"/>
                    </a:lnTo>
                    <a:lnTo>
                      <a:pt x="3644" y="814"/>
                    </a:lnTo>
                    <a:lnTo>
                      <a:pt x="3644" y="814"/>
                    </a:lnTo>
                    <a:lnTo>
                      <a:pt x="3648" y="824"/>
                    </a:lnTo>
                    <a:lnTo>
                      <a:pt x="3650" y="832"/>
                    </a:lnTo>
                    <a:lnTo>
                      <a:pt x="3650" y="840"/>
                    </a:lnTo>
                    <a:lnTo>
                      <a:pt x="3648" y="844"/>
                    </a:lnTo>
                    <a:lnTo>
                      <a:pt x="3642" y="854"/>
                    </a:lnTo>
                    <a:lnTo>
                      <a:pt x="3636" y="870"/>
                    </a:lnTo>
                    <a:lnTo>
                      <a:pt x="3636" y="870"/>
                    </a:lnTo>
                    <a:lnTo>
                      <a:pt x="3634" y="878"/>
                    </a:lnTo>
                    <a:lnTo>
                      <a:pt x="3630" y="882"/>
                    </a:lnTo>
                    <a:lnTo>
                      <a:pt x="3620" y="888"/>
                    </a:lnTo>
                    <a:lnTo>
                      <a:pt x="3616" y="890"/>
                    </a:lnTo>
                    <a:lnTo>
                      <a:pt x="3612" y="894"/>
                    </a:lnTo>
                    <a:lnTo>
                      <a:pt x="3610" y="900"/>
                    </a:lnTo>
                    <a:lnTo>
                      <a:pt x="3606" y="910"/>
                    </a:lnTo>
                    <a:lnTo>
                      <a:pt x="3606" y="910"/>
                    </a:lnTo>
                    <a:lnTo>
                      <a:pt x="3606" y="916"/>
                    </a:lnTo>
                    <a:lnTo>
                      <a:pt x="3608" y="920"/>
                    </a:lnTo>
                    <a:lnTo>
                      <a:pt x="3614" y="926"/>
                    </a:lnTo>
                    <a:lnTo>
                      <a:pt x="3622" y="932"/>
                    </a:lnTo>
                    <a:lnTo>
                      <a:pt x="3634" y="940"/>
                    </a:lnTo>
                    <a:lnTo>
                      <a:pt x="3648" y="950"/>
                    </a:lnTo>
                    <a:lnTo>
                      <a:pt x="3660" y="964"/>
                    </a:lnTo>
                    <a:lnTo>
                      <a:pt x="3666" y="972"/>
                    </a:lnTo>
                    <a:lnTo>
                      <a:pt x="3672" y="984"/>
                    </a:lnTo>
                    <a:lnTo>
                      <a:pt x="3678" y="996"/>
                    </a:lnTo>
                    <a:lnTo>
                      <a:pt x="3684" y="1010"/>
                    </a:lnTo>
                    <a:lnTo>
                      <a:pt x="3684" y="1010"/>
                    </a:lnTo>
                    <a:lnTo>
                      <a:pt x="3686" y="1026"/>
                    </a:lnTo>
                    <a:lnTo>
                      <a:pt x="3688" y="1040"/>
                    </a:lnTo>
                    <a:lnTo>
                      <a:pt x="3688" y="1052"/>
                    </a:lnTo>
                    <a:lnTo>
                      <a:pt x="3684" y="1066"/>
                    </a:lnTo>
                    <a:lnTo>
                      <a:pt x="3680" y="1078"/>
                    </a:lnTo>
                    <a:lnTo>
                      <a:pt x="3674" y="1088"/>
                    </a:lnTo>
                    <a:lnTo>
                      <a:pt x="3668" y="1100"/>
                    </a:lnTo>
                    <a:lnTo>
                      <a:pt x="3660" y="1108"/>
                    </a:lnTo>
                    <a:lnTo>
                      <a:pt x="3642" y="1126"/>
                    </a:lnTo>
                    <a:lnTo>
                      <a:pt x="3624" y="1140"/>
                    </a:lnTo>
                    <a:lnTo>
                      <a:pt x="3604" y="1150"/>
                    </a:lnTo>
                    <a:lnTo>
                      <a:pt x="3584" y="1158"/>
                    </a:lnTo>
                    <a:lnTo>
                      <a:pt x="3584" y="1158"/>
                    </a:lnTo>
                    <a:lnTo>
                      <a:pt x="3570" y="1166"/>
                    </a:lnTo>
                    <a:lnTo>
                      <a:pt x="3562" y="1172"/>
                    </a:lnTo>
                    <a:lnTo>
                      <a:pt x="3562" y="1174"/>
                    </a:lnTo>
                    <a:lnTo>
                      <a:pt x="3562" y="1176"/>
                    </a:lnTo>
                    <a:lnTo>
                      <a:pt x="3566" y="1184"/>
                    </a:lnTo>
                    <a:lnTo>
                      <a:pt x="3572" y="1190"/>
                    </a:lnTo>
                    <a:lnTo>
                      <a:pt x="3578" y="1200"/>
                    </a:lnTo>
                    <a:lnTo>
                      <a:pt x="3582" y="1212"/>
                    </a:lnTo>
                    <a:lnTo>
                      <a:pt x="3584" y="1220"/>
                    </a:lnTo>
                    <a:lnTo>
                      <a:pt x="3584" y="1228"/>
                    </a:lnTo>
                    <a:lnTo>
                      <a:pt x="3584" y="1228"/>
                    </a:lnTo>
                    <a:lnTo>
                      <a:pt x="3586" y="1244"/>
                    </a:lnTo>
                    <a:lnTo>
                      <a:pt x="3588" y="1260"/>
                    </a:lnTo>
                    <a:lnTo>
                      <a:pt x="3598" y="1290"/>
                    </a:lnTo>
                    <a:lnTo>
                      <a:pt x="3602" y="1302"/>
                    </a:lnTo>
                    <a:lnTo>
                      <a:pt x="3604" y="1314"/>
                    </a:lnTo>
                    <a:lnTo>
                      <a:pt x="3604" y="1324"/>
                    </a:lnTo>
                    <a:lnTo>
                      <a:pt x="3600" y="1328"/>
                    </a:lnTo>
                    <a:lnTo>
                      <a:pt x="3598" y="1330"/>
                    </a:lnTo>
                    <a:lnTo>
                      <a:pt x="3598" y="1330"/>
                    </a:lnTo>
                    <a:lnTo>
                      <a:pt x="3594" y="1334"/>
                    </a:lnTo>
                    <a:lnTo>
                      <a:pt x="3592" y="1336"/>
                    </a:lnTo>
                    <a:lnTo>
                      <a:pt x="3590" y="1344"/>
                    </a:lnTo>
                    <a:lnTo>
                      <a:pt x="3592" y="1352"/>
                    </a:lnTo>
                    <a:lnTo>
                      <a:pt x="3594" y="1358"/>
                    </a:lnTo>
                    <a:lnTo>
                      <a:pt x="3596" y="1362"/>
                    </a:lnTo>
                    <a:lnTo>
                      <a:pt x="3594" y="1366"/>
                    </a:lnTo>
                    <a:lnTo>
                      <a:pt x="3590" y="1364"/>
                    </a:lnTo>
                    <a:lnTo>
                      <a:pt x="3580" y="1358"/>
                    </a:lnTo>
                    <a:lnTo>
                      <a:pt x="3580" y="1358"/>
                    </a:lnTo>
                    <a:lnTo>
                      <a:pt x="3570" y="1354"/>
                    </a:lnTo>
                    <a:lnTo>
                      <a:pt x="3568" y="1354"/>
                    </a:lnTo>
                    <a:lnTo>
                      <a:pt x="3566" y="1356"/>
                    </a:lnTo>
                    <a:lnTo>
                      <a:pt x="3562" y="1362"/>
                    </a:lnTo>
                    <a:lnTo>
                      <a:pt x="3562" y="1370"/>
                    </a:lnTo>
                    <a:lnTo>
                      <a:pt x="3562" y="1376"/>
                    </a:lnTo>
                    <a:lnTo>
                      <a:pt x="3560" y="1382"/>
                    </a:lnTo>
                    <a:lnTo>
                      <a:pt x="3558" y="1384"/>
                    </a:lnTo>
                    <a:lnTo>
                      <a:pt x="3554" y="1384"/>
                    </a:lnTo>
                    <a:lnTo>
                      <a:pt x="3546" y="1380"/>
                    </a:lnTo>
                    <a:lnTo>
                      <a:pt x="3546" y="1380"/>
                    </a:lnTo>
                    <a:lnTo>
                      <a:pt x="3536" y="1372"/>
                    </a:lnTo>
                    <a:lnTo>
                      <a:pt x="3530" y="1366"/>
                    </a:lnTo>
                    <a:lnTo>
                      <a:pt x="3522" y="1352"/>
                    </a:lnTo>
                    <a:lnTo>
                      <a:pt x="3516" y="1342"/>
                    </a:lnTo>
                    <a:lnTo>
                      <a:pt x="3508" y="1332"/>
                    </a:lnTo>
                    <a:lnTo>
                      <a:pt x="3494" y="1316"/>
                    </a:lnTo>
                    <a:lnTo>
                      <a:pt x="3474" y="1298"/>
                    </a:lnTo>
                    <a:lnTo>
                      <a:pt x="3474" y="1298"/>
                    </a:lnTo>
                    <a:lnTo>
                      <a:pt x="3464" y="1286"/>
                    </a:lnTo>
                    <a:lnTo>
                      <a:pt x="3458" y="1276"/>
                    </a:lnTo>
                    <a:lnTo>
                      <a:pt x="3456" y="1266"/>
                    </a:lnTo>
                    <a:lnTo>
                      <a:pt x="3456" y="1254"/>
                    </a:lnTo>
                    <a:lnTo>
                      <a:pt x="3456" y="1234"/>
                    </a:lnTo>
                    <a:lnTo>
                      <a:pt x="3456" y="1222"/>
                    </a:lnTo>
                    <a:lnTo>
                      <a:pt x="3454" y="1210"/>
                    </a:lnTo>
                    <a:lnTo>
                      <a:pt x="3454" y="1210"/>
                    </a:lnTo>
                    <a:lnTo>
                      <a:pt x="3450" y="1194"/>
                    </a:lnTo>
                    <a:lnTo>
                      <a:pt x="3450" y="1182"/>
                    </a:lnTo>
                    <a:lnTo>
                      <a:pt x="3454" y="1172"/>
                    </a:lnTo>
                    <a:lnTo>
                      <a:pt x="3456" y="1162"/>
                    </a:lnTo>
                    <a:lnTo>
                      <a:pt x="3458" y="1154"/>
                    </a:lnTo>
                    <a:lnTo>
                      <a:pt x="3456" y="1148"/>
                    </a:lnTo>
                    <a:lnTo>
                      <a:pt x="3452" y="1142"/>
                    </a:lnTo>
                    <a:lnTo>
                      <a:pt x="3440" y="1138"/>
                    </a:lnTo>
                    <a:lnTo>
                      <a:pt x="3440" y="1138"/>
                    </a:lnTo>
                    <a:lnTo>
                      <a:pt x="3414" y="1134"/>
                    </a:lnTo>
                    <a:lnTo>
                      <a:pt x="3394" y="1130"/>
                    </a:lnTo>
                    <a:lnTo>
                      <a:pt x="3378" y="1130"/>
                    </a:lnTo>
                    <a:lnTo>
                      <a:pt x="3368" y="1130"/>
                    </a:lnTo>
                    <a:lnTo>
                      <a:pt x="3354" y="1132"/>
                    </a:lnTo>
                    <a:lnTo>
                      <a:pt x="3346" y="1132"/>
                    </a:lnTo>
                    <a:lnTo>
                      <a:pt x="3340" y="1130"/>
                    </a:lnTo>
                    <a:lnTo>
                      <a:pt x="3340" y="1130"/>
                    </a:lnTo>
                    <a:lnTo>
                      <a:pt x="3334" y="1128"/>
                    </a:lnTo>
                    <a:lnTo>
                      <a:pt x="3330" y="1124"/>
                    </a:lnTo>
                    <a:lnTo>
                      <a:pt x="3322" y="1116"/>
                    </a:lnTo>
                    <a:lnTo>
                      <a:pt x="3316" y="1110"/>
                    </a:lnTo>
                    <a:lnTo>
                      <a:pt x="3306" y="1104"/>
                    </a:lnTo>
                    <a:lnTo>
                      <a:pt x="3290" y="1098"/>
                    </a:lnTo>
                    <a:lnTo>
                      <a:pt x="3268" y="1092"/>
                    </a:lnTo>
                    <a:lnTo>
                      <a:pt x="3268" y="1092"/>
                    </a:lnTo>
                    <a:lnTo>
                      <a:pt x="3246" y="1084"/>
                    </a:lnTo>
                    <a:lnTo>
                      <a:pt x="3236" y="1078"/>
                    </a:lnTo>
                    <a:lnTo>
                      <a:pt x="3232" y="1072"/>
                    </a:lnTo>
                    <a:lnTo>
                      <a:pt x="3230" y="1066"/>
                    </a:lnTo>
                    <a:lnTo>
                      <a:pt x="3226" y="1058"/>
                    </a:lnTo>
                    <a:lnTo>
                      <a:pt x="3216" y="1048"/>
                    </a:lnTo>
                    <a:lnTo>
                      <a:pt x="3198" y="1036"/>
                    </a:lnTo>
                    <a:lnTo>
                      <a:pt x="3166" y="1022"/>
                    </a:lnTo>
                    <a:lnTo>
                      <a:pt x="3166" y="1022"/>
                    </a:lnTo>
                    <a:lnTo>
                      <a:pt x="3146" y="1016"/>
                    </a:lnTo>
                    <a:lnTo>
                      <a:pt x="3130" y="1012"/>
                    </a:lnTo>
                    <a:lnTo>
                      <a:pt x="3114" y="1010"/>
                    </a:lnTo>
                    <a:lnTo>
                      <a:pt x="3102" y="1010"/>
                    </a:lnTo>
                    <a:lnTo>
                      <a:pt x="3090" y="1012"/>
                    </a:lnTo>
                    <a:lnTo>
                      <a:pt x="3080" y="1014"/>
                    </a:lnTo>
                    <a:lnTo>
                      <a:pt x="3064" y="1020"/>
                    </a:lnTo>
                    <a:lnTo>
                      <a:pt x="3052" y="1026"/>
                    </a:lnTo>
                    <a:lnTo>
                      <a:pt x="3046" y="1028"/>
                    </a:lnTo>
                    <a:lnTo>
                      <a:pt x="3044" y="1026"/>
                    </a:lnTo>
                    <a:lnTo>
                      <a:pt x="3042" y="1022"/>
                    </a:lnTo>
                    <a:lnTo>
                      <a:pt x="3040" y="1008"/>
                    </a:lnTo>
                    <a:lnTo>
                      <a:pt x="3040" y="1008"/>
                    </a:lnTo>
                    <a:lnTo>
                      <a:pt x="3040" y="992"/>
                    </a:lnTo>
                    <a:lnTo>
                      <a:pt x="3038" y="978"/>
                    </a:lnTo>
                    <a:lnTo>
                      <a:pt x="3032" y="962"/>
                    </a:lnTo>
                    <a:lnTo>
                      <a:pt x="3026" y="948"/>
                    </a:lnTo>
                    <a:lnTo>
                      <a:pt x="3024" y="938"/>
                    </a:lnTo>
                    <a:lnTo>
                      <a:pt x="3020" y="928"/>
                    </a:lnTo>
                    <a:lnTo>
                      <a:pt x="3020" y="928"/>
                    </a:lnTo>
                    <a:lnTo>
                      <a:pt x="3018" y="922"/>
                    </a:lnTo>
                    <a:lnTo>
                      <a:pt x="3016" y="918"/>
                    </a:lnTo>
                    <a:lnTo>
                      <a:pt x="3012" y="914"/>
                    </a:lnTo>
                    <a:lnTo>
                      <a:pt x="3008" y="914"/>
                    </a:lnTo>
                    <a:lnTo>
                      <a:pt x="2998" y="912"/>
                    </a:lnTo>
                    <a:lnTo>
                      <a:pt x="2986" y="912"/>
                    </a:lnTo>
                    <a:lnTo>
                      <a:pt x="2974" y="910"/>
                    </a:lnTo>
                    <a:lnTo>
                      <a:pt x="2968" y="908"/>
                    </a:lnTo>
                    <a:lnTo>
                      <a:pt x="2962" y="904"/>
                    </a:lnTo>
                    <a:lnTo>
                      <a:pt x="2958" y="898"/>
                    </a:lnTo>
                    <a:lnTo>
                      <a:pt x="2954" y="890"/>
                    </a:lnTo>
                    <a:lnTo>
                      <a:pt x="2950" y="882"/>
                    </a:lnTo>
                    <a:lnTo>
                      <a:pt x="2948" y="868"/>
                    </a:lnTo>
                    <a:lnTo>
                      <a:pt x="2948" y="868"/>
                    </a:lnTo>
                    <a:lnTo>
                      <a:pt x="2948" y="854"/>
                    </a:lnTo>
                    <a:lnTo>
                      <a:pt x="2948" y="840"/>
                    </a:lnTo>
                    <a:lnTo>
                      <a:pt x="2952" y="824"/>
                    </a:lnTo>
                    <a:lnTo>
                      <a:pt x="2956" y="808"/>
                    </a:lnTo>
                    <a:lnTo>
                      <a:pt x="2968" y="778"/>
                    </a:lnTo>
                    <a:lnTo>
                      <a:pt x="2982" y="750"/>
                    </a:lnTo>
                    <a:lnTo>
                      <a:pt x="2998" y="724"/>
                    </a:lnTo>
                    <a:lnTo>
                      <a:pt x="3014" y="706"/>
                    </a:lnTo>
                    <a:lnTo>
                      <a:pt x="3026" y="692"/>
                    </a:lnTo>
                    <a:lnTo>
                      <a:pt x="3030" y="690"/>
                    </a:lnTo>
                    <a:lnTo>
                      <a:pt x="3034" y="690"/>
                    </a:lnTo>
                    <a:lnTo>
                      <a:pt x="3034" y="690"/>
                    </a:lnTo>
                    <a:lnTo>
                      <a:pt x="3038" y="688"/>
                    </a:lnTo>
                    <a:lnTo>
                      <a:pt x="3042" y="684"/>
                    </a:lnTo>
                    <a:lnTo>
                      <a:pt x="3044" y="670"/>
                    </a:lnTo>
                    <a:lnTo>
                      <a:pt x="3048" y="662"/>
                    </a:lnTo>
                    <a:lnTo>
                      <a:pt x="3052" y="654"/>
                    </a:lnTo>
                    <a:lnTo>
                      <a:pt x="3060" y="648"/>
                    </a:lnTo>
                    <a:lnTo>
                      <a:pt x="3070" y="646"/>
                    </a:lnTo>
                    <a:lnTo>
                      <a:pt x="3070" y="646"/>
                    </a:lnTo>
                    <a:lnTo>
                      <a:pt x="3096" y="644"/>
                    </a:lnTo>
                    <a:lnTo>
                      <a:pt x="3106" y="640"/>
                    </a:lnTo>
                    <a:lnTo>
                      <a:pt x="3116" y="636"/>
                    </a:lnTo>
                    <a:lnTo>
                      <a:pt x="3120" y="630"/>
                    </a:lnTo>
                    <a:lnTo>
                      <a:pt x="3120" y="624"/>
                    </a:lnTo>
                    <a:lnTo>
                      <a:pt x="3116" y="614"/>
                    </a:lnTo>
                    <a:lnTo>
                      <a:pt x="3106" y="604"/>
                    </a:lnTo>
                    <a:lnTo>
                      <a:pt x="3106" y="604"/>
                    </a:lnTo>
                    <a:lnTo>
                      <a:pt x="3098" y="596"/>
                    </a:lnTo>
                    <a:lnTo>
                      <a:pt x="3098" y="594"/>
                    </a:lnTo>
                    <a:lnTo>
                      <a:pt x="3098" y="592"/>
                    </a:lnTo>
                    <a:lnTo>
                      <a:pt x="3104" y="590"/>
                    </a:lnTo>
                    <a:lnTo>
                      <a:pt x="3112" y="590"/>
                    </a:lnTo>
                    <a:lnTo>
                      <a:pt x="3124" y="590"/>
                    </a:lnTo>
                    <a:lnTo>
                      <a:pt x="3136" y="586"/>
                    </a:lnTo>
                    <a:lnTo>
                      <a:pt x="3140" y="584"/>
                    </a:lnTo>
                    <a:lnTo>
                      <a:pt x="3144" y="580"/>
                    </a:lnTo>
                    <a:lnTo>
                      <a:pt x="3148" y="576"/>
                    </a:lnTo>
                    <a:lnTo>
                      <a:pt x="3150" y="568"/>
                    </a:lnTo>
                    <a:lnTo>
                      <a:pt x="3150" y="568"/>
                    </a:lnTo>
                    <a:lnTo>
                      <a:pt x="3152" y="562"/>
                    </a:lnTo>
                    <a:lnTo>
                      <a:pt x="3154" y="558"/>
                    </a:lnTo>
                    <a:lnTo>
                      <a:pt x="3156" y="556"/>
                    </a:lnTo>
                    <a:lnTo>
                      <a:pt x="3158" y="556"/>
                    </a:lnTo>
                    <a:lnTo>
                      <a:pt x="3166" y="560"/>
                    </a:lnTo>
                    <a:lnTo>
                      <a:pt x="3176" y="566"/>
                    </a:lnTo>
                    <a:lnTo>
                      <a:pt x="3188" y="570"/>
                    </a:lnTo>
                    <a:lnTo>
                      <a:pt x="3194" y="572"/>
                    </a:lnTo>
                    <a:lnTo>
                      <a:pt x="3200" y="570"/>
                    </a:lnTo>
                    <a:lnTo>
                      <a:pt x="3206" y="568"/>
                    </a:lnTo>
                    <a:lnTo>
                      <a:pt x="3214" y="562"/>
                    </a:lnTo>
                    <a:lnTo>
                      <a:pt x="3220" y="554"/>
                    </a:lnTo>
                    <a:lnTo>
                      <a:pt x="3228" y="542"/>
                    </a:lnTo>
                    <a:lnTo>
                      <a:pt x="3228" y="542"/>
                    </a:lnTo>
                    <a:lnTo>
                      <a:pt x="3242" y="520"/>
                    </a:lnTo>
                    <a:lnTo>
                      <a:pt x="3252" y="506"/>
                    </a:lnTo>
                    <a:lnTo>
                      <a:pt x="3258" y="496"/>
                    </a:lnTo>
                    <a:lnTo>
                      <a:pt x="3260" y="492"/>
                    </a:lnTo>
                    <a:lnTo>
                      <a:pt x="3258" y="490"/>
                    </a:lnTo>
                    <a:lnTo>
                      <a:pt x="3256" y="488"/>
                    </a:lnTo>
                    <a:lnTo>
                      <a:pt x="3244" y="486"/>
                    </a:lnTo>
                    <a:lnTo>
                      <a:pt x="3228" y="484"/>
                    </a:lnTo>
                    <a:lnTo>
                      <a:pt x="3204" y="478"/>
                    </a:lnTo>
                    <a:lnTo>
                      <a:pt x="3204" y="478"/>
                    </a:lnTo>
                    <a:lnTo>
                      <a:pt x="3186" y="474"/>
                    </a:lnTo>
                    <a:lnTo>
                      <a:pt x="3176" y="470"/>
                    </a:lnTo>
                    <a:lnTo>
                      <a:pt x="3170" y="464"/>
                    </a:lnTo>
                    <a:lnTo>
                      <a:pt x="3164" y="460"/>
                    </a:lnTo>
                    <a:lnTo>
                      <a:pt x="3154" y="450"/>
                    </a:lnTo>
                    <a:lnTo>
                      <a:pt x="3144" y="444"/>
                    </a:lnTo>
                    <a:lnTo>
                      <a:pt x="3132" y="438"/>
                    </a:lnTo>
                    <a:lnTo>
                      <a:pt x="3132" y="438"/>
                    </a:lnTo>
                    <a:lnTo>
                      <a:pt x="3140" y="438"/>
                    </a:lnTo>
                    <a:lnTo>
                      <a:pt x="3148" y="438"/>
                    </a:lnTo>
                    <a:lnTo>
                      <a:pt x="3158" y="440"/>
                    </a:lnTo>
                    <a:lnTo>
                      <a:pt x="3166" y="442"/>
                    </a:lnTo>
                    <a:lnTo>
                      <a:pt x="3184" y="452"/>
                    </a:lnTo>
                    <a:lnTo>
                      <a:pt x="3202" y="462"/>
                    </a:lnTo>
                    <a:lnTo>
                      <a:pt x="3220" y="470"/>
                    </a:lnTo>
                    <a:lnTo>
                      <a:pt x="3230" y="472"/>
                    </a:lnTo>
                    <a:lnTo>
                      <a:pt x="3238" y="474"/>
                    </a:lnTo>
                    <a:lnTo>
                      <a:pt x="3246" y="474"/>
                    </a:lnTo>
                    <a:lnTo>
                      <a:pt x="3254" y="472"/>
                    </a:lnTo>
                    <a:lnTo>
                      <a:pt x="3262" y="466"/>
                    </a:lnTo>
                    <a:lnTo>
                      <a:pt x="3270" y="460"/>
                    </a:lnTo>
                    <a:lnTo>
                      <a:pt x="3270" y="460"/>
                    </a:lnTo>
                    <a:lnTo>
                      <a:pt x="3296" y="434"/>
                    </a:lnTo>
                    <a:lnTo>
                      <a:pt x="3302" y="426"/>
                    </a:lnTo>
                    <a:lnTo>
                      <a:pt x="3304" y="420"/>
                    </a:lnTo>
                    <a:lnTo>
                      <a:pt x="3304" y="416"/>
                    </a:lnTo>
                    <a:lnTo>
                      <a:pt x="3298" y="412"/>
                    </a:lnTo>
                    <a:lnTo>
                      <a:pt x="3278" y="402"/>
                    </a:lnTo>
                    <a:lnTo>
                      <a:pt x="3278" y="402"/>
                    </a:lnTo>
                    <a:lnTo>
                      <a:pt x="3270" y="394"/>
                    </a:lnTo>
                    <a:lnTo>
                      <a:pt x="3270" y="392"/>
                    </a:lnTo>
                    <a:lnTo>
                      <a:pt x="3270" y="390"/>
                    </a:lnTo>
                    <a:lnTo>
                      <a:pt x="3278" y="388"/>
                    </a:lnTo>
                    <a:lnTo>
                      <a:pt x="3288" y="388"/>
                    </a:lnTo>
                    <a:lnTo>
                      <a:pt x="3302" y="388"/>
                    </a:lnTo>
                    <a:lnTo>
                      <a:pt x="3316" y="390"/>
                    </a:lnTo>
                    <a:lnTo>
                      <a:pt x="3328" y="394"/>
                    </a:lnTo>
                    <a:lnTo>
                      <a:pt x="3336" y="400"/>
                    </a:lnTo>
                    <a:lnTo>
                      <a:pt x="3336" y="400"/>
                    </a:lnTo>
                    <a:lnTo>
                      <a:pt x="3346" y="410"/>
                    </a:lnTo>
                    <a:lnTo>
                      <a:pt x="3356" y="418"/>
                    </a:lnTo>
                    <a:lnTo>
                      <a:pt x="3366" y="426"/>
                    </a:lnTo>
                    <a:lnTo>
                      <a:pt x="3374" y="438"/>
                    </a:lnTo>
                    <a:lnTo>
                      <a:pt x="3374" y="438"/>
                    </a:lnTo>
                    <a:lnTo>
                      <a:pt x="3380" y="448"/>
                    </a:lnTo>
                    <a:lnTo>
                      <a:pt x="3388" y="452"/>
                    </a:lnTo>
                    <a:lnTo>
                      <a:pt x="3398" y="454"/>
                    </a:lnTo>
                    <a:lnTo>
                      <a:pt x="3410" y="452"/>
                    </a:lnTo>
                    <a:lnTo>
                      <a:pt x="3410" y="452"/>
                    </a:lnTo>
                    <a:lnTo>
                      <a:pt x="3412" y="450"/>
                    </a:lnTo>
                    <a:lnTo>
                      <a:pt x="3414" y="448"/>
                    </a:lnTo>
                    <a:lnTo>
                      <a:pt x="3412" y="444"/>
                    </a:lnTo>
                    <a:lnTo>
                      <a:pt x="3398" y="436"/>
                    </a:lnTo>
                    <a:lnTo>
                      <a:pt x="3392" y="432"/>
                    </a:lnTo>
                    <a:lnTo>
                      <a:pt x="3386" y="426"/>
                    </a:lnTo>
                    <a:lnTo>
                      <a:pt x="3384" y="424"/>
                    </a:lnTo>
                    <a:lnTo>
                      <a:pt x="3384" y="422"/>
                    </a:lnTo>
                    <a:lnTo>
                      <a:pt x="3386" y="418"/>
                    </a:lnTo>
                    <a:lnTo>
                      <a:pt x="3390" y="416"/>
                    </a:lnTo>
                    <a:lnTo>
                      <a:pt x="3390" y="416"/>
                    </a:lnTo>
                    <a:lnTo>
                      <a:pt x="3398" y="412"/>
                    </a:lnTo>
                    <a:lnTo>
                      <a:pt x="3404" y="406"/>
                    </a:lnTo>
                    <a:lnTo>
                      <a:pt x="3414" y="396"/>
                    </a:lnTo>
                    <a:lnTo>
                      <a:pt x="3426" y="388"/>
                    </a:lnTo>
                    <a:lnTo>
                      <a:pt x="3432" y="386"/>
                    </a:lnTo>
                    <a:lnTo>
                      <a:pt x="3438" y="386"/>
                    </a:lnTo>
                    <a:lnTo>
                      <a:pt x="3438" y="386"/>
                    </a:lnTo>
                    <a:lnTo>
                      <a:pt x="3444" y="386"/>
                    </a:lnTo>
                    <a:lnTo>
                      <a:pt x="3450" y="384"/>
                    </a:lnTo>
                    <a:lnTo>
                      <a:pt x="3456" y="380"/>
                    </a:lnTo>
                    <a:lnTo>
                      <a:pt x="3460" y="374"/>
                    </a:lnTo>
                    <a:lnTo>
                      <a:pt x="3468" y="364"/>
                    </a:lnTo>
                    <a:lnTo>
                      <a:pt x="3474" y="360"/>
                    </a:lnTo>
                    <a:lnTo>
                      <a:pt x="3478" y="360"/>
                    </a:lnTo>
                    <a:lnTo>
                      <a:pt x="3478" y="360"/>
                    </a:lnTo>
                    <a:lnTo>
                      <a:pt x="3484" y="358"/>
                    </a:lnTo>
                    <a:lnTo>
                      <a:pt x="3490" y="354"/>
                    </a:lnTo>
                    <a:lnTo>
                      <a:pt x="3492" y="348"/>
                    </a:lnTo>
                    <a:lnTo>
                      <a:pt x="3494" y="342"/>
                    </a:lnTo>
                    <a:lnTo>
                      <a:pt x="3492" y="334"/>
                    </a:lnTo>
                    <a:lnTo>
                      <a:pt x="3488" y="324"/>
                    </a:lnTo>
                    <a:lnTo>
                      <a:pt x="3482" y="316"/>
                    </a:lnTo>
                    <a:lnTo>
                      <a:pt x="3472" y="306"/>
                    </a:lnTo>
                    <a:lnTo>
                      <a:pt x="3472" y="306"/>
                    </a:lnTo>
                    <a:lnTo>
                      <a:pt x="3464" y="298"/>
                    </a:lnTo>
                    <a:lnTo>
                      <a:pt x="3460" y="292"/>
                    </a:lnTo>
                    <a:lnTo>
                      <a:pt x="3460" y="288"/>
                    </a:lnTo>
                    <a:lnTo>
                      <a:pt x="3462" y="284"/>
                    </a:lnTo>
                    <a:lnTo>
                      <a:pt x="3464" y="282"/>
                    </a:lnTo>
                    <a:lnTo>
                      <a:pt x="3466" y="278"/>
                    </a:lnTo>
                    <a:lnTo>
                      <a:pt x="3464" y="272"/>
                    </a:lnTo>
                    <a:lnTo>
                      <a:pt x="3458" y="266"/>
                    </a:lnTo>
                    <a:lnTo>
                      <a:pt x="3458" y="266"/>
                    </a:lnTo>
                    <a:lnTo>
                      <a:pt x="3452" y="260"/>
                    </a:lnTo>
                    <a:lnTo>
                      <a:pt x="3452" y="258"/>
                    </a:lnTo>
                    <a:lnTo>
                      <a:pt x="3452" y="258"/>
                    </a:lnTo>
                    <a:lnTo>
                      <a:pt x="3458" y="256"/>
                    </a:lnTo>
                    <a:lnTo>
                      <a:pt x="3466" y="256"/>
                    </a:lnTo>
                    <a:lnTo>
                      <a:pt x="3476" y="256"/>
                    </a:lnTo>
                    <a:lnTo>
                      <a:pt x="3484" y="254"/>
                    </a:lnTo>
                    <a:lnTo>
                      <a:pt x="3492" y="250"/>
                    </a:lnTo>
                    <a:lnTo>
                      <a:pt x="3494" y="248"/>
                    </a:lnTo>
                    <a:lnTo>
                      <a:pt x="3496" y="242"/>
                    </a:lnTo>
                    <a:lnTo>
                      <a:pt x="3496" y="242"/>
                    </a:lnTo>
                    <a:lnTo>
                      <a:pt x="3498" y="234"/>
                    </a:lnTo>
                    <a:lnTo>
                      <a:pt x="3496" y="230"/>
                    </a:lnTo>
                    <a:lnTo>
                      <a:pt x="3492" y="228"/>
                    </a:lnTo>
                    <a:lnTo>
                      <a:pt x="3488" y="226"/>
                    </a:lnTo>
                    <a:lnTo>
                      <a:pt x="3486" y="224"/>
                    </a:lnTo>
                    <a:lnTo>
                      <a:pt x="3484" y="222"/>
                    </a:lnTo>
                    <a:lnTo>
                      <a:pt x="3484" y="220"/>
                    </a:lnTo>
                    <a:lnTo>
                      <a:pt x="3490" y="214"/>
                    </a:lnTo>
                    <a:lnTo>
                      <a:pt x="3490" y="214"/>
                    </a:lnTo>
                    <a:lnTo>
                      <a:pt x="3492" y="206"/>
                    </a:lnTo>
                    <a:lnTo>
                      <a:pt x="3492" y="204"/>
                    </a:lnTo>
                    <a:lnTo>
                      <a:pt x="3486" y="202"/>
                    </a:lnTo>
                    <a:lnTo>
                      <a:pt x="3480" y="200"/>
                    </a:lnTo>
                    <a:lnTo>
                      <a:pt x="3472" y="198"/>
                    </a:lnTo>
                    <a:lnTo>
                      <a:pt x="3464" y="196"/>
                    </a:lnTo>
                    <a:lnTo>
                      <a:pt x="3458" y="192"/>
                    </a:lnTo>
                    <a:lnTo>
                      <a:pt x="3454" y="182"/>
                    </a:lnTo>
                    <a:lnTo>
                      <a:pt x="3454" y="182"/>
                    </a:lnTo>
                    <a:lnTo>
                      <a:pt x="3452" y="174"/>
                    </a:lnTo>
                    <a:lnTo>
                      <a:pt x="3446" y="170"/>
                    </a:lnTo>
                    <a:lnTo>
                      <a:pt x="3438" y="168"/>
                    </a:lnTo>
                    <a:lnTo>
                      <a:pt x="3428" y="168"/>
                    </a:lnTo>
                    <a:lnTo>
                      <a:pt x="3404" y="166"/>
                    </a:lnTo>
                    <a:lnTo>
                      <a:pt x="3392" y="164"/>
                    </a:lnTo>
                    <a:lnTo>
                      <a:pt x="3378" y="160"/>
                    </a:lnTo>
                    <a:lnTo>
                      <a:pt x="3378" y="160"/>
                    </a:lnTo>
                    <a:lnTo>
                      <a:pt x="3360" y="152"/>
                    </a:lnTo>
                    <a:lnTo>
                      <a:pt x="3356" y="152"/>
                    </a:lnTo>
                    <a:lnTo>
                      <a:pt x="3354" y="152"/>
                    </a:lnTo>
                    <a:lnTo>
                      <a:pt x="3348" y="156"/>
                    </a:lnTo>
                    <a:lnTo>
                      <a:pt x="3344" y="158"/>
                    </a:lnTo>
                    <a:lnTo>
                      <a:pt x="3334" y="158"/>
                    </a:lnTo>
                    <a:lnTo>
                      <a:pt x="3334" y="158"/>
                    </a:lnTo>
                    <a:lnTo>
                      <a:pt x="3326" y="160"/>
                    </a:lnTo>
                    <a:lnTo>
                      <a:pt x="3320" y="164"/>
                    </a:lnTo>
                    <a:lnTo>
                      <a:pt x="3318" y="172"/>
                    </a:lnTo>
                    <a:lnTo>
                      <a:pt x="3318" y="180"/>
                    </a:lnTo>
                    <a:lnTo>
                      <a:pt x="3322" y="190"/>
                    </a:lnTo>
                    <a:lnTo>
                      <a:pt x="3326" y="198"/>
                    </a:lnTo>
                    <a:lnTo>
                      <a:pt x="3330" y="206"/>
                    </a:lnTo>
                    <a:lnTo>
                      <a:pt x="3338" y="210"/>
                    </a:lnTo>
                    <a:lnTo>
                      <a:pt x="3338" y="210"/>
                    </a:lnTo>
                    <a:lnTo>
                      <a:pt x="3342" y="212"/>
                    </a:lnTo>
                    <a:lnTo>
                      <a:pt x="3346" y="216"/>
                    </a:lnTo>
                    <a:lnTo>
                      <a:pt x="3346" y="222"/>
                    </a:lnTo>
                    <a:lnTo>
                      <a:pt x="3344" y="226"/>
                    </a:lnTo>
                    <a:lnTo>
                      <a:pt x="3342" y="230"/>
                    </a:lnTo>
                    <a:lnTo>
                      <a:pt x="3338" y="232"/>
                    </a:lnTo>
                    <a:lnTo>
                      <a:pt x="3332" y="234"/>
                    </a:lnTo>
                    <a:lnTo>
                      <a:pt x="3326" y="234"/>
                    </a:lnTo>
                    <a:lnTo>
                      <a:pt x="3326" y="234"/>
                    </a:lnTo>
                    <a:lnTo>
                      <a:pt x="3322" y="236"/>
                    </a:lnTo>
                    <a:lnTo>
                      <a:pt x="3320" y="240"/>
                    </a:lnTo>
                    <a:lnTo>
                      <a:pt x="3318" y="256"/>
                    </a:lnTo>
                    <a:lnTo>
                      <a:pt x="3318" y="266"/>
                    </a:lnTo>
                    <a:lnTo>
                      <a:pt x="3316" y="278"/>
                    </a:lnTo>
                    <a:lnTo>
                      <a:pt x="3310" y="288"/>
                    </a:lnTo>
                    <a:lnTo>
                      <a:pt x="3300" y="296"/>
                    </a:lnTo>
                    <a:lnTo>
                      <a:pt x="3300" y="296"/>
                    </a:lnTo>
                    <a:lnTo>
                      <a:pt x="3292" y="302"/>
                    </a:lnTo>
                    <a:lnTo>
                      <a:pt x="3286" y="310"/>
                    </a:lnTo>
                    <a:lnTo>
                      <a:pt x="3284" y="316"/>
                    </a:lnTo>
                    <a:lnTo>
                      <a:pt x="3282" y="322"/>
                    </a:lnTo>
                    <a:lnTo>
                      <a:pt x="3280" y="328"/>
                    </a:lnTo>
                    <a:lnTo>
                      <a:pt x="3278" y="332"/>
                    </a:lnTo>
                    <a:lnTo>
                      <a:pt x="3274" y="338"/>
                    </a:lnTo>
                    <a:lnTo>
                      <a:pt x="3264" y="342"/>
                    </a:lnTo>
                    <a:lnTo>
                      <a:pt x="3264" y="342"/>
                    </a:lnTo>
                    <a:lnTo>
                      <a:pt x="3250" y="344"/>
                    </a:lnTo>
                    <a:lnTo>
                      <a:pt x="3246" y="344"/>
                    </a:lnTo>
                    <a:lnTo>
                      <a:pt x="3244" y="340"/>
                    </a:lnTo>
                    <a:lnTo>
                      <a:pt x="3238" y="330"/>
                    </a:lnTo>
                    <a:lnTo>
                      <a:pt x="3232" y="322"/>
                    </a:lnTo>
                    <a:lnTo>
                      <a:pt x="3222" y="312"/>
                    </a:lnTo>
                    <a:lnTo>
                      <a:pt x="3222" y="312"/>
                    </a:lnTo>
                    <a:lnTo>
                      <a:pt x="3214" y="304"/>
                    </a:lnTo>
                    <a:lnTo>
                      <a:pt x="3210" y="298"/>
                    </a:lnTo>
                    <a:lnTo>
                      <a:pt x="3212" y="292"/>
                    </a:lnTo>
                    <a:lnTo>
                      <a:pt x="3216" y="288"/>
                    </a:lnTo>
                    <a:lnTo>
                      <a:pt x="3226" y="280"/>
                    </a:lnTo>
                    <a:lnTo>
                      <a:pt x="3232" y="276"/>
                    </a:lnTo>
                    <a:lnTo>
                      <a:pt x="3234" y="270"/>
                    </a:lnTo>
                    <a:lnTo>
                      <a:pt x="3234" y="270"/>
                    </a:lnTo>
                    <a:lnTo>
                      <a:pt x="3232" y="260"/>
                    </a:lnTo>
                    <a:lnTo>
                      <a:pt x="3228" y="248"/>
                    </a:lnTo>
                    <a:lnTo>
                      <a:pt x="3220" y="234"/>
                    </a:lnTo>
                    <a:lnTo>
                      <a:pt x="3212" y="220"/>
                    </a:lnTo>
                    <a:lnTo>
                      <a:pt x="3200" y="210"/>
                    </a:lnTo>
                    <a:lnTo>
                      <a:pt x="3190" y="202"/>
                    </a:lnTo>
                    <a:lnTo>
                      <a:pt x="3184" y="200"/>
                    </a:lnTo>
                    <a:lnTo>
                      <a:pt x="3178" y="200"/>
                    </a:lnTo>
                    <a:lnTo>
                      <a:pt x="3172" y="202"/>
                    </a:lnTo>
                    <a:lnTo>
                      <a:pt x="3168" y="206"/>
                    </a:lnTo>
                    <a:lnTo>
                      <a:pt x="3168" y="206"/>
                    </a:lnTo>
                    <a:lnTo>
                      <a:pt x="3158" y="216"/>
                    </a:lnTo>
                    <a:lnTo>
                      <a:pt x="3154" y="230"/>
                    </a:lnTo>
                    <a:lnTo>
                      <a:pt x="3148" y="254"/>
                    </a:lnTo>
                    <a:lnTo>
                      <a:pt x="3146" y="262"/>
                    </a:lnTo>
                    <a:lnTo>
                      <a:pt x="3142" y="268"/>
                    </a:lnTo>
                    <a:lnTo>
                      <a:pt x="3140" y="268"/>
                    </a:lnTo>
                    <a:lnTo>
                      <a:pt x="3138" y="268"/>
                    </a:lnTo>
                    <a:lnTo>
                      <a:pt x="3130" y="260"/>
                    </a:lnTo>
                    <a:lnTo>
                      <a:pt x="3130" y="260"/>
                    </a:lnTo>
                    <a:lnTo>
                      <a:pt x="3124" y="252"/>
                    </a:lnTo>
                    <a:lnTo>
                      <a:pt x="3122" y="246"/>
                    </a:lnTo>
                    <a:lnTo>
                      <a:pt x="3122" y="242"/>
                    </a:lnTo>
                    <a:lnTo>
                      <a:pt x="3124" y="238"/>
                    </a:lnTo>
                    <a:lnTo>
                      <a:pt x="3126" y="236"/>
                    </a:lnTo>
                    <a:lnTo>
                      <a:pt x="3128" y="232"/>
                    </a:lnTo>
                    <a:lnTo>
                      <a:pt x="3124" y="226"/>
                    </a:lnTo>
                    <a:lnTo>
                      <a:pt x="3118" y="216"/>
                    </a:lnTo>
                    <a:lnTo>
                      <a:pt x="3118" y="216"/>
                    </a:lnTo>
                    <a:lnTo>
                      <a:pt x="3112" y="208"/>
                    </a:lnTo>
                    <a:lnTo>
                      <a:pt x="3110" y="204"/>
                    </a:lnTo>
                    <a:lnTo>
                      <a:pt x="3110" y="202"/>
                    </a:lnTo>
                    <a:lnTo>
                      <a:pt x="3114" y="198"/>
                    </a:lnTo>
                    <a:lnTo>
                      <a:pt x="3120" y="194"/>
                    </a:lnTo>
                    <a:lnTo>
                      <a:pt x="3126" y="192"/>
                    </a:lnTo>
                    <a:lnTo>
                      <a:pt x="3128" y="190"/>
                    </a:lnTo>
                    <a:lnTo>
                      <a:pt x="3126" y="186"/>
                    </a:lnTo>
                    <a:lnTo>
                      <a:pt x="3116" y="180"/>
                    </a:lnTo>
                    <a:lnTo>
                      <a:pt x="3116" y="180"/>
                    </a:lnTo>
                    <a:lnTo>
                      <a:pt x="3104" y="174"/>
                    </a:lnTo>
                    <a:lnTo>
                      <a:pt x="3094" y="172"/>
                    </a:lnTo>
                    <a:lnTo>
                      <a:pt x="3088" y="172"/>
                    </a:lnTo>
                    <a:lnTo>
                      <a:pt x="3082" y="174"/>
                    </a:lnTo>
                    <a:lnTo>
                      <a:pt x="3076" y="176"/>
                    </a:lnTo>
                    <a:lnTo>
                      <a:pt x="3070" y="178"/>
                    </a:lnTo>
                    <a:lnTo>
                      <a:pt x="3064" y="176"/>
                    </a:lnTo>
                    <a:lnTo>
                      <a:pt x="3054" y="172"/>
                    </a:lnTo>
                    <a:lnTo>
                      <a:pt x="3054" y="172"/>
                    </a:lnTo>
                    <a:lnTo>
                      <a:pt x="3050" y="170"/>
                    </a:lnTo>
                    <a:lnTo>
                      <a:pt x="3048" y="168"/>
                    </a:lnTo>
                    <a:lnTo>
                      <a:pt x="3048" y="164"/>
                    </a:lnTo>
                    <a:lnTo>
                      <a:pt x="3048" y="162"/>
                    </a:lnTo>
                    <a:lnTo>
                      <a:pt x="3054" y="154"/>
                    </a:lnTo>
                    <a:lnTo>
                      <a:pt x="3062" y="148"/>
                    </a:lnTo>
                    <a:lnTo>
                      <a:pt x="3076" y="134"/>
                    </a:lnTo>
                    <a:lnTo>
                      <a:pt x="3080" y="130"/>
                    </a:lnTo>
                    <a:lnTo>
                      <a:pt x="3080" y="126"/>
                    </a:lnTo>
                    <a:lnTo>
                      <a:pt x="3078" y="124"/>
                    </a:lnTo>
                    <a:lnTo>
                      <a:pt x="3078" y="124"/>
                    </a:lnTo>
                    <a:lnTo>
                      <a:pt x="3064" y="114"/>
                    </a:lnTo>
                    <a:lnTo>
                      <a:pt x="3046" y="102"/>
                    </a:lnTo>
                    <a:lnTo>
                      <a:pt x="3038" y="94"/>
                    </a:lnTo>
                    <a:lnTo>
                      <a:pt x="3032" y="86"/>
                    </a:lnTo>
                    <a:lnTo>
                      <a:pt x="3028" y="78"/>
                    </a:lnTo>
                    <a:lnTo>
                      <a:pt x="3026" y="66"/>
                    </a:lnTo>
                    <a:lnTo>
                      <a:pt x="3026" y="66"/>
                    </a:lnTo>
                    <a:lnTo>
                      <a:pt x="3026" y="62"/>
                    </a:lnTo>
                    <a:lnTo>
                      <a:pt x="3026" y="56"/>
                    </a:lnTo>
                    <a:lnTo>
                      <a:pt x="3020" y="44"/>
                    </a:lnTo>
                    <a:lnTo>
                      <a:pt x="3010" y="34"/>
                    </a:lnTo>
                    <a:lnTo>
                      <a:pt x="2998" y="24"/>
                    </a:lnTo>
                    <a:lnTo>
                      <a:pt x="2986" y="14"/>
                    </a:lnTo>
                    <a:lnTo>
                      <a:pt x="2972" y="8"/>
                    </a:lnTo>
                    <a:lnTo>
                      <a:pt x="2960" y="2"/>
                    </a:lnTo>
                    <a:lnTo>
                      <a:pt x="2948" y="0"/>
                    </a:lnTo>
                    <a:lnTo>
                      <a:pt x="2948" y="0"/>
                    </a:lnTo>
                    <a:lnTo>
                      <a:pt x="2940" y="0"/>
                    </a:lnTo>
                    <a:lnTo>
                      <a:pt x="2936" y="2"/>
                    </a:lnTo>
                    <a:lnTo>
                      <a:pt x="2934" y="4"/>
                    </a:lnTo>
                    <a:lnTo>
                      <a:pt x="2932" y="8"/>
                    </a:lnTo>
                    <a:lnTo>
                      <a:pt x="2932" y="12"/>
                    </a:lnTo>
                    <a:lnTo>
                      <a:pt x="2928" y="16"/>
                    </a:lnTo>
                    <a:lnTo>
                      <a:pt x="2924" y="20"/>
                    </a:lnTo>
                    <a:lnTo>
                      <a:pt x="2916" y="22"/>
                    </a:lnTo>
                    <a:lnTo>
                      <a:pt x="2916" y="22"/>
                    </a:lnTo>
                    <a:lnTo>
                      <a:pt x="2908" y="26"/>
                    </a:lnTo>
                    <a:lnTo>
                      <a:pt x="2904" y="28"/>
                    </a:lnTo>
                    <a:lnTo>
                      <a:pt x="2902" y="30"/>
                    </a:lnTo>
                    <a:lnTo>
                      <a:pt x="2902" y="34"/>
                    </a:lnTo>
                    <a:lnTo>
                      <a:pt x="2902" y="38"/>
                    </a:lnTo>
                    <a:lnTo>
                      <a:pt x="2900" y="42"/>
                    </a:lnTo>
                    <a:lnTo>
                      <a:pt x="2894" y="46"/>
                    </a:lnTo>
                    <a:lnTo>
                      <a:pt x="2886" y="50"/>
                    </a:lnTo>
                    <a:lnTo>
                      <a:pt x="2886" y="50"/>
                    </a:lnTo>
                    <a:lnTo>
                      <a:pt x="2878" y="56"/>
                    </a:lnTo>
                    <a:lnTo>
                      <a:pt x="2876" y="62"/>
                    </a:lnTo>
                    <a:lnTo>
                      <a:pt x="2876" y="70"/>
                    </a:lnTo>
                    <a:lnTo>
                      <a:pt x="2878" y="80"/>
                    </a:lnTo>
                    <a:lnTo>
                      <a:pt x="2886" y="98"/>
                    </a:lnTo>
                    <a:lnTo>
                      <a:pt x="2888" y="106"/>
                    </a:lnTo>
                    <a:lnTo>
                      <a:pt x="2886" y="114"/>
                    </a:lnTo>
                    <a:lnTo>
                      <a:pt x="2886" y="114"/>
                    </a:lnTo>
                    <a:lnTo>
                      <a:pt x="2884" y="128"/>
                    </a:lnTo>
                    <a:lnTo>
                      <a:pt x="2884" y="136"/>
                    </a:lnTo>
                    <a:lnTo>
                      <a:pt x="2886" y="142"/>
                    </a:lnTo>
                    <a:lnTo>
                      <a:pt x="2890" y="150"/>
                    </a:lnTo>
                    <a:lnTo>
                      <a:pt x="2898" y="156"/>
                    </a:lnTo>
                    <a:lnTo>
                      <a:pt x="2910" y="162"/>
                    </a:lnTo>
                    <a:lnTo>
                      <a:pt x="2924" y="168"/>
                    </a:lnTo>
                    <a:lnTo>
                      <a:pt x="2924" y="168"/>
                    </a:lnTo>
                    <a:lnTo>
                      <a:pt x="2940" y="172"/>
                    </a:lnTo>
                    <a:lnTo>
                      <a:pt x="2954" y="180"/>
                    </a:lnTo>
                    <a:lnTo>
                      <a:pt x="2964" y="186"/>
                    </a:lnTo>
                    <a:lnTo>
                      <a:pt x="2970" y="194"/>
                    </a:lnTo>
                    <a:lnTo>
                      <a:pt x="2974" y="202"/>
                    </a:lnTo>
                    <a:lnTo>
                      <a:pt x="2974" y="208"/>
                    </a:lnTo>
                    <a:lnTo>
                      <a:pt x="2972" y="214"/>
                    </a:lnTo>
                    <a:lnTo>
                      <a:pt x="2966" y="218"/>
                    </a:lnTo>
                    <a:lnTo>
                      <a:pt x="2966" y="218"/>
                    </a:lnTo>
                    <a:lnTo>
                      <a:pt x="2958" y="222"/>
                    </a:lnTo>
                    <a:lnTo>
                      <a:pt x="2954" y="226"/>
                    </a:lnTo>
                    <a:lnTo>
                      <a:pt x="2954" y="232"/>
                    </a:lnTo>
                    <a:lnTo>
                      <a:pt x="2956" y="234"/>
                    </a:lnTo>
                    <a:lnTo>
                      <a:pt x="2960" y="238"/>
                    </a:lnTo>
                    <a:lnTo>
                      <a:pt x="2966" y="238"/>
                    </a:lnTo>
                    <a:lnTo>
                      <a:pt x="2972" y="236"/>
                    </a:lnTo>
                    <a:lnTo>
                      <a:pt x="2980" y="234"/>
                    </a:lnTo>
                    <a:lnTo>
                      <a:pt x="2980" y="234"/>
                    </a:lnTo>
                    <a:lnTo>
                      <a:pt x="2986" y="230"/>
                    </a:lnTo>
                    <a:lnTo>
                      <a:pt x="2992" y="230"/>
                    </a:lnTo>
                    <a:lnTo>
                      <a:pt x="2996" y="232"/>
                    </a:lnTo>
                    <a:lnTo>
                      <a:pt x="2996" y="238"/>
                    </a:lnTo>
                    <a:lnTo>
                      <a:pt x="2994" y="246"/>
                    </a:lnTo>
                    <a:lnTo>
                      <a:pt x="2988" y="254"/>
                    </a:lnTo>
                    <a:lnTo>
                      <a:pt x="2980" y="262"/>
                    </a:lnTo>
                    <a:lnTo>
                      <a:pt x="2968" y="272"/>
                    </a:lnTo>
                    <a:lnTo>
                      <a:pt x="2968" y="272"/>
                    </a:lnTo>
                    <a:lnTo>
                      <a:pt x="2956" y="280"/>
                    </a:lnTo>
                    <a:lnTo>
                      <a:pt x="2946" y="282"/>
                    </a:lnTo>
                    <a:lnTo>
                      <a:pt x="2940" y="284"/>
                    </a:lnTo>
                    <a:lnTo>
                      <a:pt x="2934" y="282"/>
                    </a:lnTo>
                    <a:lnTo>
                      <a:pt x="2930" y="280"/>
                    </a:lnTo>
                    <a:lnTo>
                      <a:pt x="2928" y="282"/>
                    </a:lnTo>
                    <a:lnTo>
                      <a:pt x="2926" y="284"/>
                    </a:lnTo>
                    <a:lnTo>
                      <a:pt x="2922" y="290"/>
                    </a:lnTo>
                    <a:lnTo>
                      <a:pt x="2922" y="290"/>
                    </a:lnTo>
                    <a:lnTo>
                      <a:pt x="2920" y="300"/>
                    </a:lnTo>
                    <a:lnTo>
                      <a:pt x="2924" y="312"/>
                    </a:lnTo>
                    <a:lnTo>
                      <a:pt x="2930" y="334"/>
                    </a:lnTo>
                    <a:lnTo>
                      <a:pt x="2934" y="342"/>
                    </a:lnTo>
                    <a:lnTo>
                      <a:pt x="2934" y="348"/>
                    </a:lnTo>
                    <a:lnTo>
                      <a:pt x="2934" y="350"/>
                    </a:lnTo>
                    <a:lnTo>
                      <a:pt x="2930" y="348"/>
                    </a:lnTo>
                    <a:lnTo>
                      <a:pt x="2922" y="344"/>
                    </a:lnTo>
                    <a:lnTo>
                      <a:pt x="2922" y="344"/>
                    </a:lnTo>
                    <a:lnTo>
                      <a:pt x="2902" y="330"/>
                    </a:lnTo>
                    <a:lnTo>
                      <a:pt x="2896" y="326"/>
                    </a:lnTo>
                    <a:lnTo>
                      <a:pt x="2892" y="320"/>
                    </a:lnTo>
                    <a:lnTo>
                      <a:pt x="2892" y="316"/>
                    </a:lnTo>
                    <a:lnTo>
                      <a:pt x="2892" y="312"/>
                    </a:lnTo>
                    <a:lnTo>
                      <a:pt x="2896" y="298"/>
                    </a:lnTo>
                    <a:lnTo>
                      <a:pt x="2896" y="298"/>
                    </a:lnTo>
                    <a:lnTo>
                      <a:pt x="2900" y="286"/>
                    </a:lnTo>
                    <a:lnTo>
                      <a:pt x="2902" y="280"/>
                    </a:lnTo>
                    <a:lnTo>
                      <a:pt x="2900" y="276"/>
                    </a:lnTo>
                    <a:lnTo>
                      <a:pt x="2898" y="272"/>
                    </a:lnTo>
                    <a:lnTo>
                      <a:pt x="2892" y="270"/>
                    </a:lnTo>
                    <a:lnTo>
                      <a:pt x="2886" y="270"/>
                    </a:lnTo>
                    <a:lnTo>
                      <a:pt x="2876" y="270"/>
                    </a:lnTo>
                    <a:lnTo>
                      <a:pt x="2876" y="270"/>
                    </a:lnTo>
                    <a:lnTo>
                      <a:pt x="2866" y="270"/>
                    </a:lnTo>
                    <a:lnTo>
                      <a:pt x="2858" y="268"/>
                    </a:lnTo>
                    <a:lnTo>
                      <a:pt x="2844" y="260"/>
                    </a:lnTo>
                    <a:lnTo>
                      <a:pt x="2838" y="256"/>
                    </a:lnTo>
                    <a:lnTo>
                      <a:pt x="2830" y="254"/>
                    </a:lnTo>
                    <a:lnTo>
                      <a:pt x="2820" y="254"/>
                    </a:lnTo>
                    <a:lnTo>
                      <a:pt x="2810" y="258"/>
                    </a:lnTo>
                    <a:lnTo>
                      <a:pt x="2810" y="258"/>
                    </a:lnTo>
                    <a:lnTo>
                      <a:pt x="2800" y="264"/>
                    </a:lnTo>
                    <a:lnTo>
                      <a:pt x="2796" y="272"/>
                    </a:lnTo>
                    <a:lnTo>
                      <a:pt x="2796" y="278"/>
                    </a:lnTo>
                    <a:lnTo>
                      <a:pt x="2796" y="286"/>
                    </a:lnTo>
                    <a:lnTo>
                      <a:pt x="2798" y="292"/>
                    </a:lnTo>
                    <a:lnTo>
                      <a:pt x="2798" y="298"/>
                    </a:lnTo>
                    <a:lnTo>
                      <a:pt x="2794" y="304"/>
                    </a:lnTo>
                    <a:lnTo>
                      <a:pt x="2786" y="308"/>
                    </a:lnTo>
                    <a:lnTo>
                      <a:pt x="2786" y="308"/>
                    </a:lnTo>
                    <a:lnTo>
                      <a:pt x="2778" y="310"/>
                    </a:lnTo>
                    <a:lnTo>
                      <a:pt x="2772" y="308"/>
                    </a:lnTo>
                    <a:lnTo>
                      <a:pt x="2760" y="302"/>
                    </a:lnTo>
                    <a:lnTo>
                      <a:pt x="2752" y="300"/>
                    </a:lnTo>
                    <a:lnTo>
                      <a:pt x="2742" y="298"/>
                    </a:lnTo>
                    <a:lnTo>
                      <a:pt x="2726" y="298"/>
                    </a:lnTo>
                    <a:lnTo>
                      <a:pt x="2708" y="302"/>
                    </a:lnTo>
                    <a:lnTo>
                      <a:pt x="2708" y="302"/>
                    </a:lnTo>
                    <a:lnTo>
                      <a:pt x="2680" y="306"/>
                    </a:lnTo>
                    <a:lnTo>
                      <a:pt x="2658" y="306"/>
                    </a:lnTo>
                    <a:lnTo>
                      <a:pt x="2640" y="302"/>
                    </a:lnTo>
                    <a:lnTo>
                      <a:pt x="2626" y="298"/>
                    </a:lnTo>
                    <a:lnTo>
                      <a:pt x="2606" y="286"/>
                    </a:lnTo>
                    <a:lnTo>
                      <a:pt x="2598" y="284"/>
                    </a:lnTo>
                    <a:lnTo>
                      <a:pt x="2590" y="286"/>
                    </a:lnTo>
                    <a:lnTo>
                      <a:pt x="2590" y="286"/>
                    </a:lnTo>
                    <a:lnTo>
                      <a:pt x="2580" y="288"/>
                    </a:lnTo>
                    <a:lnTo>
                      <a:pt x="2572" y="288"/>
                    </a:lnTo>
                    <a:lnTo>
                      <a:pt x="2564" y="286"/>
                    </a:lnTo>
                    <a:lnTo>
                      <a:pt x="2556" y="282"/>
                    </a:lnTo>
                    <a:lnTo>
                      <a:pt x="2544" y="272"/>
                    </a:lnTo>
                    <a:lnTo>
                      <a:pt x="2532" y="260"/>
                    </a:lnTo>
                    <a:lnTo>
                      <a:pt x="2520" y="246"/>
                    </a:lnTo>
                    <a:lnTo>
                      <a:pt x="2510" y="234"/>
                    </a:lnTo>
                    <a:lnTo>
                      <a:pt x="2504" y="230"/>
                    </a:lnTo>
                    <a:lnTo>
                      <a:pt x="2498" y="226"/>
                    </a:lnTo>
                    <a:lnTo>
                      <a:pt x="2492" y="224"/>
                    </a:lnTo>
                    <a:lnTo>
                      <a:pt x="2486" y="224"/>
                    </a:lnTo>
                    <a:lnTo>
                      <a:pt x="2486" y="224"/>
                    </a:lnTo>
                    <a:lnTo>
                      <a:pt x="2456" y="230"/>
                    </a:lnTo>
                    <a:lnTo>
                      <a:pt x="2438" y="234"/>
                    </a:lnTo>
                    <a:lnTo>
                      <a:pt x="2422" y="240"/>
                    </a:lnTo>
                    <a:lnTo>
                      <a:pt x="2408" y="246"/>
                    </a:lnTo>
                    <a:lnTo>
                      <a:pt x="2398" y="252"/>
                    </a:lnTo>
                    <a:lnTo>
                      <a:pt x="2394" y="256"/>
                    </a:lnTo>
                    <a:lnTo>
                      <a:pt x="2392" y="262"/>
                    </a:lnTo>
                    <a:lnTo>
                      <a:pt x="2392" y="266"/>
                    </a:lnTo>
                    <a:lnTo>
                      <a:pt x="2394" y="270"/>
                    </a:lnTo>
                    <a:lnTo>
                      <a:pt x="2394" y="270"/>
                    </a:lnTo>
                    <a:lnTo>
                      <a:pt x="2398" y="274"/>
                    </a:lnTo>
                    <a:lnTo>
                      <a:pt x="2400" y="278"/>
                    </a:lnTo>
                    <a:lnTo>
                      <a:pt x="2406" y="280"/>
                    </a:lnTo>
                    <a:lnTo>
                      <a:pt x="2410" y="280"/>
                    </a:lnTo>
                    <a:lnTo>
                      <a:pt x="2420" y="278"/>
                    </a:lnTo>
                    <a:lnTo>
                      <a:pt x="2432" y="274"/>
                    </a:lnTo>
                    <a:lnTo>
                      <a:pt x="2456" y="264"/>
                    </a:lnTo>
                    <a:lnTo>
                      <a:pt x="2464" y="262"/>
                    </a:lnTo>
                    <a:lnTo>
                      <a:pt x="2468" y="262"/>
                    </a:lnTo>
                    <a:lnTo>
                      <a:pt x="2472" y="264"/>
                    </a:lnTo>
                    <a:lnTo>
                      <a:pt x="2472" y="264"/>
                    </a:lnTo>
                    <a:lnTo>
                      <a:pt x="2474" y="266"/>
                    </a:lnTo>
                    <a:lnTo>
                      <a:pt x="2476" y="268"/>
                    </a:lnTo>
                    <a:lnTo>
                      <a:pt x="2472" y="272"/>
                    </a:lnTo>
                    <a:lnTo>
                      <a:pt x="2456" y="278"/>
                    </a:lnTo>
                    <a:lnTo>
                      <a:pt x="2436" y="286"/>
                    </a:lnTo>
                    <a:lnTo>
                      <a:pt x="2428" y="292"/>
                    </a:lnTo>
                    <a:lnTo>
                      <a:pt x="2422" y="298"/>
                    </a:lnTo>
                    <a:lnTo>
                      <a:pt x="2422" y="298"/>
                    </a:lnTo>
                    <a:lnTo>
                      <a:pt x="2422" y="304"/>
                    </a:lnTo>
                    <a:lnTo>
                      <a:pt x="2424" y="308"/>
                    </a:lnTo>
                    <a:lnTo>
                      <a:pt x="2428" y="320"/>
                    </a:lnTo>
                    <a:lnTo>
                      <a:pt x="2440" y="342"/>
                    </a:lnTo>
                    <a:lnTo>
                      <a:pt x="2444" y="350"/>
                    </a:lnTo>
                    <a:lnTo>
                      <a:pt x="2444" y="352"/>
                    </a:lnTo>
                    <a:lnTo>
                      <a:pt x="2444" y="354"/>
                    </a:lnTo>
                    <a:lnTo>
                      <a:pt x="2436" y="350"/>
                    </a:lnTo>
                    <a:lnTo>
                      <a:pt x="2418" y="340"/>
                    </a:lnTo>
                    <a:lnTo>
                      <a:pt x="2418" y="340"/>
                    </a:lnTo>
                    <a:lnTo>
                      <a:pt x="2398" y="326"/>
                    </a:lnTo>
                    <a:lnTo>
                      <a:pt x="2382" y="318"/>
                    </a:lnTo>
                    <a:lnTo>
                      <a:pt x="2364" y="310"/>
                    </a:lnTo>
                    <a:lnTo>
                      <a:pt x="2354" y="306"/>
                    </a:lnTo>
                    <a:lnTo>
                      <a:pt x="2348" y="302"/>
                    </a:lnTo>
                    <a:lnTo>
                      <a:pt x="2340" y="294"/>
                    </a:lnTo>
                    <a:lnTo>
                      <a:pt x="2340" y="294"/>
                    </a:lnTo>
                    <a:lnTo>
                      <a:pt x="2334" y="288"/>
                    </a:lnTo>
                    <a:lnTo>
                      <a:pt x="2330" y="286"/>
                    </a:lnTo>
                    <a:lnTo>
                      <a:pt x="2326" y="288"/>
                    </a:lnTo>
                    <a:lnTo>
                      <a:pt x="2320" y="290"/>
                    </a:lnTo>
                    <a:lnTo>
                      <a:pt x="2314" y="296"/>
                    </a:lnTo>
                    <a:lnTo>
                      <a:pt x="2304" y="300"/>
                    </a:lnTo>
                    <a:lnTo>
                      <a:pt x="2286" y="304"/>
                    </a:lnTo>
                    <a:lnTo>
                      <a:pt x="2262" y="308"/>
                    </a:lnTo>
                    <a:lnTo>
                      <a:pt x="2262" y="308"/>
                    </a:lnTo>
                    <a:lnTo>
                      <a:pt x="2206" y="308"/>
                    </a:lnTo>
                    <a:lnTo>
                      <a:pt x="2180" y="308"/>
                    </a:lnTo>
                    <a:lnTo>
                      <a:pt x="2156" y="306"/>
                    </a:lnTo>
                    <a:lnTo>
                      <a:pt x="2140" y="302"/>
                    </a:lnTo>
                    <a:lnTo>
                      <a:pt x="2128" y="298"/>
                    </a:lnTo>
                    <a:lnTo>
                      <a:pt x="2124" y="296"/>
                    </a:lnTo>
                    <a:lnTo>
                      <a:pt x="2124" y="292"/>
                    </a:lnTo>
                    <a:lnTo>
                      <a:pt x="2126" y="288"/>
                    </a:lnTo>
                    <a:lnTo>
                      <a:pt x="2130" y="284"/>
                    </a:lnTo>
                    <a:lnTo>
                      <a:pt x="2130" y="284"/>
                    </a:lnTo>
                    <a:lnTo>
                      <a:pt x="2142" y="278"/>
                    </a:lnTo>
                    <a:lnTo>
                      <a:pt x="2154" y="274"/>
                    </a:lnTo>
                    <a:lnTo>
                      <a:pt x="2172" y="272"/>
                    </a:lnTo>
                    <a:lnTo>
                      <a:pt x="2178" y="270"/>
                    </a:lnTo>
                    <a:lnTo>
                      <a:pt x="2180" y="268"/>
                    </a:lnTo>
                    <a:lnTo>
                      <a:pt x="2178" y="264"/>
                    </a:lnTo>
                    <a:lnTo>
                      <a:pt x="2170" y="256"/>
                    </a:lnTo>
                    <a:lnTo>
                      <a:pt x="2170" y="256"/>
                    </a:lnTo>
                    <a:lnTo>
                      <a:pt x="2154" y="240"/>
                    </a:lnTo>
                    <a:lnTo>
                      <a:pt x="2144" y="232"/>
                    </a:lnTo>
                    <a:lnTo>
                      <a:pt x="2134" y="228"/>
                    </a:lnTo>
                    <a:lnTo>
                      <a:pt x="2124" y="222"/>
                    </a:lnTo>
                    <a:lnTo>
                      <a:pt x="2110" y="220"/>
                    </a:lnTo>
                    <a:lnTo>
                      <a:pt x="2096" y="220"/>
                    </a:lnTo>
                    <a:lnTo>
                      <a:pt x="2080" y="220"/>
                    </a:lnTo>
                    <a:lnTo>
                      <a:pt x="2080" y="220"/>
                    </a:lnTo>
                    <a:lnTo>
                      <a:pt x="2064" y="222"/>
                    </a:lnTo>
                    <a:lnTo>
                      <a:pt x="2046" y="220"/>
                    </a:lnTo>
                    <a:lnTo>
                      <a:pt x="2030" y="218"/>
                    </a:lnTo>
                    <a:lnTo>
                      <a:pt x="2014" y="212"/>
                    </a:lnTo>
                    <a:lnTo>
                      <a:pt x="1982" y="202"/>
                    </a:lnTo>
                    <a:lnTo>
                      <a:pt x="1948" y="194"/>
                    </a:lnTo>
                    <a:lnTo>
                      <a:pt x="1948" y="194"/>
                    </a:lnTo>
                    <a:lnTo>
                      <a:pt x="1932" y="190"/>
                    </a:lnTo>
                    <a:lnTo>
                      <a:pt x="1918" y="184"/>
                    </a:lnTo>
                    <a:lnTo>
                      <a:pt x="1890" y="172"/>
                    </a:lnTo>
                    <a:lnTo>
                      <a:pt x="1876" y="166"/>
                    </a:lnTo>
                    <a:lnTo>
                      <a:pt x="1862" y="160"/>
                    </a:lnTo>
                    <a:lnTo>
                      <a:pt x="1848" y="158"/>
                    </a:lnTo>
                    <a:lnTo>
                      <a:pt x="1832" y="158"/>
                    </a:lnTo>
                    <a:lnTo>
                      <a:pt x="1832" y="158"/>
                    </a:lnTo>
                    <a:lnTo>
                      <a:pt x="1820" y="160"/>
                    </a:lnTo>
                    <a:lnTo>
                      <a:pt x="1812" y="164"/>
                    </a:lnTo>
                    <a:lnTo>
                      <a:pt x="1808" y="170"/>
                    </a:lnTo>
                    <a:lnTo>
                      <a:pt x="1806" y="176"/>
                    </a:lnTo>
                    <a:lnTo>
                      <a:pt x="1804" y="182"/>
                    </a:lnTo>
                    <a:lnTo>
                      <a:pt x="1800" y="186"/>
                    </a:lnTo>
                    <a:lnTo>
                      <a:pt x="1792" y="188"/>
                    </a:lnTo>
                    <a:lnTo>
                      <a:pt x="1780" y="188"/>
                    </a:lnTo>
                    <a:lnTo>
                      <a:pt x="1780" y="188"/>
                    </a:lnTo>
                    <a:lnTo>
                      <a:pt x="1774" y="186"/>
                    </a:lnTo>
                    <a:lnTo>
                      <a:pt x="1768" y="184"/>
                    </a:lnTo>
                    <a:lnTo>
                      <a:pt x="1764" y="180"/>
                    </a:lnTo>
                    <a:lnTo>
                      <a:pt x="1762" y="176"/>
                    </a:lnTo>
                    <a:lnTo>
                      <a:pt x="1760" y="166"/>
                    </a:lnTo>
                    <a:lnTo>
                      <a:pt x="1760" y="156"/>
                    </a:lnTo>
                    <a:lnTo>
                      <a:pt x="1760" y="146"/>
                    </a:lnTo>
                    <a:lnTo>
                      <a:pt x="1758" y="138"/>
                    </a:lnTo>
                    <a:lnTo>
                      <a:pt x="1756" y="136"/>
                    </a:lnTo>
                    <a:lnTo>
                      <a:pt x="1750" y="134"/>
                    </a:lnTo>
                    <a:lnTo>
                      <a:pt x="1744" y="134"/>
                    </a:lnTo>
                    <a:lnTo>
                      <a:pt x="1736" y="134"/>
                    </a:lnTo>
                    <a:lnTo>
                      <a:pt x="1736" y="134"/>
                    </a:lnTo>
                    <a:lnTo>
                      <a:pt x="1732" y="136"/>
                    </a:lnTo>
                    <a:lnTo>
                      <a:pt x="1730" y="140"/>
                    </a:lnTo>
                    <a:lnTo>
                      <a:pt x="1726" y="148"/>
                    </a:lnTo>
                    <a:lnTo>
                      <a:pt x="1724" y="172"/>
                    </a:lnTo>
                    <a:lnTo>
                      <a:pt x="1720" y="182"/>
                    </a:lnTo>
                    <a:lnTo>
                      <a:pt x="1718" y="186"/>
                    </a:lnTo>
                    <a:lnTo>
                      <a:pt x="1716" y="190"/>
                    </a:lnTo>
                    <a:lnTo>
                      <a:pt x="1712" y="190"/>
                    </a:lnTo>
                    <a:lnTo>
                      <a:pt x="1706" y="190"/>
                    </a:lnTo>
                    <a:lnTo>
                      <a:pt x="1698" y="188"/>
                    </a:lnTo>
                    <a:lnTo>
                      <a:pt x="1688" y="184"/>
                    </a:lnTo>
                    <a:lnTo>
                      <a:pt x="1688" y="184"/>
                    </a:lnTo>
                    <a:lnTo>
                      <a:pt x="1684" y="182"/>
                    </a:lnTo>
                    <a:lnTo>
                      <a:pt x="1678" y="176"/>
                    </a:lnTo>
                    <a:lnTo>
                      <a:pt x="1668" y="162"/>
                    </a:lnTo>
                    <a:lnTo>
                      <a:pt x="1650" y="132"/>
                    </a:lnTo>
                    <a:lnTo>
                      <a:pt x="1640" y="116"/>
                    </a:lnTo>
                    <a:lnTo>
                      <a:pt x="1630" y="106"/>
                    </a:lnTo>
                    <a:lnTo>
                      <a:pt x="1624" y="104"/>
                    </a:lnTo>
                    <a:lnTo>
                      <a:pt x="1620" y="102"/>
                    </a:lnTo>
                    <a:lnTo>
                      <a:pt x="1614" y="102"/>
                    </a:lnTo>
                    <a:lnTo>
                      <a:pt x="1608" y="106"/>
                    </a:lnTo>
                    <a:lnTo>
                      <a:pt x="1608" y="106"/>
                    </a:lnTo>
                    <a:lnTo>
                      <a:pt x="1600" y="114"/>
                    </a:lnTo>
                    <a:lnTo>
                      <a:pt x="1598" y="116"/>
                    </a:lnTo>
                    <a:lnTo>
                      <a:pt x="1600" y="118"/>
                    </a:lnTo>
                    <a:lnTo>
                      <a:pt x="1604" y="120"/>
                    </a:lnTo>
                    <a:lnTo>
                      <a:pt x="1610" y="122"/>
                    </a:lnTo>
                    <a:lnTo>
                      <a:pt x="1616" y="124"/>
                    </a:lnTo>
                    <a:lnTo>
                      <a:pt x="1616" y="126"/>
                    </a:lnTo>
                    <a:lnTo>
                      <a:pt x="1616" y="130"/>
                    </a:lnTo>
                    <a:lnTo>
                      <a:pt x="1610" y="138"/>
                    </a:lnTo>
                    <a:lnTo>
                      <a:pt x="1592" y="150"/>
                    </a:lnTo>
                    <a:lnTo>
                      <a:pt x="1592" y="150"/>
                    </a:lnTo>
                    <a:lnTo>
                      <a:pt x="1574" y="160"/>
                    </a:lnTo>
                    <a:lnTo>
                      <a:pt x="1572" y="160"/>
                    </a:lnTo>
                    <a:lnTo>
                      <a:pt x="1570" y="158"/>
                    </a:lnTo>
                    <a:lnTo>
                      <a:pt x="1568" y="156"/>
                    </a:lnTo>
                    <a:lnTo>
                      <a:pt x="1560" y="156"/>
                    </a:lnTo>
                    <a:lnTo>
                      <a:pt x="1546" y="160"/>
                    </a:lnTo>
                    <a:lnTo>
                      <a:pt x="1522" y="168"/>
                    </a:lnTo>
                    <a:lnTo>
                      <a:pt x="1522" y="168"/>
                    </a:lnTo>
                    <a:lnTo>
                      <a:pt x="1482" y="180"/>
                    </a:lnTo>
                    <a:lnTo>
                      <a:pt x="1476" y="182"/>
                    </a:lnTo>
                    <a:lnTo>
                      <a:pt x="1476" y="180"/>
                    </a:lnTo>
                    <a:lnTo>
                      <a:pt x="1476" y="180"/>
                    </a:lnTo>
                    <a:lnTo>
                      <a:pt x="1494" y="168"/>
                    </a:lnTo>
                    <a:lnTo>
                      <a:pt x="1526" y="152"/>
                    </a:lnTo>
                    <a:lnTo>
                      <a:pt x="1526" y="152"/>
                    </a:lnTo>
                    <a:lnTo>
                      <a:pt x="1552" y="140"/>
                    </a:lnTo>
                    <a:lnTo>
                      <a:pt x="1558" y="136"/>
                    </a:lnTo>
                    <a:lnTo>
                      <a:pt x="1560" y="132"/>
                    </a:lnTo>
                    <a:lnTo>
                      <a:pt x="1560" y="132"/>
                    </a:lnTo>
                    <a:lnTo>
                      <a:pt x="1556" y="132"/>
                    </a:lnTo>
                    <a:lnTo>
                      <a:pt x="1538" y="134"/>
                    </a:lnTo>
                    <a:lnTo>
                      <a:pt x="1538" y="134"/>
                    </a:lnTo>
                    <a:lnTo>
                      <a:pt x="1530" y="136"/>
                    </a:lnTo>
                    <a:lnTo>
                      <a:pt x="1522" y="134"/>
                    </a:lnTo>
                    <a:lnTo>
                      <a:pt x="1510" y="134"/>
                    </a:lnTo>
                    <a:lnTo>
                      <a:pt x="1506" y="134"/>
                    </a:lnTo>
                    <a:lnTo>
                      <a:pt x="1498" y="136"/>
                    </a:lnTo>
                    <a:lnTo>
                      <a:pt x="1488" y="140"/>
                    </a:lnTo>
                    <a:lnTo>
                      <a:pt x="1474" y="148"/>
                    </a:lnTo>
                    <a:lnTo>
                      <a:pt x="1474" y="148"/>
                    </a:lnTo>
                    <a:lnTo>
                      <a:pt x="1462" y="156"/>
                    </a:lnTo>
                    <a:lnTo>
                      <a:pt x="1454" y="160"/>
                    </a:lnTo>
                    <a:lnTo>
                      <a:pt x="1448" y="160"/>
                    </a:lnTo>
                    <a:lnTo>
                      <a:pt x="1442" y="162"/>
                    </a:lnTo>
                    <a:lnTo>
                      <a:pt x="1438" y="162"/>
                    </a:lnTo>
                    <a:lnTo>
                      <a:pt x="1432" y="164"/>
                    </a:lnTo>
                    <a:lnTo>
                      <a:pt x="1422" y="168"/>
                    </a:lnTo>
                    <a:lnTo>
                      <a:pt x="1406" y="178"/>
                    </a:lnTo>
                    <a:lnTo>
                      <a:pt x="1406" y="178"/>
                    </a:lnTo>
                    <a:lnTo>
                      <a:pt x="1378" y="198"/>
                    </a:lnTo>
                    <a:lnTo>
                      <a:pt x="1358" y="210"/>
                    </a:lnTo>
                    <a:lnTo>
                      <a:pt x="1352" y="214"/>
                    </a:lnTo>
                    <a:lnTo>
                      <a:pt x="1350" y="218"/>
                    </a:lnTo>
                    <a:lnTo>
                      <a:pt x="1350" y="224"/>
                    </a:lnTo>
                    <a:lnTo>
                      <a:pt x="1352" y="230"/>
                    </a:lnTo>
                    <a:lnTo>
                      <a:pt x="1352" y="230"/>
                    </a:lnTo>
                    <a:lnTo>
                      <a:pt x="1352" y="234"/>
                    </a:lnTo>
                    <a:lnTo>
                      <a:pt x="1352" y="236"/>
                    </a:lnTo>
                    <a:lnTo>
                      <a:pt x="1340" y="232"/>
                    </a:lnTo>
                    <a:lnTo>
                      <a:pt x="1332" y="230"/>
                    </a:lnTo>
                    <a:lnTo>
                      <a:pt x="1324" y="228"/>
                    </a:lnTo>
                    <a:lnTo>
                      <a:pt x="1316" y="230"/>
                    </a:lnTo>
                    <a:lnTo>
                      <a:pt x="1308" y="232"/>
                    </a:lnTo>
                    <a:lnTo>
                      <a:pt x="1308" y="232"/>
                    </a:lnTo>
                    <a:lnTo>
                      <a:pt x="1300" y="236"/>
                    </a:lnTo>
                    <a:lnTo>
                      <a:pt x="1296" y="236"/>
                    </a:lnTo>
                    <a:lnTo>
                      <a:pt x="1294" y="236"/>
                    </a:lnTo>
                    <a:lnTo>
                      <a:pt x="1290" y="232"/>
                    </a:lnTo>
                    <a:lnTo>
                      <a:pt x="1286" y="228"/>
                    </a:lnTo>
                    <a:lnTo>
                      <a:pt x="1280" y="226"/>
                    </a:lnTo>
                    <a:lnTo>
                      <a:pt x="1270" y="224"/>
                    </a:lnTo>
                    <a:lnTo>
                      <a:pt x="1258" y="222"/>
                    </a:lnTo>
                    <a:lnTo>
                      <a:pt x="1258" y="222"/>
                    </a:lnTo>
                    <a:lnTo>
                      <a:pt x="1236" y="220"/>
                    </a:lnTo>
                    <a:lnTo>
                      <a:pt x="1216" y="214"/>
                    </a:lnTo>
                    <a:lnTo>
                      <a:pt x="1198" y="206"/>
                    </a:lnTo>
                    <a:lnTo>
                      <a:pt x="1178" y="196"/>
                    </a:lnTo>
                    <a:lnTo>
                      <a:pt x="1160" y="186"/>
                    </a:lnTo>
                    <a:lnTo>
                      <a:pt x="1138" y="178"/>
                    </a:lnTo>
                    <a:lnTo>
                      <a:pt x="1114" y="172"/>
                    </a:lnTo>
                    <a:lnTo>
                      <a:pt x="1102" y="172"/>
                    </a:lnTo>
                    <a:lnTo>
                      <a:pt x="1088" y="172"/>
                    </a:lnTo>
                    <a:lnTo>
                      <a:pt x="1088" y="172"/>
                    </a:lnTo>
                    <a:lnTo>
                      <a:pt x="1074" y="170"/>
                    </a:lnTo>
                    <a:lnTo>
                      <a:pt x="1062" y="168"/>
                    </a:lnTo>
                    <a:lnTo>
                      <a:pt x="1052" y="162"/>
                    </a:lnTo>
                    <a:lnTo>
                      <a:pt x="1044" y="158"/>
                    </a:lnTo>
                    <a:lnTo>
                      <a:pt x="1036" y="152"/>
                    </a:lnTo>
                    <a:lnTo>
                      <a:pt x="1026" y="146"/>
                    </a:lnTo>
                    <a:lnTo>
                      <a:pt x="1014" y="142"/>
                    </a:lnTo>
                    <a:lnTo>
                      <a:pt x="998" y="140"/>
                    </a:lnTo>
                    <a:lnTo>
                      <a:pt x="998" y="140"/>
                    </a:lnTo>
                    <a:lnTo>
                      <a:pt x="982" y="138"/>
                    </a:lnTo>
                    <a:lnTo>
                      <a:pt x="970" y="140"/>
                    </a:lnTo>
                    <a:lnTo>
                      <a:pt x="950" y="144"/>
                    </a:lnTo>
                    <a:lnTo>
                      <a:pt x="940" y="146"/>
                    </a:lnTo>
                    <a:lnTo>
                      <a:pt x="932" y="146"/>
                    </a:lnTo>
                    <a:lnTo>
                      <a:pt x="922" y="146"/>
                    </a:lnTo>
                    <a:lnTo>
                      <a:pt x="912" y="142"/>
                    </a:lnTo>
                    <a:lnTo>
                      <a:pt x="912" y="142"/>
                    </a:lnTo>
                    <a:lnTo>
                      <a:pt x="898" y="138"/>
                    </a:lnTo>
                    <a:lnTo>
                      <a:pt x="884" y="134"/>
                    </a:lnTo>
                    <a:lnTo>
                      <a:pt x="852" y="132"/>
                    </a:lnTo>
                    <a:lnTo>
                      <a:pt x="816" y="128"/>
                    </a:lnTo>
                    <a:lnTo>
                      <a:pt x="798" y="122"/>
                    </a:lnTo>
                    <a:lnTo>
                      <a:pt x="778" y="116"/>
                    </a:lnTo>
                    <a:lnTo>
                      <a:pt x="778" y="116"/>
                    </a:lnTo>
                    <a:lnTo>
                      <a:pt x="758" y="110"/>
                    </a:lnTo>
                    <a:lnTo>
                      <a:pt x="744" y="108"/>
                    </a:lnTo>
                    <a:lnTo>
                      <a:pt x="732" y="108"/>
                    </a:lnTo>
                    <a:lnTo>
                      <a:pt x="722" y="110"/>
                    </a:lnTo>
                    <a:lnTo>
                      <a:pt x="710" y="114"/>
                    </a:lnTo>
                    <a:lnTo>
                      <a:pt x="698" y="116"/>
                    </a:lnTo>
                    <a:lnTo>
                      <a:pt x="682" y="114"/>
                    </a:lnTo>
                    <a:lnTo>
                      <a:pt x="664" y="110"/>
                    </a:lnTo>
                    <a:lnTo>
                      <a:pt x="664" y="110"/>
                    </a:lnTo>
                    <a:lnTo>
                      <a:pt x="648" y="104"/>
                    </a:lnTo>
                    <a:lnTo>
                      <a:pt x="640" y="98"/>
                    </a:lnTo>
                    <a:lnTo>
                      <a:pt x="636" y="94"/>
                    </a:lnTo>
                    <a:lnTo>
                      <a:pt x="636" y="90"/>
                    </a:lnTo>
                    <a:lnTo>
                      <a:pt x="634" y="86"/>
                    </a:lnTo>
                    <a:lnTo>
                      <a:pt x="630" y="82"/>
                    </a:lnTo>
                    <a:lnTo>
                      <a:pt x="622" y="82"/>
                    </a:lnTo>
                    <a:lnTo>
                      <a:pt x="604" y="80"/>
                    </a:lnTo>
                    <a:lnTo>
                      <a:pt x="604" y="80"/>
                    </a:lnTo>
                    <a:lnTo>
                      <a:pt x="572" y="82"/>
                    </a:lnTo>
                    <a:lnTo>
                      <a:pt x="556" y="82"/>
                    </a:lnTo>
                    <a:lnTo>
                      <a:pt x="552" y="82"/>
                    </a:lnTo>
                    <a:lnTo>
                      <a:pt x="548" y="80"/>
                    </a:lnTo>
                    <a:lnTo>
                      <a:pt x="540" y="72"/>
                    </a:lnTo>
                    <a:lnTo>
                      <a:pt x="540" y="72"/>
                    </a:lnTo>
                    <a:lnTo>
                      <a:pt x="534" y="66"/>
                    </a:lnTo>
                    <a:lnTo>
                      <a:pt x="528" y="66"/>
                    </a:lnTo>
                    <a:lnTo>
                      <a:pt x="524" y="66"/>
                    </a:lnTo>
                    <a:lnTo>
                      <a:pt x="518" y="68"/>
                    </a:lnTo>
                    <a:lnTo>
                      <a:pt x="510" y="70"/>
                    </a:lnTo>
                    <a:lnTo>
                      <a:pt x="506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488" y="56"/>
                    </a:lnTo>
                    <a:lnTo>
                      <a:pt x="482" y="52"/>
                    </a:lnTo>
                    <a:lnTo>
                      <a:pt x="474" y="50"/>
                    </a:lnTo>
                    <a:lnTo>
                      <a:pt x="466" y="50"/>
                    </a:lnTo>
                    <a:lnTo>
                      <a:pt x="456" y="52"/>
                    </a:lnTo>
                    <a:lnTo>
                      <a:pt x="444" y="58"/>
                    </a:lnTo>
                    <a:lnTo>
                      <a:pt x="432" y="68"/>
                    </a:lnTo>
                    <a:lnTo>
                      <a:pt x="432" y="68"/>
                    </a:lnTo>
                    <a:lnTo>
                      <a:pt x="418" y="78"/>
                    </a:lnTo>
                    <a:lnTo>
                      <a:pt x="404" y="82"/>
                    </a:lnTo>
                    <a:lnTo>
                      <a:pt x="392" y="84"/>
                    </a:lnTo>
                    <a:lnTo>
                      <a:pt x="378" y="84"/>
                    </a:lnTo>
                    <a:lnTo>
                      <a:pt x="364" y="84"/>
                    </a:lnTo>
                    <a:lnTo>
                      <a:pt x="348" y="86"/>
                    </a:lnTo>
                    <a:lnTo>
                      <a:pt x="330" y="94"/>
                    </a:lnTo>
                    <a:lnTo>
                      <a:pt x="310" y="106"/>
                    </a:lnTo>
                    <a:lnTo>
                      <a:pt x="310" y="106"/>
                    </a:lnTo>
                    <a:lnTo>
                      <a:pt x="300" y="114"/>
                    </a:lnTo>
                    <a:lnTo>
                      <a:pt x="290" y="120"/>
                    </a:lnTo>
                    <a:lnTo>
                      <a:pt x="282" y="122"/>
                    </a:lnTo>
                    <a:lnTo>
                      <a:pt x="274" y="124"/>
                    </a:lnTo>
                    <a:lnTo>
                      <a:pt x="260" y="126"/>
                    </a:lnTo>
                    <a:lnTo>
                      <a:pt x="250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0" y="126"/>
                    </a:lnTo>
                    <a:lnTo>
                      <a:pt x="226" y="130"/>
                    </a:lnTo>
                    <a:lnTo>
                      <a:pt x="222" y="134"/>
                    </a:lnTo>
                    <a:lnTo>
                      <a:pt x="212" y="152"/>
                    </a:lnTo>
                    <a:lnTo>
                      <a:pt x="212" y="152"/>
                    </a:lnTo>
                    <a:lnTo>
                      <a:pt x="202" y="172"/>
                    </a:lnTo>
                    <a:lnTo>
                      <a:pt x="192" y="188"/>
                    </a:lnTo>
                    <a:lnTo>
                      <a:pt x="182" y="202"/>
                    </a:lnTo>
                    <a:lnTo>
                      <a:pt x="172" y="212"/>
                    </a:lnTo>
                    <a:lnTo>
                      <a:pt x="158" y="220"/>
                    </a:lnTo>
                    <a:lnTo>
                      <a:pt x="142" y="224"/>
                    </a:lnTo>
                    <a:lnTo>
                      <a:pt x="122" y="228"/>
                    </a:lnTo>
                    <a:lnTo>
                      <a:pt x="96" y="228"/>
                    </a:lnTo>
                    <a:lnTo>
                      <a:pt x="96" y="228"/>
                    </a:lnTo>
                    <a:lnTo>
                      <a:pt x="84" y="230"/>
                    </a:lnTo>
                    <a:lnTo>
                      <a:pt x="78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4" y="244"/>
                    </a:lnTo>
                    <a:lnTo>
                      <a:pt x="72" y="250"/>
                    </a:lnTo>
                    <a:lnTo>
                      <a:pt x="66" y="254"/>
                    </a:lnTo>
                    <a:lnTo>
                      <a:pt x="58" y="258"/>
                    </a:lnTo>
                    <a:lnTo>
                      <a:pt x="58" y="258"/>
                    </a:lnTo>
                    <a:lnTo>
                      <a:pt x="54" y="260"/>
                    </a:lnTo>
                    <a:lnTo>
                      <a:pt x="52" y="262"/>
                    </a:lnTo>
                    <a:lnTo>
                      <a:pt x="54" y="266"/>
                    </a:lnTo>
                    <a:lnTo>
                      <a:pt x="58" y="268"/>
                    </a:lnTo>
                    <a:lnTo>
                      <a:pt x="72" y="274"/>
                    </a:lnTo>
                    <a:lnTo>
                      <a:pt x="92" y="282"/>
                    </a:lnTo>
                    <a:lnTo>
                      <a:pt x="114" y="292"/>
                    </a:lnTo>
                    <a:lnTo>
                      <a:pt x="136" y="304"/>
                    </a:lnTo>
                    <a:lnTo>
                      <a:pt x="156" y="318"/>
                    </a:lnTo>
                    <a:lnTo>
                      <a:pt x="162" y="326"/>
                    </a:lnTo>
                    <a:lnTo>
                      <a:pt x="168" y="334"/>
                    </a:lnTo>
                    <a:lnTo>
                      <a:pt x="168" y="334"/>
                    </a:lnTo>
                    <a:lnTo>
                      <a:pt x="172" y="342"/>
                    </a:lnTo>
                    <a:lnTo>
                      <a:pt x="176" y="346"/>
                    </a:lnTo>
                    <a:lnTo>
                      <a:pt x="186" y="354"/>
                    </a:lnTo>
                    <a:lnTo>
                      <a:pt x="196" y="356"/>
                    </a:lnTo>
                    <a:lnTo>
                      <a:pt x="206" y="356"/>
                    </a:lnTo>
                    <a:lnTo>
                      <a:pt x="212" y="356"/>
                    </a:lnTo>
                    <a:lnTo>
                      <a:pt x="218" y="356"/>
                    </a:lnTo>
                    <a:lnTo>
                      <a:pt x="220" y="356"/>
                    </a:lnTo>
                    <a:lnTo>
                      <a:pt x="222" y="358"/>
                    </a:lnTo>
                    <a:lnTo>
                      <a:pt x="220" y="364"/>
                    </a:lnTo>
                    <a:lnTo>
                      <a:pt x="220" y="364"/>
                    </a:lnTo>
                    <a:lnTo>
                      <a:pt x="220" y="372"/>
                    </a:lnTo>
                    <a:lnTo>
                      <a:pt x="220" y="376"/>
                    </a:lnTo>
                    <a:lnTo>
                      <a:pt x="224" y="378"/>
                    </a:lnTo>
                    <a:lnTo>
                      <a:pt x="228" y="380"/>
                    </a:lnTo>
                    <a:lnTo>
                      <a:pt x="232" y="380"/>
                    </a:lnTo>
                    <a:lnTo>
                      <a:pt x="236" y="382"/>
                    </a:lnTo>
                    <a:lnTo>
                      <a:pt x="240" y="386"/>
                    </a:lnTo>
                    <a:lnTo>
                      <a:pt x="242" y="392"/>
                    </a:lnTo>
                    <a:lnTo>
                      <a:pt x="242" y="392"/>
                    </a:lnTo>
                    <a:lnTo>
                      <a:pt x="244" y="400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60" y="402"/>
                    </a:lnTo>
                    <a:lnTo>
                      <a:pt x="266" y="402"/>
                    </a:lnTo>
                    <a:lnTo>
                      <a:pt x="270" y="402"/>
                    </a:lnTo>
                    <a:lnTo>
                      <a:pt x="274" y="404"/>
                    </a:lnTo>
                    <a:lnTo>
                      <a:pt x="276" y="410"/>
                    </a:lnTo>
                    <a:lnTo>
                      <a:pt x="276" y="410"/>
                    </a:lnTo>
                    <a:lnTo>
                      <a:pt x="274" y="418"/>
                    </a:lnTo>
                    <a:lnTo>
                      <a:pt x="272" y="418"/>
                    </a:lnTo>
                    <a:lnTo>
                      <a:pt x="270" y="418"/>
                    </a:lnTo>
                    <a:lnTo>
                      <a:pt x="266" y="416"/>
                    </a:lnTo>
                    <a:lnTo>
                      <a:pt x="262" y="416"/>
                    </a:lnTo>
                    <a:lnTo>
                      <a:pt x="258" y="418"/>
                    </a:lnTo>
                    <a:lnTo>
                      <a:pt x="252" y="424"/>
                    </a:lnTo>
                    <a:lnTo>
                      <a:pt x="252" y="424"/>
                    </a:lnTo>
                    <a:lnTo>
                      <a:pt x="250" y="426"/>
                    </a:lnTo>
                    <a:lnTo>
                      <a:pt x="248" y="426"/>
                    </a:lnTo>
                    <a:lnTo>
                      <a:pt x="240" y="422"/>
                    </a:lnTo>
                    <a:lnTo>
                      <a:pt x="234" y="420"/>
                    </a:lnTo>
                    <a:lnTo>
                      <a:pt x="224" y="420"/>
                    </a:lnTo>
                    <a:lnTo>
                      <a:pt x="212" y="420"/>
                    </a:lnTo>
                    <a:lnTo>
                      <a:pt x="194" y="422"/>
                    </a:lnTo>
                    <a:lnTo>
                      <a:pt x="194" y="422"/>
                    </a:lnTo>
                    <a:lnTo>
                      <a:pt x="186" y="422"/>
                    </a:lnTo>
                    <a:lnTo>
                      <a:pt x="180" y="420"/>
                    </a:lnTo>
                    <a:lnTo>
                      <a:pt x="176" y="418"/>
                    </a:lnTo>
                    <a:lnTo>
                      <a:pt x="174" y="416"/>
                    </a:lnTo>
                    <a:lnTo>
                      <a:pt x="174" y="408"/>
                    </a:lnTo>
                    <a:lnTo>
                      <a:pt x="176" y="398"/>
                    </a:lnTo>
                    <a:lnTo>
                      <a:pt x="176" y="390"/>
                    </a:lnTo>
                    <a:lnTo>
                      <a:pt x="174" y="388"/>
                    </a:lnTo>
                    <a:lnTo>
                      <a:pt x="172" y="384"/>
                    </a:lnTo>
                    <a:lnTo>
                      <a:pt x="168" y="384"/>
                    </a:lnTo>
                    <a:lnTo>
                      <a:pt x="162" y="384"/>
                    </a:lnTo>
                    <a:lnTo>
                      <a:pt x="140" y="388"/>
                    </a:lnTo>
                    <a:lnTo>
                      <a:pt x="140" y="388"/>
                    </a:lnTo>
                    <a:lnTo>
                      <a:pt x="116" y="396"/>
                    </a:lnTo>
                    <a:lnTo>
                      <a:pt x="92" y="406"/>
                    </a:lnTo>
                    <a:lnTo>
                      <a:pt x="56" y="424"/>
                    </a:lnTo>
                    <a:lnTo>
                      <a:pt x="28" y="440"/>
                    </a:lnTo>
                    <a:lnTo>
                      <a:pt x="18" y="444"/>
                    </a:lnTo>
                    <a:lnTo>
                      <a:pt x="10" y="446"/>
                    </a:lnTo>
                    <a:lnTo>
                      <a:pt x="10" y="446"/>
                    </a:lnTo>
                    <a:lnTo>
                      <a:pt x="4" y="448"/>
                    </a:lnTo>
                    <a:lnTo>
                      <a:pt x="0" y="452"/>
                    </a:lnTo>
                    <a:lnTo>
                      <a:pt x="0" y="456"/>
                    </a:lnTo>
                    <a:lnTo>
                      <a:pt x="2" y="460"/>
                    </a:lnTo>
                    <a:lnTo>
                      <a:pt x="8" y="466"/>
                    </a:lnTo>
                    <a:lnTo>
                      <a:pt x="16" y="470"/>
                    </a:lnTo>
                    <a:lnTo>
                      <a:pt x="28" y="472"/>
                    </a:lnTo>
                    <a:lnTo>
                      <a:pt x="42" y="474"/>
                    </a:lnTo>
                    <a:lnTo>
                      <a:pt x="42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80"/>
                    </a:lnTo>
                    <a:lnTo>
                      <a:pt x="56" y="484"/>
                    </a:lnTo>
                    <a:lnTo>
                      <a:pt x="52" y="488"/>
                    </a:lnTo>
                    <a:lnTo>
                      <a:pt x="50" y="492"/>
                    </a:lnTo>
                    <a:lnTo>
                      <a:pt x="50" y="498"/>
                    </a:lnTo>
                    <a:lnTo>
                      <a:pt x="56" y="502"/>
                    </a:lnTo>
                    <a:lnTo>
                      <a:pt x="56" y="502"/>
                    </a:lnTo>
                    <a:lnTo>
                      <a:pt x="64" y="506"/>
                    </a:lnTo>
                    <a:lnTo>
                      <a:pt x="66" y="512"/>
                    </a:lnTo>
                    <a:lnTo>
                      <a:pt x="68" y="520"/>
                    </a:lnTo>
                    <a:lnTo>
                      <a:pt x="70" y="524"/>
                    </a:lnTo>
                    <a:lnTo>
                      <a:pt x="74" y="528"/>
                    </a:lnTo>
                    <a:lnTo>
                      <a:pt x="82" y="532"/>
                    </a:lnTo>
                    <a:lnTo>
                      <a:pt x="94" y="534"/>
                    </a:lnTo>
                    <a:lnTo>
                      <a:pt x="94" y="534"/>
                    </a:lnTo>
                    <a:lnTo>
                      <a:pt x="110" y="534"/>
                    </a:lnTo>
                    <a:lnTo>
                      <a:pt x="122" y="534"/>
                    </a:lnTo>
                    <a:lnTo>
                      <a:pt x="144" y="528"/>
                    </a:lnTo>
                    <a:lnTo>
                      <a:pt x="154" y="526"/>
                    </a:lnTo>
                    <a:lnTo>
                      <a:pt x="166" y="526"/>
                    </a:lnTo>
                    <a:lnTo>
                      <a:pt x="176" y="528"/>
                    </a:lnTo>
                    <a:lnTo>
                      <a:pt x="190" y="534"/>
                    </a:lnTo>
                    <a:lnTo>
                      <a:pt x="190" y="534"/>
                    </a:lnTo>
                    <a:lnTo>
                      <a:pt x="198" y="536"/>
                    </a:lnTo>
                    <a:lnTo>
                      <a:pt x="204" y="538"/>
                    </a:lnTo>
                    <a:lnTo>
                      <a:pt x="210" y="538"/>
                    </a:lnTo>
                    <a:lnTo>
                      <a:pt x="218" y="536"/>
                    </a:lnTo>
                    <a:lnTo>
                      <a:pt x="230" y="530"/>
                    </a:lnTo>
                    <a:lnTo>
                      <a:pt x="242" y="522"/>
                    </a:lnTo>
                    <a:lnTo>
                      <a:pt x="254" y="512"/>
                    </a:lnTo>
                    <a:lnTo>
                      <a:pt x="266" y="506"/>
                    </a:lnTo>
                    <a:lnTo>
                      <a:pt x="270" y="506"/>
                    </a:lnTo>
                    <a:lnTo>
                      <a:pt x="276" y="506"/>
                    </a:lnTo>
                    <a:lnTo>
                      <a:pt x="280" y="508"/>
                    </a:lnTo>
                    <a:lnTo>
                      <a:pt x="286" y="510"/>
                    </a:lnTo>
                    <a:lnTo>
                      <a:pt x="286" y="510"/>
                    </a:lnTo>
                    <a:lnTo>
                      <a:pt x="290" y="516"/>
                    </a:lnTo>
                    <a:lnTo>
                      <a:pt x="290" y="518"/>
                    </a:lnTo>
                    <a:lnTo>
                      <a:pt x="290" y="522"/>
                    </a:lnTo>
                    <a:lnTo>
                      <a:pt x="288" y="524"/>
                    </a:lnTo>
                    <a:lnTo>
                      <a:pt x="282" y="526"/>
                    </a:lnTo>
                    <a:lnTo>
                      <a:pt x="272" y="528"/>
                    </a:lnTo>
                    <a:lnTo>
                      <a:pt x="264" y="530"/>
                    </a:lnTo>
                    <a:lnTo>
                      <a:pt x="260" y="534"/>
                    </a:lnTo>
                    <a:lnTo>
                      <a:pt x="260" y="536"/>
                    </a:lnTo>
                    <a:lnTo>
                      <a:pt x="262" y="538"/>
                    </a:lnTo>
                    <a:lnTo>
                      <a:pt x="274" y="544"/>
                    </a:lnTo>
                    <a:lnTo>
                      <a:pt x="274" y="544"/>
                    </a:lnTo>
                    <a:lnTo>
                      <a:pt x="280" y="550"/>
                    </a:lnTo>
                    <a:lnTo>
                      <a:pt x="286" y="554"/>
                    </a:lnTo>
                    <a:lnTo>
                      <a:pt x="290" y="558"/>
                    </a:lnTo>
                    <a:lnTo>
                      <a:pt x="292" y="564"/>
                    </a:lnTo>
                    <a:lnTo>
                      <a:pt x="292" y="570"/>
                    </a:lnTo>
                    <a:lnTo>
                      <a:pt x="292" y="574"/>
                    </a:lnTo>
                    <a:lnTo>
                      <a:pt x="288" y="584"/>
                    </a:lnTo>
                    <a:lnTo>
                      <a:pt x="280" y="592"/>
                    </a:lnTo>
                    <a:lnTo>
                      <a:pt x="270" y="598"/>
                    </a:lnTo>
                    <a:lnTo>
                      <a:pt x="258" y="600"/>
                    </a:lnTo>
                    <a:lnTo>
                      <a:pt x="244" y="598"/>
                    </a:lnTo>
                    <a:lnTo>
                      <a:pt x="244" y="598"/>
                    </a:lnTo>
                    <a:lnTo>
                      <a:pt x="240" y="598"/>
                    </a:lnTo>
                    <a:lnTo>
                      <a:pt x="234" y="598"/>
                    </a:lnTo>
                    <a:lnTo>
                      <a:pt x="226" y="602"/>
                    </a:lnTo>
                    <a:lnTo>
                      <a:pt x="220" y="610"/>
                    </a:lnTo>
                    <a:lnTo>
                      <a:pt x="214" y="618"/>
                    </a:lnTo>
                    <a:lnTo>
                      <a:pt x="210" y="624"/>
                    </a:lnTo>
                    <a:lnTo>
                      <a:pt x="202" y="630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86" y="628"/>
                    </a:lnTo>
                    <a:lnTo>
                      <a:pt x="180" y="624"/>
                    </a:lnTo>
                    <a:lnTo>
                      <a:pt x="180" y="624"/>
                    </a:lnTo>
                    <a:lnTo>
                      <a:pt x="172" y="620"/>
                    </a:lnTo>
                    <a:lnTo>
                      <a:pt x="166" y="618"/>
                    </a:lnTo>
                    <a:lnTo>
                      <a:pt x="160" y="618"/>
                    </a:lnTo>
                    <a:lnTo>
                      <a:pt x="154" y="620"/>
                    </a:lnTo>
                    <a:lnTo>
                      <a:pt x="144" y="626"/>
                    </a:lnTo>
                    <a:lnTo>
                      <a:pt x="136" y="636"/>
                    </a:lnTo>
                    <a:lnTo>
                      <a:pt x="124" y="658"/>
                    </a:lnTo>
                    <a:lnTo>
                      <a:pt x="118" y="666"/>
                    </a:lnTo>
                    <a:lnTo>
                      <a:pt x="112" y="672"/>
                    </a:lnTo>
                    <a:lnTo>
                      <a:pt x="112" y="672"/>
                    </a:lnTo>
                    <a:lnTo>
                      <a:pt x="106" y="674"/>
                    </a:lnTo>
                    <a:lnTo>
                      <a:pt x="102" y="678"/>
                    </a:lnTo>
                    <a:lnTo>
                      <a:pt x="96" y="690"/>
                    </a:lnTo>
                    <a:lnTo>
                      <a:pt x="92" y="702"/>
                    </a:lnTo>
                    <a:lnTo>
                      <a:pt x="88" y="708"/>
                    </a:lnTo>
                    <a:lnTo>
                      <a:pt x="82" y="712"/>
                    </a:lnTo>
                    <a:lnTo>
                      <a:pt x="82" y="712"/>
                    </a:lnTo>
                    <a:lnTo>
                      <a:pt x="76" y="716"/>
                    </a:lnTo>
                    <a:lnTo>
                      <a:pt x="74" y="720"/>
                    </a:lnTo>
                    <a:lnTo>
                      <a:pt x="74" y="726"/>
                    </a:lnTo>
                    <a:lnTo>
                      <a:pt x="76" y="730"/>
                    </a:lnTo>
                    <a:lnTo>
                      <a:pt x="88" y="740"/>
                    </a:lnTo>
                    <a:lnTo>
                      <a:pt x="108" y="756"/>
                    </a:lnTo>
                    <a:lnTo>
                      <a:pt x="108" y="756"/>
                    </a:lnTo>
                    <a:lnTo>
                      <a:pt x="116" y="764"/>
                    </a:lnTo>
                    <a:lnTo>
                      <a:pt x="118" y="772"/>
                    </a:lnTo>
                    <a:lnTo>
                      <a:pt x="118" y="778"/>
                    </a:lnTo>
                    <a:lnTo>
                      <a:pt x="116" y="784"/>
                    </a:lnTo>
                    <a:lnTo>
                      <a:pt x="114" y="790"/>
                    </a:lnTo>
                    <a:lnTo>
                      <a:pt x="112" y="794"/>
                    </a:lnTo>
                    <a:lnTo>
                      <a:pt x="112" y="800"/>
                    </a:lnTo>
                    <a:lnTo>
                      <a:pt x="116" y="804"/>
                    </a:lnTo>
                    <a:lnTo>
                      <a:pt x="116" y="804"/>
                    </a:lnTo>
                    <a:lnTo>
                      <a:pt x="132" y="818"/>
                    </a:lnTo>
                    <a:lnTo>
                      <a:pt x="148" y="834"/>
                    </a:lnTo>
                    <a:lnTo>
                      <a:pt x="158" y="840"/>
                    </a:lnTo>
                    <a:lnTo>
                      <a:pt x="168" y="844"/>
                    </a:lnTo>
                    <a:lnTo>
                      <a:pt x="180" y="844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208" y="836"/>
                    </a:lnTo>
                    <a:lnTo>
                      <a:pt x="218" y="834"/>
                    </a:lnTo>
                    <a:lnTo>
                      <a:pt x="228" y="836"/>
                    </a:lnTo>
                    <a:lnTo>
                      <a:pt x="234" y="838"/>
                    </a:lnTo>
                    <a:lnTo>
                      <a:pt x="240" y="842"/>
                    </a:lnTo>
                    <a:lnTo>
                      <a:pt x="242" y="848"/>
                    </a:lnTo>
                    <a:lnTo>
                      <a:pt x="242" y="858"/>
                    </a:lnTo>
                    <a:lnTo>
                      <a:pt x="238" y="868"/>
                    </a:lnTo>
                    <a:lnTo>
                      <a:pt x="238" y="868"/>
                    </a:lnTo>
                    <a:lnTo>
                      <a:pt x="236" y="878"/>
                    </a:lnTo>
                    <a:lnTo>
                      <a:pt x="236" y="884"/>
                    </a:lnTo>
                    <a:lnTo>
                      <a:pt x="238" y="888"/>
                    </a:lnTo>
                    <a:lnTo>
                      <a:pt x="242" y="890"/>
                    </a:lnTo>
                    <a:lnTo>
                      <a:pt x="244" y="892"/>
                    </a:lnTo>
                    <a:lnTo>
                      <a:pt x="246" y="896"/>
                    </a:lnTo>
                    <a:lnTo>
                      <a:pt x="246" y="900"/>
                    </a:lnTo>
                    <a:lnTo>
                      <a:pt x="244" y="908"/>
                    </a:lnTo>
                    <a:lnTo>
                      <a:pt x="244" y="908"/>
                    </a:lnTo>
                    <a:lnTo>
                      <a:pt x="242" y="918"/>
                    </a:lnTo>
                    <a:lnTo>
                      <a:pt x="244" y="922"/>
                    </a:lnTo>
                    <a:lnTo>
                      <a:pt x="248" y="924"/>
                    </a:lnTo>
                    <a:lnTo>
                      <a:pt x="254" y="924"/>
                    </a:lnTo>
                    <a:lnTo>
                      <a:pt x="262" y="920"/>
                    </a:lnTo>
                    <a:lnTo>
                      <a:pt x="270" y="916"/>
                    </a:lnTo>
                    <a:lnTo>
                      <a:pt x="284" y="904"/>
                    </a:lnTo>
                    <a:lnTo>
                      <a:pt x="284" y="904"/>
                    </a:lnTo>
                    <a:lnTo>
                      <a:pt x="292" y="900"/>
                    </a:lnTo>
                    <a:lnTo>
                      <a:pt x="300" y="898"/>
                    </a:lnTo>
                    <a:lnTo>
                      <a:pt x="308" y="898"/>
                    </a:lnTo>
                    <a:lnTo>
                      <a:pt x="316" y="902"/>
                    </a:lnTo>
                    <a:lnTo>
                      <a:pt x="326" y="906"/>
                    </a:lnTo>
                    <a:lnTo>
                      <a:pt x="336" y="912"/>
                    </a:lnTo>
                    <a:lnTo>
                      <a:pt x="352" y="926"/>
                    </a:lnTo>
                    <a:lnTo>
                      <a:pt x="352" y="926"/>
                    </a:lnTo>
                    <a:lnTo>
                      <a:pt x="358" y="930"/>
                    </a:lnTo>
                    <a:lnTo>
                      <a:pt x="362" y="932"/>
                    </a:lnTo>
                    <a:lnTo>
                      <a:pt x="366" y="930"/>
                    </a:lnTo>
                    <a:lnTo>
                      <a:pt x="370" y="926"/>
                    </a:lnTo>
                    <a:lnTo>
                      <a:pt x="376" y="918"/>
                    </a:lnTo>
                    <a:lnTo>
                      <a:pt x="380" y="916"/>
                    </a:lnTo>
                    <a:lnTo>
                      <a:pt x="386" y="918"/>
                    </a:lnTo>
                    <a:lnTo>
                      <a:pt x="386" y="918"/>
                    </a:lnTo>
                    <a:lnTo>
                      <a:pt x="392" y="920"/>
                    </a:lnTo>
                    <a:lnTo>
                      <a:pt x="402" y="918"/>
                    </a:lnTo>
                    <a:lnTo>
                      <a:pt x="420" y="912"/>
                    </a:lnTo>
                    <a:lnTo>
                      <a:pt x="432" y="908"/>
                    </a:lnTo>
                    <a:lnTo>
                      <a:pt x="432" y="908"/>
                    </a:lnTo>
                    <a:lnTo>
                      <a:pt x="432" y="910"/>
                    </a:lnTo>
                    <a:lnTo>
                      <a:pt x="430" y="916"/>
                    </a:lnTo>
                    <a:lnTo>
                      <a:pt x="430" y="916"/>
                    </a:lnTo>
                    <a:lnTo>
                      <a:pt x="418" y="932"/>
                    </a:lnTo>
                    <a:lnTo>
                      <a:pt x="412" y="946"/>
                    </a:lnTo>
                    <a:lnTo>
                      <a:pt x="410" y="962"/>
                    </a:lnTo>
                    <a:lnTo>
                      <a:pt x="410" y="978"/>
                    </a:lnTo>
                    <a:lnTo>
                      <a:pt x="410" y="978"/>
                    </a:lnTo>
                    <a:lnTo>
                      <a:pt x="408" y="986"/>
                    </a:lnTo>
                    <a:lnTo>
                      <a:pt x="406" y="990"/>
                    </a:lnTo>
                    <a:lnTo>
                      <a:pt x="402" y="992"/>
                    </a:lnTo>
                    <a:lnTo>
                      <a:pt x="396" y="994"/>
                    </a:lnTo>
                    <a:lnTo>
                      <a:pt x="392" y="998"/>
                    </a:lnTo>
                    <a:lnTo>
                      <a:pt x="386" y="1000"/>
                    </a:lnTo>
                    <a:lnTo>
                      <a:pt x="380" y="1008"/>
                    </a:lnTo>
                    <a:lnTo>
                      <a:pt x="374" y="1018"/>
                    </a:lnTo>
                    <a:lnTo>
                      <a:pt x="374" y="1018"/>
                    </a:lnTo>
                    <a:lnTo>
                      <a:pt x="368" y="1028"/>
                    </a:lnTo>
                    <a:lnTo>
                      <a:pt x="360" y="1036"/>
                    </a:lnTo>
                    <a:lnTo>
                      <a:pt x="352" y="1040"/>
                    </a:lnTo>
                    <a:lnTo>
                      <a:pt x="342" y="1044"/>
                    </a:lnTo>
                    <a:lnTo>
                      <a:pt x="332" y="1048"/>
                    </a:lnTo>
                    <a:lnTo>
                      <a:pt x="324" y="1054"/>
                    </a:lnTo>
                    <a:lnTo>
                      <a:pt x="314" y="1060"/>
                    </a:lnTo>
                    <a:lnTo>
                      <a:pt x="306" y="1072"/>
                    </a:lnTo>
                    <a:lnTo>
                      <a:pt x="306" y="1072"/>
                    </a:lnTo>
                    <a:lnTo>
                      <a:pt x="300" y="1082"/>
                    </a:lnTo>
                    <a:lnTo>
                      <a:pt x="296" y="1088"/>
                    </a:lnTo>
                    <a:lnTo>
                      <a:pt x="292" y="1090"/>
                    </a:lnTo>
                    <a:lnTo>
                      <a:pt x="288" y="1088"/>
                    </a:lnTo>
                    <a:lnTo>
                      <a:pt x="276" y="1086"/>
                    </a:lnTo>
                    <a:lnTo>
                      <a:pt x="268" y="1088"/>
                    </a:lnTo>
                    <a:lnTo>
                      <a:pt x="254" y="1090"/>
                    </a:lnTo>
                    <a:lnTo>
                      <a:pt x="254" y="1090"/>
                    </a:lnTo>
                    <a:lnTo>
                      <a:pt x="244" y="1096"/>
                    </a:lnTo>
                    <a:lnTo>
                      <a:pt x="236" y="1100"/>
                    </a:lnTo>
                    <a:lnTo>
                      <a:pt x="232" y="1104"/>
                    </a:lnTo>
                    <a:lnTo>
                      <a:pt x="228" y="1110"/>
                    </a:lnTo>
                    <a:lnTo>
                      <a:pt x="222" y="1118"/>
                    </a:lnTo>
                    <a:lnTo>
                      <a:pt x="218" y="1124"/>
                    </a:lnTo>
                    <a:lnTo>
                      <a:pt x="210" y="1128"/>
                    </a:lnTo>
                    <a:lnTo>
                      <a:pt x="210" y="1128"/>
                    </a:lnTo>
                    <a:lnTo>
                      <a:pt x="200" y="1132"/>
                    </a:lnTo>
                    <a:lnTo>
                      <a:pt x="194" y="1138"/>
                    </a:lnTo>
                    <a:lnTo>
                      <a:pt x="188" y="1144"/>
                    </a:lnTo>
                    <a:lnTo>
                      <a:pt x="186" y="1148"/>
                    </a:lnTo>
                    <a:lnTo>
                      <a:pt x="188" y="1152"/>
                    </a:lnTo>
                    <a:lnTo>
                      <a:pt x="192" y="1154"/>
                    </a:lnTo>
                    <a:lnTo>
                      <a:pt x="200" y="1154"/>
                    </a:lnTo>
                    <a:lnTo>
                      <a:pt x="212" y="1150"/>
                    </a:lnTo>
                    <a:lnTo>
                      <a:pt x="212" y="1150"/>
                    </a:lnTo>
                    <a:lnTo>
                      <a:pt x="224" y="1144"/>
                    </a:lnTo>
                    <a:lnTo>
                      <a:pt x="234" y="1138"/>
                    </a:lnTo>
                    <a:lnTo>
                      <a:pt x="248" y="1124"/>
                    </a:lnTo>
                    <a:lnTo>
                      <a:pt x="256" y="1116"/>
                    </a:lnTo>
                    <a:lnTo>
                      <a:pt x="258" y="1116"/>
                    </a:lnTo>
                    <a:lnTo>
                      <a:pt x="262" y="1120"/>
                    </a:lnTo>
                    <a:lnTo>
                      <a:pt x="262" y="1120"/>
                    </a:lnTo>
                    <a:lnTo>
                      <a:pt x="266" y="1124"/>
                    </a:lnTo>
                    <a:lnTo>
                      <a:pt x="270" y="1124"/>
                    </a:lnTo>
                    <a:lnTo>
                      <a:pt x="278" y="1122"/>
                    </a:lnTo>
                    <a:lnTo>
                      <a:pt x="282" y="1120"/>
                    </a:lnTo>
                    <a:lnTo>
                      <a:pt x="284" y="1120"/>
                    </a:lnTo>
                    <a:lnTo>
                      <a:pt x="288" y="1124"/>
                    </a:lnTo>
                    <a:lnTo>
                      <a:pt x="290" y="1128"/>
                    </a:lnTo>
                    <a:lnTo>
                      <a:pt x="290" y="1128"/>
                    </a:lnTo>
                    <a:lnTo>
                      <a:pt x="292" y="1136"/>
                    </a:lnTo>
                    <a:lnTo>
                      <a:pt x="296" y="1138"/>
                    </a:lnTo>
                    <a:lnTo>
                      <a:pt x="298" y="1140"/>
                    </a:lnTo>
                    <a:lnTo>
                      <a:pt x="302" y="1138"/>
                    </a:lnTo>
                    <a:lnTo>
                      <a:pt x="306" y="1136"/>
                    </a:lnTo>
                    <a:lnTo>
                      <a:pt x="308" y="1130"/>
                    </a:lnTo>
                    <a:lnTo>
                      <a:pt x="308" y="1126"/>
                    </a:lnTo>
                    <a:lnTo>
                      <a:pt x="306" y="1120"/>
                    </a:lnTo>
                    <a:lnTo>
                      <a:pt x="306" y="1120"/>
                    </a:lnTo>
                    <a:lnTo>
                      <a:pt x="306" y="1114"/>
                    </a:lnTo>
                    <a:lnTo>
                      <a:pt x="308" y="1110"/>
                    </a:lnTo>
                    <a:lnTo>
                      <a:pt x="312" y="1106"/>
                    </a:lnTo>
                    <a:lnTo>
                      <a:pt x="316" y="1102"/>
                    </a:lnTo>
                    <a:lnTo>
                      <a:pt x="322" y="1100"/>
                    </a:lnTo>
                    <a:lnTo>
                      <a:pt x="328" y="1100"/>
                    </a:lnTo>
                    <a:lnTo>
                      <a:pt x="332" y="1102"/>
                    </a:lnTo>
                    <a:lnTo>
                      <a:pt x="334" y="1108"/>
                    </a:lnTo>
                    <a:lnTo>
                      <a:pt x="334" y="1108"/>
                    </a:lnTo>
                    <a:lnTo>
                      <a:pt x="334" y="1110"/>
                    </a:lnTo>
                    <a:lnTo>
                      <a:pt x="336" y="1110"/>
                    </a:lnTo>
                    <a:lnTo>
                      <a:pt x="340" y="1110"/>
                    </a:lnTo>
                    <a:lnTo>
                      <a:pt x="354" y="1100"/>
                    </a:lnTo>
                    <a:lnTo>
                      <a:pt x="372" y="1088"/>
                    </a:lnTo>
                    <a:lnTo>
                      <a:pt x="380" y="1084"/>
                    </a:lnTo>
                    <a:lnTo>
                      <a:pt x="388" y="1082"/>
                    </a:lnTo>
                    <a:lnTo>
                      <a:pt x="388" y="1082"/>
                    </a:lnTo>
                    <a:lnTo>
                      <a:pt x="394" y="1082"/>
                    </a:lnTo>
                    <a:lnTo>
                      <a:pt x="396" y="1080"/>
                    </a:lnTo>
                    <a:lnTo>
                      <a:pt x="394" y="1074"/>
                    </a:lnTo>
                    <a:lnTo>
                      <a:pt x="394" y="1068"/>
                    </a:lnTo>
                    <a:lnTo>
                      <a:pt x="398" y="1062"/>
                    </a:lnTo>
                    <a:lnTo>
                      <a:pt x="408" y="1052"/>
                    </a:lnTo>
                    <a:lnTo>
                      <a:pt x="424" y="1042"/>
                    </a:lnTo>
                    <a:lnTo>
                      <a:pt x="424" y="1042"/>
                    </a:lnTo>
                    <a:lnTo>
                      <a:pt x="440" y="1032"/>
                    </a:lnTo>
                    <a:lnTo>
                      <a:pt x="452" y="1024"/>
                    </a:lnTo>
                    <a:lnTo>
                      <a:pt x="462" y="1016"/>
                    </a:lnTo>
                    <a:lnTo>
                      <a:pt x="468" y="1010"/>
                    </a:lnTo>
                    <a:lnTo>
                      <a:pt x="478" y="998"/>
                    </a:lnTo>
                    <a:lnTo>
                      <a:pt x="484" y="994"/>
                    </a:lnTo>
                    <a:lnTo>
                      <a:pt x="492" y="988"/>
                    </a:lnTo>
                    <a:lnTo>
                      <a:pt x="492" y="988"/>
                    </a:lnTo>
                    <a:lnTo>
                      <a:pt x="516" y="976"/>
                    </a:lnTo>
                    <a:lnTo>
                      <a:pt x="538" y="964"/>
                    </a:lnTo>
                    <a:lnTo>
                      <a:pt x="548" y="956"/>
                    </a:lnTo>
                    <a:lnTo>
                      <a:pt x="556" y="950"/>
                    </a:lnTo>
                    <a:lnTo>
                      <a:pt x="562" y="942"/>
                    </a:lnTo>
                    <a:lnTo>
                      <a:pt x="566" y="934"/>
                    </a:lnTo>
                    <a:lnTo>
                      <a:pt x="566" y="934"/>
                    </a:lnTo>
                    <a:lnTo>
                      <a:pt x="568" y="928"/>
                    </a:lnTo>
                    <a:lnTo>
                      <a:pt x="572" y="922"/>
                    </a:lnTo>
                    <a:lnTo>
                      <a:pt x="580" y="916"/>
                    </a:lnTo>
                    <a:lnTo>
                      <a:pt x="588" y="912"/>
                    </a:lnTo>
                    <a:lnTo>
                      <a:pt x="592" y="906"/>
                    </a:lnTo>
                    <a:lnTo>
                      <a:pt x="592" y="900"/>
                    </a:lnTo>
                    <a:lnTo>
                      <a:pt x="592" y="900"/>
                    </a:lnTo>
                    <a:lnTo>
                      <a:pt x="592" y="898"/>
                    </a:lnTo>
                    <a:lnTo>
                      <a:pt x="590" y="896"/>
                    </a:lnTo>
                    <a:lnTo>
                      <a:pt x="582" y="892"/>
                    </a:lnTo>
                    <a:lnTo>
                      <a:pt x="564" y="892"/>
                    </a:lnTo>
                    <a:lnTo>
                      <a:pt x="556" y="890"/>
                    </a:lnTo>
                    <a:lnTo>
                      <a:pt x="554" y="890"/>
                    </a:lnTo>
                    <a:lnTo>
                      <a:pt x="554" y="888"/>
                    </a:lnTo>
                    <a:lnTo>
                      <a:pt x="554" y="886"/>
                    </a:lnTo>
                    <a:lnTo>
                      <a:pt x="556" y="882"/>
                    </a:lnTo>
                    <a:lnTo>
                      <a:pt x="570" y="870"/>
                    </a:lnTo>
                    <a:lnTo>
                      <a:pt x="570" y="870"/>
                    </a:lnTo>
                    <a:lnTo>
                      <a:pt x="598" y="846"/>
                    </a:lnTo>
                    <a:lnTo>
                      <a:pt x="616" y="828"/>
                    </a:lnTo>
                    <a:lnTo>
                      <a:pt x="630" y="810"/>
                    </a:lnTo>
                    <a:lnTo>
                      <a:pt x="644" y="786"/>
                    </a:lnTo>
                    <a:lnTo>
                      <a:pt x="644" y="786"/>
                    </a:lnTo>
                    <a:lnTo>
                      <a:pt x="654" y="774"/>
                    </a:lnTo>
                    <a:lnTo>
                      <a:pt x="666" y="764"/>
                    </a:lnTo>
                    <a:lnTo>
                      <a:pt x="680" y="756"/>
                    </a:lnTo>
                    <a:lnTo>
                      <a:pt x="694" y="750"/>
                    </a:lnTo>
                    <a:lnTo>
                      <a:pt x="710" y="750"/>
                    </a:lnTo>
                    <a:lnTo>
                      <a:pt x="726" y="752"/>
                    </a:lnTo>
                    <a:lnTo>
                      <a:pt x="742" y="758"/>
                    </a:lnTo>
                    <a:lnTo>
                      <a:pt x="750" y="764"/>
                    </a:lnTo>
                    <a:lnTo>
                      <a:pt x="758" y="770"/>
                    </a:lnTo>
                    <a:lnTo>
                      <a:pt x="758" y="770"/>
                    </a:lnTo>
                    <a:lnTo>
                      <a:pt x="768" y="782"/>
                    </a:lnTo>
                    <a:lnTo>
                      <a:pt x="770" y="784"/>
                    </a:lnTo>
                    <a:lnTo>
                      <a:pt x="770" y="784"/>
                    </a:lnTo>
                    <a:lnTo>
                      <a:pt x="752" y="776"/>
                    </a:lnTo>
                    <a:lnTo>
                      <a:pt x="738" y="768"/>
                    </a:lnTo>
                    <a:lnTo>
                      <a:pt x="720" y="764"/>
                    </a:lnTo>
                    <a:lnTo>
                      <a:pt x="712" y="762"/>
                    </a:lnTo>
                    <a:lnTo>
                      <a:pt x="704" y="762"/>
                    </a:lnTo>
                    <a:lnTo>
                      <a:pt x="696" y="764"/>
                    </a:lnTo>
                    <a:lnTo>
                      <a:pt x="690" y="768"/>
                    </a:lnTo>
                    <a:lnTo>
                      <a:pt x="690" y="768"/>
                    </a:lnTo>
                    <a:lnTo>
                      <a:pt x="680" y="776"/>
                    </a:lnTo>
                    <a:lnTo>
                      <a:pt x="674" y="784"/>
                    </a:lnTo>
                    <a:lnTo>
                      <a:pt x="672" y="790"/>
                    </a:lnTo>
                    <a:lnTo>
                      <a:pt x="672" y="796"/>
                    </a:lnTo>
                    <a:lnTo>
                      <a:pt x="672" y="802"/>
                    </a:lnTo>
                    <a:lnTo>
                      <a:pt x="670" y="810"/>
                    </a:lnTo>
                    <a:lnTo>
                      <a:pt x="666" y="818"/>
                    </a:lnTo>
                    <a:lnTo>
                      <a:pt x="658" y="828"/>
                    </a:lnTo>
                    <a:lnTo>
                      <a:pt x="658" y="828"/>
                    </a:lnTo>
                    <a:lnTo>
                      <a:pt x="652" y="836"/>
                    </a:lnTo>
                    <a:lnTo>
                      <a:pt x="650" y="844"/>
                    </a:lnTo>
                    <a:lnTo>
                      <a:pt x="652" y="848"/>
                    </a:lnTo>
                    <a:lnTo>
                      <a:pt x="656" y="852"/>
                    </a:lnTo>
                    <a:lnTo>
                      <a:pt x="660" y="856"/>
                    </a:lnTo>
                    <a:lnTo>
                      <a:pt x="662" y="858"/>
                    </a:lnTo>
                    <a:lnTo>
                      <a:pt x="662" y="862"/>
                    </a:lnTo>
                    <a:lnTo>
                      <a:pt x="656" y="866"/>
                    </a:lnTo>
                    <a:lnTo>
                      <a:pt x="656" y="866"/>
                    </a:lnTo>
                    <a:lnTo>
                      <a:pt x="646" y="874"/>
                    </a:lnTo>
                    <a:lnTo>
                      <a:pt x="644" y="876"/>
                    </a:lnTo>
                    <a:lnTo>
                      <a:pt x="644" y="878"/>
                    </a:lnTo>
                    <a:lnTo>
                      <a:pt x="646" y="880"/>
                    </a:lnTo>
                    <a:lnTo>
                      <a:pt x="648" y="882"/>
                    </a:lnTo>
                    <a:lnTo>
                      <a:pt x="658" y="884"/>
                    </a:lnTo>
                    <a:lnTo>
                      <a:pt x="670" y="884"/>
                    </a:lnTo>
                    <a:lnTo>
                      <a:pt x="684" y="882"/>
                    </a:lnTo>
                    <a:lnTo>
                      <a:pt x="698" y="876"/>
                    </a:lnTo>
                    <a:lnTo>
                      <a:pt x="712" y="866"/>
                    </a:lnTo>
                    <a:lnTo>
                      <a:pt x="712" y="866"/>
                    </a:lnTo>
                    <a:lnTo>
                      <a:pt x="732" y="850"/>
                    </a:lnTo>
                    <a:lnTo>
                      <a:pt x="748" y="840"/>
                    </a:lnTo>
                    <a:lnTo>
                      <a:pt x="762" y="834"/>
                    </a:lnTo>
                    <a:lnTo>
                      <a:pt x="778" y="834"/>
                    </a:lnTo>
                    <a:lnTo>
                      <a:pt x="778" y="834"/>
                    </a:lnTo>
                    <a:lnTo>
                      <a:pt x="786" y="832"/>
                    </a:lnTo>
                    <a:lnTo>
                      <a:pt x="790" y="830"/>
                    </a:lnTo>
                    <a:lnTo>
                      <a:pt x="790" y="828"/>
                    </a:lnTo>
                    <a:lnTo>
                      <a:pt x="790" y="824"/>
                    </a:lnTo>
                    <a:lnTo>
                      <a:pt x="790" y="820"/>
                    </a:lnTo>
                    <a:lnTo>
                      <a:pt x="790" y="818"/>
                    </a:lnTo>
                    <a:lnTo>
                      <a:pt x="794" y="814"/>
                    </a:lnTo>
                    <a:lnTo>
                      <a:pt x="800" y="810"/>
                    </a:lnTo>
                    <a:lnTo>
                      <a:pt x="800" y="810"/>
                    </a:lnTo>
                    <a:lnTo>
                      <a:pt x="804" y="806"/>
                    </a:lnTo>
                    <a:lnTo>
                      <a:pt x="806" y="802"/>
                    </a:lnTo>
                    <a:lnTo>
                      <a:pt x="804" y="796"/>
                    </a:lnTo>
                    <a:lnTo>
                      <a:pt x="802" y="790"/>
                    </a:lnTo>
                    <a:lnTo>
                      <a:pt x="800" y="784"/>
                    </a:lnTo>
                    <a:lnTo>
                      <a:pt x="800" y="780"/>
                    </a:lnTo>
                    <a:lnTo>
                      <a:pt x="804" y="776"/>
                    </a:lnTo>
                    <a:lnTo>
                      <a:pt x="812" y="774"/>
                    </a:lnTo>
                    <a:lnTo>
                      <a:pt x="812" y="774"/>
                    </a:lnTo>
                    <a:lnTo>
                      <a:pt x="824" y="772"/>
                    </a:lnTo>
                    <a:lnTo>
                      <a:pt x="834" y="770"/>
                    </a:lnTo>
                    <a:lnTo>
                      <a:pt x="850" y="764"/>
                    </a:lnTo>
                    <a:lnTo>
                      <a:pt x="856" y="764"/>
                    </a:lnTo>
                    <a:lnTo>
                      <a:pt x="860" y="764"/>
                    </a:lnTo>
                    <a:lnTo>
                      <a:pt x="862" y="768"/>
                    </a:lnTo>
                    <a:lnTo>
                      <a:pt x="862" y="774"/>
                    </a:lnTo>
                    <a:lnTo>
                      <a:pt x="862" y="774"/>
                    </a:lnTo>
                    <a:lnTo>
                      <a:pt x="862" y="780"/>
                    </a:lnTo>
                    <a:lnTo>
                      <a:pt x="866" y="784"/>
                    </a:lnTo>
                    <a:lnTo>
                      <a:pt x="870" y="788"/>
                    </a:lnTo>
                    <a:lnTo>
                      <a:pt x="874" y="790"/>
                    </a:lnTo>
                    <a:lnTo>
                      <a:pt x="888" y="794"/>
                    </a:lnTo>
                    <a:lnTo>
                      <a:pt x="896" y="798"/>
                    </a:lnTo>
                    <a:lnTo>
                      <a:pt x="906" y="802"/>
                    </a:lnTo>
                    <a:lnTo>
                      <a:pt x="906" y="802"/>
                    </a:lnTo>
                    <a:lnTo>
                      <a:pt x="912" y="806"/>
                    </a:lnTo>
                    <a:lnTo>
                      <a:pt x="918" y="806"/>
                    </a:lnTo>
                    <a:lnTo>
                      <a:pt x="922" y="804"/>
                    </a:lnTo>
                    <a:lnTo>
                      <a:pt x="924" y="802"/>
                    </a:lnTo>
                    <a:lnTo>
                      <a:pt x="926" y="800"/>
                    </a:lnTo>
                    <a:lnTo>
                      <a:pt x="930" y="800"/>
                    </a:lnTo>
                    <a:lnTo>
                      <a:pt x="934" y="804"/>
                    </a:lnTo>
                    <a:lnTo>
                      <a:pt x="940" y="810"/>
                    </a:lnTo>
                    <a:lnTo>
                      <a:pt x="940" y="810"/>
                    </a:lnTo>
                    <a:lnTo>
                      <a:pt x="948" y="820"/>
                    </a:lnTo>
                    <a:lnTo>
                      <a:pt x="958" y="824"/>
                    </a:lnTo>
                    <a:lnTo>
                      <a:pt x="968" y="828"/>
                    </a:lnTo>
                    <a:lnTo>
                      <a:pt x="978" y="828"/>
                    </a:lnTo>
                    <a:lnTo>
                      <a:pt x="1002" y="826"/>
                    </a:lnTo>
                    <a:lnTo>
                      <a:pt x="1024" y="824"/>
                    </a:lnTo>
                    <a:lnTo>
                      <a:pt x="1024" y="824"/>
                    </a:lnTo>
                    <a:lnTo>
                      <a:pt x="1036" y="826"/>
                    </a:lnTo>
                    <a:lnTo>
                      <a:pt x="1050" y="830"/>
                    </a:lnTo>
                    <a:lnTo>
                      <a:pt x="1076" y="842"/>
                    </a:lnTo>
                    <a:lnTo>
                      <a:pt x="1090" y="846"/>
                    </a:lnTo>
                    <a:lnTo>
                      <a:pt x="1104" y="850"/>
                    </a:lnTo>
                    <a:lnTo>
                      <a:pt x="1116" y="850"/>
                    </a:lnTo>
                    <a:lnTo>
                      <a:pt x="1122" y="848"/>
                    </a:lnTo>
                    <a:lnTo>
                      <a:pt x="1126" y="846"/>
                    </a:lnTo>
                    <a:lnTo>
                      <a:pt x="1126" y="846"/>
                    </a:lnTo>
                    <a:lnTo>
                      <a:pt x="1136" y="842"/>
                    </a:lnTo>
                    <a:lnTo>
                      <a:pt x="1142" y="840"/>
                    </a:lnTo>
                    <a:lnTo>
                      <a:pt x="1146" y="840"/>
                    </a:lnTo>
                    <a:lnTo>
                      <a:pt x="1150" y="842"/>
                    </a:lnTo>
                    <a:lnTo>
                      <a:pt x="1150" y="846"/>
                    </a:lnTo>
                    <a:lnTo>
                      <a:pt x="1150" y="850"/>
                    </a:lnTo>
                    <a:lnTo>
                      <a:pt x="1146" y="854"/>
                    </a:lnTo>
                    <a:lnTo>
                      <a:pt x="1142" y="858"/>
                    </a:lnTo>
                    <a:lnTo>
                      <a:pt x="1142" y="858"/>
                    </a:lnTo>
                    <a:lnTo>
                      <a:pt x="1138" y="860"/>
                    </a:lnTo>
                    <a:lnTo>
                      <a:pt x="1140" y="864"/>
                    </a:lnTo>
                    <a:lnTo>
                      <a:pt x="1146" y="868"/>
                    </a:lnTo>
                    <a:lnTo>
                      <a:pt x="1154" y="874"/>
                    </a:lnTo>
                    <a:lnTo>
                      <a:pt x="1174" y="882"/>
                    </a:lnTo>
                    <a:lnTo>
                      <a:pt x="1192" y="892"/>
                    </a:lnTo>
                    <a:lnTo>
                      <a:pt x="1192" y="892"/>
                    </a:lnTo>
                    <a:lnTo>
                      <a:pt x="1206" y="900"/>
                    </a:lnTo>
                    <a:lnTo>
                      <a:pt x="1216" y="912"/>
                    </a:lnTo>
                    <a:lnTo>
                      <a:pt x="1228" y="924"/>
                    </a:lnTo>
                    <a:lnTo>
                      <a:pt x="1244" y="934"/>
                    </a:lnTo>
                    <a:lnTo>
                      <a:pt x="1244" y="934"/>
                    </a:lnTo>
                    <a:lnTo>
                      <a:pt x="1254" y="938"/>
                    </a:lnTo>
                    <a:lnTo>
                      <a:pt x="1264" y="940"/>
                    </a:lnTo>
                    <a:lnTo>
                      <a:pt x="1272" y="940"/>
                    </a:lnTo>
                    <a:lnTo>
                      <a:pt x="1278" y="940"/>
                    </a:lnTo>
                    <a:lnTo>
                      <a:pt x="1282" y="938"/>
                    </a:lnTo>
                    <a:lnTo>
                      <a:pt x="1284" y="934"/>
                    </a:lnTo>
                    <a:lnTo>
                      <a:pt x="1284" y="930"/>
                    </a:lnTo>
                    <a:lnTo>
                      <a:pt x="1280" y="924"/>
                    </a:lnTo>
                    <a:lnTo>
                      <a:pt x="1280" y="924"/>
                    </a:lnTo>
                    <a:lnTo>
                      <a:pt x="1272" y="912"/>
                    </a:lnTo>
                    <a:lnTo>
                      <a:pt x="1268" y="904"/>
                    </a:lnTo>
                    <a:lnTo>
                      <a:pt x="1268" y="902"/>
                    </a:lnTo>
                    <a:lnTo>
                      <a:pt x="1270" y="902"/>
                    </a:lnTo>
                    <a:lnTo>
                      <a:pt x="1282" y="912"/>
                    </a:lnTo>
                    <a:lnTo>
                      <a:pt x="1282" y="912"/>
                    </a:lnTo>
                    <a:lnTo>
                      <a:pt x="1298" y="928"/>
                    </a:lnTo>
                    <a:lnTo>
                      <a:pt x="1314" y="938"/>
                    </a:lnTo>
                    <a:lnTo>
                      <a:pt x="1320" y="940"/>
                    </a:lnTo>
                    <a:lnTo>
                      <a:pt x="1324" y="940"/>
                    </a:lnTo>
                    <a:lnTo>
                      <a:pt x="1326" y="938"/>
                    </a:lnTo>
                    <a:lnTo>
                      <a:pt x="1326" y="930"/>
                    </a:lnTo>
                    <a:lnTo>
                      <a:pt x="1326" y="930"/>
                    </a:lnTo>
                    <a:lnTo>
                      <a:pt x="1322" y="916"/>
                    </a:lnTo>
                    <a:lnTo>
                      <a:pt x="1322" y="908"/>
                    </a:lnTo>
                    <a:lnTo>
                      <a:pt x="1322" y="906"/>
                    </a:lnTo>
                    <a:lnTo>
                      <a:pt x="1324" y="908"/>
                    </a:lnTo>
                    <a:lnTo>
                      <a:pt x="1332" y="922"/>
                    </a:lnTo>
                    <a:lnTo>
                      <a:pt x="1332" y="922"/>
                    </a:lnTo>
                    <a:lnTo>
                      <a:pt x="1338" y="930"/>
                    </a:lnTo>
                    <a:lnTo>
                      <a:pt x="1344" y="934"/>
                    </a:lnTo>
                    <a:lnTo>
                      <a:pt x="1348" y="936"/>
                    </a:lnTo>
                    <a:lnTo>
                      <a:pt x="1354" y="938"/>
                    </a:lnTo>
                    <a:lnTo>
                      <a:pt x="1358" y="938"/>
                    </a:lnTo>
                    <a:lnTo>
                      <a:pt x="1362" y="940"/>
                    </a:lnTo>
                    <a:lnTo>
                      <a:pt x="1368" y="942"/>
                    </a:lnTo>
                    <a:lnTo>
                      <a:pt x="1372" y="950"/>
                    </a:lnTo>
                    <a:lnTo>
                      <a:pt x="1372" y="950"/>
                    </a:lnTo>
                    <a:lnTo>
                      <a:pt x="1378" y="966"/>
                    </a:lnTo>
                    <a:lnTo>
                      <a:pt x="1382" y="976"/>
                    </a:lnTo>
                    <a:lnTo>
                      <a:pt x="1384" y="982"/>
                    </a:lnTo>
                    <a:lnTo>
                      <a:pt x="1390" y="988"/>
                    </a:lnTo>
                    <a:lnTo>
                      <a:pt x="1390" y="988"/>
                    </a:lnTo>
                    <a:lnTo>
                      <a:pt x="1394" y="992"/>
                    </a:lnTo>
                    <a:lnTo>
                      <a:pt x="1394" y="996"/>
                    </a:lnTo>
                    <a:lnTo>
                      <a:pt x="1390" y="1002"/>
                    </a:lnTo>
                    <a:lnTo>
                      <a:pt x="1388" y="1006"/>
                    </a:lnTo>
                    <a:lnTo>
                      <a:pt x="1388" y="1008"/>
                    </a:lnTo>
                    <a:lnTo>
                      <a:pt x="1392" y="1012"/>
                    </a:lnTo>
                    <a:lnTo>
                      <a:pt x="1398" y="1014"/>
                    </a:lnTo>
                    <a:lnTo>
                      <a:pt x="1398" y="1014"/>
                    </a:lnTo>
                    <a:lnTo>
                      <a:pt x="1412" y="1020"/>
                    </a:lnTo>
                    <a:lnTo>
                      <a:pt x="1414" y="1024"/>
                    </a:lnTo>
                    <a:lnTo>
                      <a:pt x="1416" y="1026"/>
                    </a:lnTo>
                    <a:lnTo>
                      <a:pt x="1422" y="1036"/>
                    </a:lnTo>
                    <a:lnTo>
                      <a:pt x="1426" y="1042"/>
                    </a:lnTo>
                    <a:lnTo>
                      <a:pt x="1434" y="1052"/>
                    </a:lnTo>
                    <a:lnTo>
                      <a:pt x="1434" y="1052"/>
                    </a:lnTo>
                    <a:lnTo>
                      <a:pt x="1452" y="1064"/>
                    </a:lnTo>
                    <a:lnTo>
                      <a:pt x="1464" y="1070"/>
                    </a:lnTo>
                    <a:lnTo>
                      <a:pt x="1466" y="1074"/>
                    </a:lnTo>
                    <a:lnTo>
                      <a:pt x="1460" y="1076"/>
                    </a:lnTo>
                    <a:lnTo>
                      <a:pt x="1460" y="1076"/>
                    </a:lnTo>
                    <a:lnTo>
                      <a:pt x="1452" y="1080"/>
                    </a:lnTo>
                    <a:lnTo>
                      <a:pt x="1450" y="1086"/>
                    </a:lnTo>
                    <a:lnTo>
                      <a:pt x="1448" y="1092"/>
                    </a:lnTo>
                    <a:lnTo>
                      <a:pt x="1442" y="1100"/>
                    </a:lnTo>
                    <a:lnTo>
                      <a:pt x="1442" y="1100"/>
                    </a:lnTo>
                    <a:lnTo>
                      <a:pt x="1440" y="1104"/>
                    </a:lnTo>
                    <a:lnTo>
                      <a:pt x="1440" y="1108"/>
                    </a:lnTo>
                    <a:lnTo>
                      <a:pt x="1440" y="1112"/>
                    </a:lnTo>
                    <a:lnTo>
                      <a:pt x="1442" y="1114"/>
                    </a:lnTo>
                    <a:lnTo>
                      <a:pt x="1446" y="1116"/>
                    </a:lnTo>
                    <a:lnTo>
                      <a:pt x="1450" y="1114"/>
                    </a:lnTo>
                    <a:lnTo>
                      <a:pt x="1452" y="1112"/>
                    </a:lnTo>
                    <a:lnTo>
                      <a:pt x="1456" y="1106"/>
                    </a:lnTo>
                    <a:lnTo>
                      <a:pt x="1456" y="1106"/>
                    </a:lnTo>
                    <a:lnTo>
                      <a:pt x="1462" y="1092"/>
                    </a:lnTo>
                    <a:lnTo>
                      <a:pt x="1466" y="1088"/>
                    </a:lnTo>
                    <a:lnTo>
                      <a:pt x="1470" y="1084"/>
                    </a:lnTo>
                    <a:lnTo>
                      <a:pt x="1474" y="1082"/>
                    </a:lnTo>
                    <a:lnTo>
                      <a:pt x="1478" y="1084"/>
                    </a:lnTo>
                    <a:lnTo>
                      <a:pt x="1484" y="1088"/>
                    </a:lnTo>
                    <a:lnTo>
                      <a:pt x="1488" y="1094"/>
                    </a:lnTo>
                    <a:lnTo>
                      <a:pt x="1488" y="1094"/>
                    </a:lnTo>
                    <a:lnTo>
                      <a:pt x="1492" y="1104"/>
                    </a:lnTo>
                    <a:lnTo>
                      <a:pt x="1494" y="1112"/>
                    </a:lnTo>
                    <a:lnTo>
                      <a:pt x="1494" y="1118"/>
                    </a:lnTo>
                    <a:lnTo>
                      <a:pt x="1492" y="1124"/>
                    </a:lnTo>
                    <a:lnTo>
                      <a:pt x="1488" y="1134"/>
                    </a:lnTo>
                    <a:lnTo>
                      <a:pt x="1488" y="1138"/>
                    </a:lnTo>
                    <a:lnTo>
                      <a:pt x="1488" y="1144"/>
                    </a:lnTo>
                    <a:lnTo>
                      <a:pt x="1488" y="1144"/>
                    </a:lnTo>
                    <a:lnTo>
                      <a:pt x="1492" y="1152"/>
                    </a:lnTo>
                    <a:lnTo>
                      <a:pt x="1494" y="1160"/>
                    </a:lnTo>
                    <a:lnTo>
                      <a:pt x="1496" y="1164"/>
                    </a:lnTo>
                    <a:lnTo>
                      <a:pt x="1498" y="1164"/>
                    </a:lnTo>
                    <a:lnTo>
                      <a:pt x="1502" y="1162"/>
                    </a:lnTo>
                    <a:lnTo>
                      <a:pt x="1508" y="1158"/>
                    </a:lnTo>
                    <a:lnTo>
                      <a:pt x="1508" y="1158"/>
                    </a:lnTo>
                    <a:lnTo>
                      <a:pt x="1516" y="1150"/>
                    </a:lnTo>
                    <a:lnTo>
                      <a:pt x="1524" y="1142"/>
                    </a:lnTo>
                    <a:lnTo>
                      <a:pt x="1526" y="1138"/>
                    </a:lnTo>
                    <a:lnTo>
                      <a:pt x="1526" y="1132"/>
                    </a:lnTo>
                    <a:lnTo>
                      <a:pt x="1524" y="1118"/>
                    </a:lnTo>
                    <a:lnTo>
                      <a:pt x="1524" y="1118"/>
                    </a:lnTo>
                    <a:lnTo>
                      <a:pt x="1522" y="1106"/>
                    </a:lnTo>
                    <a:lnTo>
                      <a:pt x="1524" y="1098"/>
                    </a:lnTo>
                    <a:lnTo>
                      <a:pt x="1528" y="1094"/>
                    </a:lnTo>
                    <a:lnTo>
                      <a:pt x="1530" y="1090"/>
                    </a:lnTo>
                    <a:lnTo>
                      <a:pt x="1530" y="1090"/>
                    </a:lnTo>
                    <a:lnTo>
                      <a:pt x="1528" y="1098"/>
                    </a:lnTo>
                    <a:lnTo>
                      <a:pt x="1530" y="1106"/>
                    </a:lnTo>
                    <a:lnTo>
                      <a:pt x="1532" y="1118"/>
                    </a:lnTo>
                    <a:lnTo>
                      <a:pt x="1534" y="1130"/>
                    </a:lnTo>
                    <a:lnTo>
                      <a:pt x="1532" y="1136"/>
                    </a:lnTo>
                    <a:lnTo>
                      <a:pt x="1530" y="1140"/>
                    </a:lnTo>
                    <a:lnTo>
                      <a:pt x="1530" y="1140"/>
                    </a:lnTo>
                    <a:lnTo>
                      <a:pt x="1526" y="1142"/>
                    </a:lnTo>
                    <a:lnTo>
                      <a:pt x="1526" y="1146"/>
                    </a:lnTo>
                    <a:lnTo>
                      <a:pt x="1526" y="1152"/>
                    </a:lnTo>
                    <a:lnTo>
                      <a:pt x="1526" y="1160"/>
                    </a:lnTo>
                    <a:lnTo>
                      <a:pt x="1524" y="1162"/>
                    </a:lnTo>
                    <a:lnTo>
                      <a:pt x="1522" y="1166"/>
                    </a:lnTo>
                    <a:lnTo>
                      <a:pt x="1522" y="1166"/>
                    </a:lnTo>
                    <a:lnTo>
                      <a:pt x="1516" y="1172"/>
                    </a:lnTo>
                    <a:lnTo>
                      <a:pt x="1512" y="1178"/>
                    </a:lnTo>
                    <a:lnTo>
                      <a:pt x="1512" y="1182"/>
                    </a:lnTo>
                    <a:lnTo>
                      <a:pt x="1512" y="1186"/>
                    </a:lnTo>
                    <a:lnTo>
                      <a:pt x="1518" y="1192"/>
                    </a:lnTo>
                    <a:lnTo>
                      <a:pt x="1520" y="1194"/>
                    </a:lnTo>
                    <a:lnTo>
                      <a:pt x="1524" y="1198"/>
                    </a:lnTo>
                    <a:lnTo>
                      <a:pt x="1524" y="1198"/>
                    </a:lnTo>
                    <a:lnTo>
                      <a:pt x="1528" y="1210"/>
                    </a:lnTo>
                    <a:lnTo>
                      <a:pt x="1534" y="1222"/>
                    </a:lnTo>
                    <a:lnTo>
                      <a:pt x="1542" y="1232"/>
                    </a:lnTo>
                    <a:lnTo>
                      <a:pt x="1554" y="1244"/>
                    </a:lnTo>
                    <a:lnTo>
                      <a:pt x="1554" y="1244"/>
                    </a:lnTo>
                    <a:lnTo>
                      <a:pt x="1558" y="1246"/>
                    </a:lnTo>
                    <a:lnTo>
                      <a:pt x="1560" y="1244"/>
                    </a:lnTo>
                    <a:lnTo>
                      <a:pt x="1562" y="1236"/>
                    </a:lnTo>
                    <a:lnTo>
                      <a:pt x="1564" y="1230"/>
                    </a:lnTo>
                    <a:lnTo>
                      <a:pt x="1566" y="1224"/>
                    </a:lnTo>
                    <a:lnTo>
                      <a:pt x="1574" y="1218"/>
                    </a:lnTo>
                    <a:lnTo>
                      <a:pt x="1584" y="1216"/>
                    </a:lnTo>
                    <a:lnTo>
                      <a:pt x="1584" y="1216"/>
                    </a:lnTo>
                    <a:lnTo>
                      <a:pt x="1592" y="1216"/>
                    </a:lnTo>
                    <a:lnTo>
                      <a:pt x="1594" y="1216"/>
                    </a:lnTo>
                    <a:lnTo>
                      <a:pt x="1586" y="1222"/>
                    </a:lnTo>
                    <a:lnTo>
                      <a:pt x="1582" y="1228"/>
                    </a:lnTo>
                    <a:lnTo>
                      <a:pt x="1578" y="1234"/>
                    </a:lnTo>
                    <a:lnTo>
                      <a:pt x="1574" y="1240"/>
                    </a:lnTo>
                    <a:lnTo>
                      <a:pt x="1576" y="1248"/>
                    </a:lnTo>
                    <a:lnTo>
                      <a:pt x="1576" y="1248"/>
                    </a:lnTo>
                    <a:lnTo>
                      <a:pt x="1582" y="1258"/>
                    </a:lnTo>
                    <a:lnTo>
                      <a:pt x="1586" y="1260"/>
                    </a:lnTo>
                    <a:lnTo>
                      <a:pt x="1588" y="1262"/>
                    </a:lnTo>
                    <a:lnTo>
                      <a:pt x="1590" y="1274"/>
                    </a:lnTo>
                    <a:lnTo>
                      <a:pt x="1590" y="1274"/>
                    </a:lnTo>
                    <a:lnTo>
                      <a:pt x="1592" y="1280"/>
                    </a:lnTo>
                    <a:lnTo>
                      <a:pt x="1596" y="1280"/>
                    </a:lnTo>
                    <a:lnTo>
                      <a:pt x="1600" y="1280"/>
                    </a:lnTo>
                    <a:lnTo>
                      <a:pt x="1604" y="1278"/>
                    </a:lnTo>
                    <a:lnTo>
                      <a:pt x="1608" y="1278"/>
                    </a:lnTo>
                    <a:lnTo>
                      <a:pt x="1610" y="1278"/>
                    </a:lnTo>
                    <a:lnTo>
                      <a:pt x="1610" y="1280"/>
                    </a:lnTo>
                    <a:lnTo>
                      <a:pt x="1606" y="1290"/>
                    </a:lnTo>
                    <a:lnTo>
                      <a:pt x="1606" y="1290"/>
                    </a:lnTo>
                    <a:lnTo>
                      <a:pt x="1598" y="1306"/>
                    </a:lnTo>
                    <a:lnTo>
                      <a:pt x="1596" y="1318"/>
                    </a:lnTo>
                    <a:lnTo>
                      <a:pt x="1598" y="1322"/>
                    </a:lnTo>
                    <a:lnTo>
                      <a:pt x="1600" y="1322"/>
                    </a:lnTo>
                    <a:lnTo>
                      <a:pt x="1600" y="1322"/>
                    </a:lnTo>
                    <a:lnTo>
                      <a:pt x="1602" y="1322"/>
                    </a:lnTo>
                    <a:lnTo>
                      <a:pt x="1602" y="1324"/>
                    </a:lnTo>
                    <a:lnTo>
                      <a:pt x="1602" y="1330"/>
                    </a:lnTo>
                    <a:lnTo>
                      <a:pt x="1602" y="1336"/>
                    </a:lnTo>
                    <a:lnTo>
                      <a:pt x="1604" y="1340"/>
                    </a:lnTo>
                    <a:lnTo>
                      <a:pt x="1608" y="1342"/>
                    </a:lnTo>
                    <a:lnTo>
                      <a:pt x="1608" y="1342"/>
                    </a:lnTo>
                    <a:lnTo>
                      <a:pt x="1610" y="1342"/>
                    </a:lnTo>
                    <a:lnTo>
                      <a:pt x="1612" y="1340"/>
                    </a:lnTo>
                    <a:lnTo>
                      <a:pt x="1614" y="1330"/>
                    </a:lnTo>
                    <a:lnTo>
                      <a:pt x="1616" y="1320"/>
                    </a:lnTo>
                    <a:lnTo>
                      <a:pt x="1618" y="1316"/>
                    </a:lnTo>
                    <a:lnTo>
                      <a:pt x="1622" y="1314"/>
                    </a:lnTo>
                    <a:lnTo>
                      <a:pt x="1622" y="1314"/>
                    </a:lnTo>
                    <a:lnTo>
                      <a:pt x="1630" y="1310"/>
                    </a:lnTo>
                    <a:lnTo>
                      <a:pt x="1636" y="1304"/>
                    </a:lnTo>
                    <a:lnTo>
                      <a:pt x="1642" y="1300"/>
                    </a:lnTo>
                    <a:lnTo>
                      <a:pt x="1642" y="1300"/>
                    </a:lnTo>
                    <a:lnTo>
                      <a:pt x="1644" y="1304"/>
                    </a:lnTo>
                    <a:lnTo>
                      <a:pt x="1644" y="1304"/>
                    </a:lnTo>
                    <a:lnTo>
                      <a:pt x="1646" y="1306"/>
                    </a:lnTo>
                    <a:lnTo>
                      <a:pt x="1648" y="1308"/>
                    </a:lnTo>
                    <a:lnTo>
                      <a:pt x="1654" y="1308"/>
                    </a:lnTo>
                    <a:lnTo>
                      <a:pt x="1660" y="1308"/>
                    </a:lnTo>
                    <a:lnTo>
                      <a:pt x="1660" y="1310"/>
                    </a:lnTo>
                    <a:lnTo>
                      <a:pt x="1660" y="1314"/>
                    </a:lnTo>
                    <a:lnTo>
                      <a:pt x="1660" y="1314"/>
                    </a:lnTo>
                    <a:lnTo>
                      <a:pt x="1660" y="1318"/>
                    </a:lnTo>
                    <a:lnTo>
                      <a:pt x="1658" y="1318"/>
                    </a:lnTo>
                    <a:lnTo>
                      <a:pt x="1656" y="1316"/>
                    </a:lnTo>
                    <a:lnTo>
                      <a:pt x="1652" y="1314"/>
                    </a:lnTo>
                    <a:lnTo>
                      <a:pt x="1648" y="1312"/>
                    </a:lnTo>
                    <a:lnTo>
                      <a:pt x="1642" y="1314"/>
                    </a:lnTo>
                    <a:lnTo>
                      <a:pt x="1634" y="1318"/>
                    </a:lnTo>
                    <a:lnTo>
                      <a:pt x="1634" y="1318"/>
                    </a:lnTo>
                    <a:lnTo>
                      <a:pt x="1622" y="1330"/>
                    </a:lnTo>
                    <a:lnTo>
                      <a:pt x="1618" y="1336"/>
                    </a:lnTo>
                    <a:lnTo>
                      <a:pt x="1618" y="1342"/>
                    </a:lnTo>
                    <a:lnTo>
                      <a:pt x="1618" y="1350"/>
                    </a:lnTo>
                    <a:lnTo>
                      <a:pt x="1618" y="1350"/>
                    </a:lnTo>
                    <a:lnTo>
                      <a:pt x="1620" y="1356"/>
                    </a:lnTo>
                    <a:lnTo>
                      <a:pt x="1622" y="1358"/>
                    </a:lnTo>
                    <a:lnTo>
                      <a:pt x="1626" y="1360"/>
                    </a:lnTo>
                    <a:lnTo>
                      <a:pt x="1628" y="1362"/>
                    </a:lnTo>
                    <a:lnTo>
                      <a:pt x="1624" y="1366"/>
                    </a:lnTo>
                    <a:lnTo>
                      <a:pt x="1624" y="1366"/>
                    </a:lnTo>
                    <a:lnTo>
                      <a:pt x="1622" y="1368"/>
                    </a:lnTo>
                    <a:lnTo>
                      <a:pt x="1622" y="1370"/>
                    </a:lnTo>
                    <a:lnTo>
                      <a:pt x="1624" y="1372"/>
                    </a:lnTo>
                    <a:lnTo>
                      <a:pt x="1626" y="1374"/>
                    </a:lnTo>
                    <a:lnTo>
                      <a:pt x="1624" y="1376"/>
                    </a:lnTo>
                    <a:lnTo>
                      <a:pt x="1624" y="1376"/>
                    </a:lnTo>
                    <a:lnTo>
                      <a:pt x="1620" y="1378"/>
                    </a:lnTo>
                    <a:lnTo>
                      <a:pt x="1620" y="1382"/>
                    </a:lnTo>
                    <a:lnTo>
                      <a:pt x="1620" y="1384"/>
                    </a:lnTo>
                    <a:lnTo>
                      <a:pt x="1622" y="1386"/>
                    </a:lnTo>
                    <a:lnTo>
                      <a:pt x="1630" y="1392"/>
                    </a:lnTo>
                    <a:lnTo>
                      <a:pt x="1642" y="1396"/>
                    </a:lnTo>
                    <a:lnTo>
                      <a:pt x="1642" y="1396"/>
                    </a:lnTo>
                    <a:lnTo>
                      <a:pt x="1650" y="1398"/>
                    </a:lnTo>
                    <a:lnTo>
                      <a:pt x="1656" y="1396"/>
                    </a:lnTo>
                    <a:lnTo>
                      <a:pt x="1662" y="1394"/>
                    </a:lnTo>
                    <a:lnTo>
                      <a:pt x="1670" y="1394"/>
                    </a:lnTo>
                    <a:lnTo>
                      <a:pt x="1670" y="1394"/>
                    </a:lnTo>
                    <a:lnTo>
                      <a:pt x="1676" y="1396"/>
                    </a:lnTo>
                    <a:lnTo>
                      <a:pt x="1676" y="1398"/>
                    </a:lnTo>
                    <a:lnTo>
                      <a:pt x="1676" y="1400"/>
                    </a:lnTo>
                    <a:lnTo>
                      <a:pt x="1682" y="1400"/>
                    </a:lnTo>
                    <a:lnTo>
                      <a:pt x="1682" y="1400"/>
                    </a:lnTo>
                    <a:lnTo>
                      <a:pt x="1688" y="1402"/>
                    </a:lnTo>
                    <a:lnTo>
                      <a:pt x="1688" y="1404"/>
                    </a:lnTo>
                    <a:lnTo>
                      <a:pt x="1686" y="1412"/>
                    </a:lnTo>
                    <a:lnTo>
                      <a:pt x="1686" y="1416"/>
                    </a:lnTo>
                    <a:lnTo>
                      <a:pt x="1686" y="1420"/>
                    </a:lnTo>
                    <a:lnTo>
                      <a:pt x="1688" y="1422"/>
                    </a:lnTo>
                    <a:lnTo>
                      <a:pt x="1694" y="1420"/>
                    </a:lnTo>
                    <a:lnTo>
                      <a:pt x="1694" y="1420"/>
                    </a:lnTo>
                    <a:lnTo>
                      <a:pt x="1700" y="1420"/>
                    </a:lnTo>
                    <a:lnTo>
                      <a:pt x="1702" y="1422"/>
                    </a:lnTo>
                    <a:lnTo>
                      <a:pt x="1706" y="1424"/>
                    </a:lnTo>
                    <a:lnTo>
                      <a:pt x="1714" y="1422"/>
                    </a:lnTo>
                    <a:lnTo>
                      <a:pt x="1714" y="1422"/>
                    </a:lnTo>
                    <a:lnTo>
                      <a:pt x="1718" y="1422"/>
                    </a:lnTo>
                    <a:lnTo>
                      <a:pt x="1722" y="1422"/>
                    </a:lnTo>
                    <a:lnTo>
                      <a:pt x="1730" y="1426"/>
                    </a:lnTo>
                    <a:lnTo>
                      <a:pt x="1736" y="1430"/>
                    </a:lnTo>
                    <a:lnTo>
                      <a:pt x="1738" y="1430"/>
                    </a:lnTo>
                    <a:lnTo>
                      <a:pt x="1742" y="1428"/>
                    </a:lnTo>
                    <a:lnTo>
                      <a:pt x="1742" y="1428"/>
                    </a:lnTo>
                    <a:lnTo>
                      <a:pt x="1744" y="1428"/>
                    </a:lnTo>
                    <a:lnTo>
                      <a:pt x="1748" y="1430"/>
                    </a:lnTo>
                    <a:lnTo>
                      <a:pt x="1750" y="1434"/>
                    </a:lnTo>
                    <a:lnTo>
                      <a:pt x="1750" y="1442"/>
                    </a:lnTo>
                    <a:lnTo>
                      <a:pt x="1748" y="1444"/>
                    </a:lnTo>
                    <a:lnTo>
                      <a:pt x="1744" y="1446"/>
                    </a:lnTo>
                    <a:lnTo>
                      <a:pt x="1744" y="1446"/>
                    </a:lnTo>
                    <a:lnTo>
                      <a:pt x="1742" y="1448"/>
                    </a:lnTo>
                    <a:lnTo>
                      <a:pt x="1742" y="1450"/>
                    </a:lnTo>
                    <a:lnTo>
                      <a:pt x="1748" y="1458"/>
                    </a:lnTo>
                    <a:lnTo>
                      <a:pt x="1758" y="1464"/>
                    </a:lnTo>
                    <a:lnTo>
                      <a:pt x="1764" y="1464"/>
                    </a:lnTo>
                    <a:lnTo>
                      <a:pt x="1768" y="1464"/>
                    </a:lnTo>
                    <a:lnTo>
                      <a:pt x="1768" y="1464"/>
                    </a:lnTo>
                    <a:lnTo>
                      <a:pt x="1774" y="1458"/>
                    </a:lnTo>
                    <a:lnTo>
                      <a:pt x="1778" y="1454"/>
                    </a:lnTo>
                    <a:lnTo>
                      <a:pt x="1778" y="1452"/>
                    </a:lnTo>
                    <a:lnTo>
                      <a:pt x="1778" y="1454"/>
                    </a:lnTo>
                    <a:lnTo>
                      <a:pt x="1780" y="1460"/>
                    </a:lnTo>
                    <a:lnTo>
                      <a:pt x="1780" y="1460"/>
                    </a:lnTo>
                    <a:lnTo>
                      <a:pt x="1780" y="1468"/>
                    </a:lnTo>
                    <a:lnTo>
                      <a:pt x="1784" y="1470"/>
                    </a:lnTo>
                    <a:lnTo>
                      <a:pt x="1786" y="1470"/>
                    </a:lnTo>
                    <a:lnTo>
                      <a:pt x="1786" y="1474"/>
                    </a:lnTo>
                    <a:lnTo>
                      <a:pt x="1786" y="1474"/>
                    </a:lnTo>
                    <a:lnTo>
                      <a:pt x="1784" y="1476"/>
                    </a:lnTo>
                    <a:lnTo>
                      <a:pt x="1782" y="1476"/>
                    </a:lnTo>
                    <a:lnTo>
                      <a:pt x="1780" y="1472"/>
                    </a:lnTo>
                    <a:lnTo>
                      <a:pt x="1776" y="1468"/>
                    </a:lnTo>
                    <a:lnTo>
                      <a:pt x="1774" y="1468"/>
                    </a:lnTo>
                    <a:lnTo>
                      <a:pt x="1772" y="1470"/>
                    </a:lnTo>
                    <a:lnTo>
                      <a:pt x="1772" y="1470"/>
                    </a:lnTo>
                    <a:lnTo>
                      <a:pt x="1770" y="1472"/>
                    </a:lnTo>
                    <a:lnTo>
                      <a:pt x="1772" y="1476"/>
                    </a:lnTo>
                    <a:lnTo>
                      <a:pt x="1780" y="1484"/>
                    </a:lnTo>
                    <a:lnTo>
                      <a:pt x="1790" y="1486"/>
                    </a:lnTo>
                    <a:lnTo>
                      <a:pt x="1794" y="1486"/>
                    </a:lnTo>
                    <a:lnTo>
                      <a:pt x="1794" y="1484"/>
                    </a:lnTo>
                    <a:lnTo>
                      <a:pt x="1794" y="1484"/>
                    </a:lnTo>
                    <a:lnTo>
                      <a:pt x="1796" y="1478"/>
                    </a:lnTo>
                    <a:lnTo>
                      <a:pt x="1800" y="1474"/>
                    </a:lnTo>
                    <a:lnTo>
                      <a:pt x="1804" y="1474"/>
                    </a:lnTo>
                    <a:lnTo>
                      <a:pt x="1804" y="1478"/>
                    </a:lnTo>
                    <a:lnTo>
                      <a:pt x="1804" y="1478"/>
                    </a:lnTo>
                    <a:lnTo>
                      <a:pt x="1804" y="1486"/>
                    </a:lnTo>
                    <a:lnTo>
                      <a:pt x="1806" y="1492"/>
                    </a:lnTo>
                    <a:lnTo>
                      <a:pt x="1808" y="1498"/>
                    </a:lnTo>
                    <a:lnTo>
                      <a:pt x="1808" y="1504"/>
                    </a:lnTo>
                    <a:lnTo>
                      <a:pt x="1808" y="1504"/>
                    </a:lnTo>
                    <a:lnTo>
                      <a:pt x="1808" y="1510"/>
                    </a:lnTo>
                    <a:lnTo>
                      <a:pt x="1810" y="1512"/>
                    </a:lnTo>
                    <a:lnTo>
                      <a:pt x="1812" y="1510"/>
                    </a:lnTo>
                    <a:lnTo>
                      <a:pt x="1816" y="1506"/>
                    </a:lnTo>
                    <a:lnTo>
                      <a:pt x="1816" y="1506"/>
                    </a:lnTo>
                    <a:lnTo>
                      <a:pt x="1818" y="1504"/>
                    </a:lnTo>
                    <a:lnTo>
                      <a:pt x="1820" y="1506"/>
                    </a:lnTo>
                    <a:lnTo>
                      <a:pt x="1822" y="1508"/>
                    </a:lnTo>
                    <a:lnTo>
                      <a:pt x="1822" y="1508"/>
                    </a:lnTo>
                    <a:lnTo>
                      <a:pt x="1822" y="1516"/>
                    </a:lnTo>
                    <a:lnTo>
                      <a:pt x="1824" y="1520"/>
                    </a:lnTo>
                    <a:lnTo>
                      <a:pt x="1828" y="1526"/>
                    </a:lnTo>
                    <a:lnTo>
                      <a:pt x="1832" y="1528"/>
                    </a:lnTo>
                    <a:lnTo>
                      <a:pt x="1832" y="1530"/>
                    </a:lnTo>
                    <a:lnTo>
                      <a:pt x="1832" y="1534"/>
                    </a:lnTo>
                    <a:lnTo>
                      <a:pt x="1832" y="1534"/>
                    </a:lnTo>
                    <a:lnTo>
                      <a:pt x="1832" y="1538"/>
                    </a:lnTo>
                    <a:lnTo>
                      <a:pt x="1830" y="1538"/>
                    </a:lnTo>
                    <a:lnTo>
                      <a:pt x="1826" y="1540"/>
                    </a:lnTo>
                    <a:lnTo>
                      <a:pt x="1824" y="1540"/>
                    </a:lnTo>
                    <a:lnTo>
                      <a:pt x="1824" y="1542"/>
                    </a:lnTo>
                    <a:lnTo>
                      <a:pt x="1830" y="1550"/>
                    </a:lnTo>
                    <a:lnTo>
                      <a:pt x="1830" y="1550"/>
                    </a:lnTo>
                    <a:lnTo>
                      <a:pt x="1836" y="1562"/>
                    </a:lnTo>
                    <a:lnTo>
                      <a:pt x="1840" y="1570"/>
                    </a:lnTo>
                    <a:lnTo>
                      <a:pt x="1840" y="1582"/>
                    </a:lnTo>
                    <a:lnTo>
                      <a:pt x="1840" y="1600"/>
                    </a:lnTo>
                    <a:lnTo>
                      <a:pt x="1840" y="1600"/>
                    </a:lnTo>
                    <a:lnTo>
                      <a:pt x="1838" y="1608"/>
                    </a:lnTo>
                    <a:lnTo>
                      <a:pt x="1836" y="1610"/>
                    </a:lnTo>
                    <a:lnTo>
                      <a:pt x="1834" y="1608"/>
                    </a:lnTo>
                    <a:lnTo>
                      <a:pt x="1834" y="1604"/>
                    </a:lnTo>
                    <a:lnTo>
                      <a:pt x="1828" y="1570"/>
                    </a:lnTo>
                    <a:lnTo>
                      <a:pt x="1828" y="1570"/>
                    </a:lnTo>
                    <a:lnTo>
                      <a:pt x="1824" y="1564"/>
                    </a:lnTo>
                    <a:lnTo>
                      <a:pt x="1816" y="1560"/>
                    </a:lnTo>
                    <a:lnTo>
                      <a:pt x="1808" y="1558"/>
                    </a:lnTo>
                    <a:lnTo>
                      <a:pt x="1798" y="1556"/>
                    </a:lnTo>
                    <a:lnTo>
                      <a:pt x="1776" y="1554"/>
                    </a:lnTo>
                    <a:lnTo>
                      <a:pt x="1766" y="1552"/>
                    </a:lnTo>
                    <a:lnTo>
                      <a:pt x="1758" y="1548"/>
                    </a:lnTo>
                    <a:lnTo>
                      <a:pt x="1758" y="1548"/>
                    </a:lnTo>
                    <a:lnTo>
                      <a:pt x="1752" y="1546"/>
                    </a:lnTo>
                    <a:lnTo>
                      <a:pt x="1746" y="1546"/>
                    </a:lnTo>
                    <a:lnTo>
                      <a:pt x="1744" y="1548"/>
                    </a:lnTo>
                    <a:lnTo>
                      <a:pt x="1742" y="1552"/>
                    </a:lnTo>
                    <a:lnTo>
                      <a:pt x="1744" y="1556"/>
                    </a:lnTo>
                    <a:lnTo>
                      <a:pt x="1746" y="1564"/>
                    </a:lnTo>
                    <a:lnTo>
                      <a:pt x="1754" y="1578"/>
                    </a:lnTo>
                    <a:lnTo>
                      <a:pt x="1754" y="1578"/>
                    </a:lnTo>
                    <a:lnTo>
                      <a:pt x="1758" y="1586"/>
                    </a:lnTo>
                    <a:lnTo>
                      <a:pt x="1764" y="1598"/>
                    </a:lnTo>
                    <a:lnTo>
                      <a:pt x="1770" y="1626"/>
                    </a:lnTo>
                    <a:lnTo>
                      <a:pt x="1774" y="1658"/>
                    </a:lnTo>
                    <a:lnTo>
                      <a:pt x="1774" y="1690"/>
                    </a:lnTo>
                    <a:lnTo>
                      <a:pt x="1774" y="1690"/>
                    </a:lnTo>
                    <a:lnTo>
                      <a:pt x="1774" y="1726"/>
                    </a:lnTo>
                    <a:lnTo>
                      <a:pt x="1770" y="1768"/>
                    </a:lnTo>
                    <a:lnTo>
                      <a:pt x="1766" y="1810"/>
                    </a:lnTo>
                    <a:lnTo>
                      <a:pt x="1762" y="1828"/>
                    </a:lnTo>
                    <a:lnTo>
                      <a:pt x="1756" y="1842"/>
                    </a:lnTo>
                    <a:lnTo>
                      <a:pt x="1756" y="1842"/>
                    </a:lnTo>
                    <a:lnTo>
                      <a:pt x="1754" y="1854"/>
                    </a:lnTo>
                    <a:lnTo>
                      <a:pt x="1754" y="1870"/>
                    </a:lnTo>
                    <a:lnTo>
                      <a:pt x="1756" y="1886"/>
                    </a:lnTo>
                    <a:lnTo>
                      <a:pt x="1760" y="1904"/>
                    </a:lnTo>
                    <a:lnTo>
                      <a:pt x="1764" y="1920"/>
                    </a:lnTo>
                    <a:lnTo>
                      <a:pt x="1766" y="1938"/>
                    </a:lnTo>
                    <a:lnTo>
                      <a:pt x="1766" y="1956"/>
                    </a:lnTo>
                    <a:lnTo>
                      <a:pt x="1762" y="1972"/>
                    </a:lnTo>
                    <a:lnTo>
                      <a:pt x="1762" y="1972"/>
                    </a:lnTo>
                    <a:lnTo>
                      <a:pt x="1760" y="1986"/>
                    </a:lnTo>
                    <a:lnTo>
                      <a:pt x="1758" y="1996"/>
                    </a:lnTo>
                    <a:lnTo>
                      <a:pt x="1762" y="2006"/>
                    </a:lnTo>
                    <a:lnTo>
                      <a:pt x="1766" y="2012"/>
                    </a:lnTo>
                    <a:lnTo>
                      <a:pt x="1774" y="2030"/>
                    </a:lnTo>
                    <a:lnTo>
                      <a:pt x="1778" y="2042"/>
                    </a:lnTo>
                    <a:lnTo>
                      <a:pt x="1780" y="2056"/>
                    </a:lnTo>
                    <a:lnTo>
                      <a:pt x="1780" y="2056"/>
                    </a:lnTo>
                    <a:lnTo>
                      <a:pt x="1784" y="2072"/>
                    </a:lnTo>
                    <a:lnTo>
                      <a:pt x="1786" y="2082"/>
                    </a:lnTo>
                    <a:lnTo>
                      <a:pt x="1792" y="2090"/>
                    </a:lnTo>
                    <a:lnTo>
                      <a:pt x="1798" y="2096"/>
                    </a:lnTo>
                    <a:lnTo>
                      <a:pt x="1808" y="2104"/>
                    </a:lnTo>
                    <a:lnTo>
                      <a:pt x="1812" y="2110"/>
                    </a:lnTo>
                    <a:lnTo>
                      <a:pt x="1814" y="2118"/>
                    </a:lnTo>
                    <a:lnTo>
                      <a:pt x="1814" y="2118"/>
                    </a:lnTo>
                    <a:lnTo>
                      <a:pt x="1816" y="2124"/>
                    </a:lnTo>
                    <a:lnTo>
                      <a:pt x="1818" y="2128"/>
                    </a:lnTo>
                    <a:lnTo>
                      <a:pt x="1824" y="2132"/>
                    </a:lnTo>
                    <a:lnTo>
                      <a:pt x="1828" y="2136"/>
                    </a:lnTo>
                    <a:lnTo>
                      <a:pt x="1832" y="2140"/>
                    </a:lnTo>
                    <a:lnTo>
                      <a:pt x="1834" y="2146"/>
                    </a:lnTo>
                    <a:lnTo>
                      <a:pt x="1836" y="2158"/>
                    </a:lnTo>
                    <a:lnTo>
                      <a:pt x="1836" y="2158"/>
                    </a:lnTo>
                    <a:lnTo>
                      <a:pt x="1838" y="2170"/>
                    </a:lnTo>
                    <a:lnTo>
                      <a:pt x="1842" y="2178"/>
                    </a:lnTo>
                    <a:lnTo>
                      <a:pt x="1846" y="2182"/>
                    </a:lnTo>
                    <a:lnTo>
                      <a:pt x="1852" y="2186"/>
                    </a:lnTo>
                    <a:lnTo>
                      <a:pt x="1856" y="2188"/>
                    </a:lnTo>
                    <a:lnTo>
                      <a:pt x="1860" y="2190"/>
                    </a:lnTo>
                    <a:lnTo>
                      <a:pt x="1862" y="2194"/>
                    </a:lnTo>
                    <a:lnTo>
                      <a:pt x="1860" y="2200"/>
                    </a:lnTo>
                    <a:lnTo>
                      <a:pt x="1860" y="2200"/>
                    </a:lnTo>
                    <a:lnTo>
                      <a:pt x="1858" y="2208"/>
                    </a:lnTo>
                    <a:lnTo>
                      <a:pt x="1858" y="2214"/>
                    </a:lnTo>
                    <a:lnTo>
                      <a:pt x="1860" y="2218"/>
                    </a:lnTo>
                    <a:lnTo>
                      <a:pt x="1862" y="2224"/>
                    </a:lnTo>
                    <a:lnTo>
                      <a:pt x="1872" y="2238"/>
                    </a:lnTo>
                    <a:lnTo>
                      <a:pt x="1890" y="2260"/>
                    </a:lnTo>
                    <a:lnTo>
                      <a:pt x="1890" y="2260"/>
                    </a:lnTo>
                    <a:lnTo>
                      <a:pt x="1900" y="2272"/>
                    </a:lnTo>
                    <a:lnTo>
                      <a:pt x="1904" y="2282"/>
                    </a:lnTo>
                    <a:lnTo>
                      <a:pt x="1908" y="2292"/>
                    </a:lnTo>
                    <a:lnTo>
                      <a:pt x="1908" y="2298"/>
                    </a:lnTo>
                    <a:lnTo>
                      <a:pt x="1910" y="2310"/>
                    </a:lnTo>
                    <a:lnTo>
                      <a:pt x="1912" y="2314"/>
                    </a:lnTo>
                    <a:lnTo>
                      <a:pt x="1916" y="2318"/>
                    </a:lnTo>
                    <a:lnTo>
                      <a:pt x="1916" y="2318"/>
                    </a:lnTo>
                    <a:lnTo>
                      <a:pt x="1920" y="2322"/>
                    </a:lnTo>
                    <a:lnTo>
                      <a:pt x="1926" y="2324"/>
                    </a:lnTo>
                    <a:lnTo>
                      <a:pt x="1940" y="2326"/>
                    </a:lnTo>
                    <a:lnTo>
                      <a:pt x="1948" y="2328"/>
                    </a:lnTo>
                    <a:lnTo>
                      <a:pt x="1958" y="2332"/>
                    </a:lnTo>
                    <a:lnTo>
                      <a:pt x="1968" y="2336"/>
                    </a:lnTo>
                    <a:lnTo>
                      <a:pt x="1978" y="2344"/>
                    </a:lnTo>
                    <a:lnTo>
                      <a:pt x="1978" y="2344"/>
                    </a:lnTo>
                    <a:lnTo>
                      <a:pt x="1986" y="2352"/>
                    </a:lnTo>
                    <a:lnTo>
                      <a:pt x="1994" y="2358"/>
                    </a:lnTo>
                    <a:lnTo>
                      <a:pt x="2006" y="2360"/>
                    </a:lnTo>
                    <a:lnTo>
                      <a:pt x="2016" y="2364"/>
                    </a:lnTo>
                    <a:lnTo>
                      <a:pt x="2022" y="2368"/>
                    </a:lnTo>
                    <a:lnTo>
                      <a:pt x="2030" y="2374"/>
                    </a:lnTo>
                    <a:lnTo>
                      <a:pt x="2030" y="2374"/>
                    </a:lnTo>
                    <a:lnTo>
                      <a:pt x="2036" y="2382"/>
                    </a:lnTo>
                    <a:lnTo>
                      <a:pt x="2040" y="2388"/>
                    </a:lnTo>
                    <a:lnTo>
                      <a:pt x="2046" y="2400"/>
                    </a:lnTo>
                    <a:lnTo>
                      <a:pt x="2048" y="2410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66" y="2454"/>
                    </a:lnTo>
                    <a:lnTo>
                      <a:pt x="2078" y="2480"/>
                    </a:lnTo>
                    <a:lnTo>
                      <a:pt x="2092" y="2520"/>
                    </a:lnTo>
                    <a:lnTo>
                      <a:pt x="2100" y="2548"/>
                    </a:lnTo>
                    <a:lnTo>
                      <a:pt x="2106" y="2560"/>
                    </a:lnTo>
                    <a:lnTo>
                      <a:pt x="2112" y="2568"/>
                    </a:lnTo>
                    <a:lnTo>
                      <a:pt x="2112" y="2568"/>
                    </a:lnTo>
                    <a:lnTo>
                      <a:pt x="2120" y="2578"/>
                    </a:lnTo>
                    <a:lnTo>
                      <a:pt x="2130" y="2586"/>
                    </a:lnTo>
                    <a:lnTo>
                      <a:pt x="2150" y="2604"/>
                    </a:lnTo>
                    <a:lnTo>
                      <a:pt x="2160" y="2614"/>
                    </a:lnTo>
                    <a:lnTo>
                      <a:pt x="2166" y="2624"/>
                    </a:lnTo>
                    <a:lnTo>
                      <a:pt x="2170" y="2636"/>
                    </a:lnTo>
                    <a:lnTo>
                      <a:pt x="2170" y="2650"/>
                    </a:lnTo>
                    <a:lnTo>
                      <a:pt x="2170" y="2650"/>
                    </a:lnTo>
                    <a:lnTo>
                      <a:pt x="2170" y="2656"/>
                    </a:lnTo>
                    <a:lnTo>
                      <a:pt x="2168" y="2662"/>
                    </a:lnTo>
                    <a:lnTo>
                      <a:pt x="2164" y="2664"/>
                    </a:lnTo>
                    <a:lnTo>
                      <a:pt x="2162" y="2668"/>
                    </a:lnTo>
                    <a:lnTo>
                      <a:pt x="2154" y="2668"/>
                    </a:lnTo>
                    <a:lnTo>
                      <a:pt x="2148" y="2668"/>
                    </a:lnTo>
                    <a:lnTo>
                      <a:pt x="2142" y="2668"/>
                    </a:lnTo>
                    <a:lnTo>
                      <a:pt x="2138" y="2668"/>
                    </a:lnTo>
                    <a:lnTo>
                      <a:pt x="2140" y="2672"/>
                    </a:lnTo>
                    <a:lnTo>
                      <a:pt x="2146" y="2682"/>
                    </a:lnTo>
                    <a:lnTo>
                      <a:pt x="2146" y="2682"/>
                    </a:lnTo>
                    <a:lnTo>
                      <a:pt x="2156" y="2692"/>
                    </a:lnTo>
                    <a:lnTo>
                      <a:pt x="2166" y="2700"/>
                    </a:lnTo>
                    <a:lnTo>
                      <a:pt x="2188" y="2716"/>
                    </a:lnTo>
                    <a:lnTo>
                      <a:pt x="2212" y="2730"/>
                    </a:lnTo>
                    <a:lnTo>
                      <a:pt x="2226" y="2738"/>
                    </a:lnTo>
                    <a:lnTo>
                      <a:pt x="2238" y="2748"/>
                    </a:lnTo>
                    <a:lnTo>
                      <a:pt x="2238" y="2748"/>
                    </a:lnTo>
                    <a:lnTo>
                      <a:pt x="2244" y="2754"/>
                    </a:lnTo>
                    <a:lnTo>
                      <a:pt x="2248" y="2758"/>
                    </a:lnTo>
                    <a:lnTo>
                      <a:pt x="2250" y="2764"/>
                    </a:lnTo>
                    <a:lnTo>
                      <a:pt x="2252" y="2770"/>
                    </a:lnTo>
                    <a:lnTo>
                      <a:pt x="2250" y="2782"/>
                    </a:lnTo>
                    <a:lnTo>
                      <a:pt x="2250" y="2794"/>
                    </a:lnTo>
                    <a:lnTo>
                      <a:pt x="2248" y="2808"/>
                    </a:lnTo>
                    <a:lnTo>
                      <a:pt x="2250" y="2814"/>
                    </a:lnTo>
                    <a:lnTo>
                      <a:pt x="2252" y="2820"/>
                    </a:lnTo>
                    <a:lnTo>
                      <a:pt x="2256" y="2828"/>
                    </a:lnTo>
                    <a:lnTo>
                      <a:pt x="2262" y="2834"/>
                    </a:lnTo>
                    <a:lnTo>
                      <a:pt x="2270" y="2842"/>
                    </a:lnTo>
                    <a:lnTo>
                      <a:pt x="2280" y="2850"/>
                    </a:lnTo>
                    <a:lnTo>
                      <a:pt x="2280" y="2850"/>
                    </a:lnTo>
                    <a:lnTo>
                      <a:pt x="2300" y="2866"/>
                    </a:lnTo>
                    <a:lnTo>
                      <a:pt x="2316" y="2882"/>
                    </a:lnTo>
                    <a:lnTo>
                      <a:pt x="2326" y="2894"/>
                    </a:lnTo>
                    <a:lnTo>
                      <a:pt x="2332" y="2906"/>
                    </a:lnTo>
                    <a:lnTo>
                      <a:pt x="2336" y="2914"/>
                    </a:lnTo>
                    <a:lnTo>
                      <a:pt x="2340" y="2918"/>
                    </a:lnTo>
                    <a:lnTo>
                      <a:pt x="2344" y="2920"/>
                    </a:lnTo>
                    <a:lnTo>
                      <a:pt x="2350" y="2916"/>
                    </a:lnTo>
                    <a:lnTo>
                      <a:pt x="2350" y="2916"/>
                    </a:lnTo>
                    <a:lnTo>
                      <a:pt x="2358" y="2910"/>
                    </a:lnTo>
                    <a:lnTo>
                      <a:pt x="2362" y="2906"/>
                    </a:lnTo>
                    <a:lnTo>
                      <a:pt x="2364" y="2900"/>
                    </a:lnTo>
                    <a:lnTo>
                      <a:pt x="2364" y="2896"/>
                    </a:lnTo>
                    <a:lnTo>
                      <a:pt x="2358" y="2884"/>
                    </a:lnTo>
                    <a:lnTo>
                      <a:pt x="2346" y="2864"/>
                    </a:lnTo>
                    <a:lnTo>
                      <a:pt x="2346" y="2864"/>
                    </a:lnTo>
                    <a:lnTo>
                      <a:pt x="2340" y="2856"/>
                    </a:lnTo>
                    <a:lnTo>
                      <a:pt x="2336" y="2850"/>
                    </a:lnTo>
                    <a:lnTo>
                      <a:pt x="2332" y="2850"/>
                    </a:lnTo>
                    <a:lnTo>
                      <a:pt x="2330" y="2850"/>
                    </a:lnTo>
                    <a:lnTo>
                      <a:pt x="2324" y="2854"/>
                    </a:lnTo>
                    <a:lnTo>
                      <a:pt x="2320" y="2854"/>
                    </a:lnTo>
                    <a:lnTo>
                      <a:pt x="2316" y="2850"/>
                    </a:lnTo>
                    <a:lnTo>
                      <a:pt x="2316" y="2850"/>
                    </a:lnTo>
                    <a:lnTo>
                      <a:pt x="2312" y="2846"/>
                    </a:lnTo>
                    <a:lnTo>
                      <a:pt x="2310" y="2842"/>
                    </a:lnTo>
                    <a:lnTo>
                      <a:pt x="2310" y="2832"/>
                    </a:lnTo>
                    <a:lnTo>
                      <a:pt x="2310" y="2826"/>
                    </a:lnTo>
                    <a:lnTo>
                      <a:pt x="2310" y="2820"/>
                    </a:lnTo>
                    <a:lnTo>
                      <a:pt x="2306" y="2810"/>
                    </a:lnTo>
                    <a:lnTo>
                      <a:pt x="2300" y="2798"/>
                    </a:lnTo>
                    <a:lnTo>
                      <a:pt x="2300" y="2798"/>
                    </a:lnTo>
                    <a:lnTo>
                      <a:pt x="2290" y="2776"/>
                    </a:lnTo>
                    <a:lnTo>
                      <a:pt x="2286" y="2762"/>
                    </a:lnTo>
                    <a:lnTo>
                      <a:pt x="2282" y="2748"/>
                    </a:lnTo>
                    <a:lnTo>
                      <a:pt x="2276" y="2730"/>
                    </a:lnTo>
                    <a:lnTo>
                      <a:pt x="2276" y="2730"/>
                    </a:lnTo>
                    <a:lnTo>
                      <a:pt x="2270" y="2718"/>
                    </a:lnTo>
                    <a:lnTo>
                      <a:pt x="2264" y="2708"/>
                    </a:lnTo>
                    <a:lnTo>
                      <a:pt x="2250" y="2690"/>
                    </a:lnTo>
                    <a:lnTo>
                      <a:pt x="2236" y="2672"/>
                    </a:lnTo>
                    <a:lnTo>
                      <a:pt x="2230" y="2662"/>
                    </a:lnTo>
                    <a:lnTo>
                      <a:pt x="2224" y="2648"/>
                    </a:lnTo>
                    <a:lnTo>
                      <a:pt x="2224" y="2648"/>
                    </a:lnTo>
                    <a:lnTo>
                      <a:pt x="2220" y="2636"/>
                    </a:lnTo>
                    <a:lnTo>
                      <a:pt x="2214" y="2624"/>
                    </a:lnTo>
                    <a:lnTo>
                      <a:pt x="2198" y="2604"/>
                    </a:lnTo>
                    <a:lnTo>
                      <a:pt x="2182" y="2584"/>
                    </a:lnTo>
                    <a:lnTo>
                      <a:pt x="2168" y="2564"/>
                    </a:lnTo>
                    <a:lnTo>
                      <a:pt x="2168" y="2564"/>
                    </a:lnTo>
                    <a:lnTo>
                      <a:pt x="2160" y="2550"/>
                    </a:lnTo>
                    <a:lnTo>
                      <a:pt x="2154" y="2534"/>
                    </a:lnTo>
                    <a:lnTo>
                      <a:pt x="2148" y="2516"/>
                    </a:lnTo>
                    <a:lnTo>
                      <a:pt x="2144" y="2498"/>
                    </a:lnTo>
                    <a:lnTo>
                      <a:pt x="2142" y="2482"/>
                    </a:lnTo>
                    <a:lnTo>
                      <a:pt x="2142" y="2470"/>
                    </a:lnTo>
                    <a:lnTo>
                      <a:pt x="2144" y="2466"/>
                    </a:lnTo>
                    <a:lnTo>
                      <a:pt x="2146" y="2464"/>
                    </a:lnTo>
                    <a:lnTo>
                      <a:pt x="2148" y="2464"/>
                    </a:lnTo>
                    <a:lnTo>
                      <a:pt x="2154" y="2466"/>
                    </a:lnTo>
                    <a:lnTo>
                      <a:pt x="2154" y="2466"/>
                    </a:lnTo>
                    <a:lnTo>
                      <a:pt x="2168" y="2474"/>
                    </a:lnTo>
                    <a:lnTo>
                      <a:pt x="2172" y="2476"/>
                    </a:lnTo>
                    <a:lnTo>
                      <a:pt x="2178" y="2474"/>
                    </a:lnTo>
                    <a:lnTo>
                      <a:pt x="2186" y="2478"/>
                    </a:lnTo>
                    <a:lnTo>
                      <a:pt x="2186" y="2478"/>
                    </a:lnTo>
                    <a:lnTo>
                      <a:pt x="2198" y="2484"/>
                    </a:lnTo>
                    <a:lnTo>
                      <a:pt x="2202" y="2488"/>
                    </a:lnTo>
                    <a:lnTo>
                      <a:pt x="2206" y="2492"/>
                    </a:lnTo>
                    <a:lnTo>
                      <a:pt x="2214" y="2508"/>
                    </a:lnTo>
                    <a:lnTo>
                      <a:pt x="2222" y="2536"/>
                    </a:lnTo>
                    <a:lnTo>
                      <a:pt x="2222" y="2536"/>
                    </a:lnTo>
                    <a:lnTo>
                      <a:pt x="2228" y="2556"/>
                    </a:lnTo>
                    <a:lnTo>
                      <a:pt x="2236" y="2574"/>
                    </a:lnTo>
                    <a:lnTo>
                      <a:pt x="2244" y="2594"/>
                    </a:lnTo>
                    <a:lnTo>
                      <a:pt x="2254" y="2612"/>
                    </a:lnTo>
                    <a:lnTo>
                      <a:pt x="2264" y="2628"/>
                    </a:lnTo>
                    <a:lnTo>
                      <a:pt x="2276" y="2642"/>
                    </a:lnTo>
                    <a:lnTo>
                      <a:pt x="2288" y="2654"/>
                    </a:lnTo>
                    <a:lnTo>
                      <a:pt x="2300" y="2664"/>
                    </a:lnTo>
                    <a:lnTo>
                      <a:pt x="2300" y="2664"/>
                    </a:lnTo>
                    <a:lnTo>
                      <a:pt x="2308" y="2672"/>
                    </a:lnTo>
                    <a:lnTo>
                      <a:pt x="2314" y="2678"/>
                    </a:lnTo>
                    <a:lnTo>
                      <a:pt x="2320" y="2694"/>
                    </a:lnTo>
                    <a:lnTo>
                      <a:pt x="2324" y="2700"/>
                    </a:lnTo>
                    <a:lnTo>
                      <a:pt x="2328" y="2706"/>
                    </a:lnTo>
                    <a:lnTo>
                      <a:pt x="2338" y="2714"/>
                    </a:lnTo>
                    <a:lnTo>
                      <a:pt x="2352" y="2722"/>
                    </a:lnTo>
                    <a:lnTo>
                      <a:pt x="2352" y="2722"/>
                    </a:lnTo>
                    <a:lnTo>
                      <a:pt x="2360" y="2724"/>
                    </a:lnTo>
                    <a:lnTo>
                      <a:pt x="2364" y="2728"/>
                    </a:lnTo>
                    <a:lnTo>
                      <a:pt x="2368" y="2732"/>
                    </a:lnTo>
                    <a:lnTo>
                      <a:pt x="2370" y="2736"/>
                    </a:lnTo>
                    <a:lnTo>
                      <a:pt x="2368" y="2746"/>
                    </a:lnTo>
                    <a:lnTo>
                      <a:pt x="2366" y="2754"/>
                    </a:lnTo>
                    <a:lnTo>
                      <a:pt x="2364" y="2764"/>
                    </a:lnTo>
                    <a:lnTo>
                      <a:pt x="2362" y="2772"/>
                    </a:lnTo>
                    <a:lnTo>
                      <a:pt x="2364" y="2776"/>
                    </a:lnTo>
                    <a:lnTo>
                      <a:pt x="2368" y="2782"/>
                    </a:lnTo>
                    <a:lnTo>
                      <a:pt x="2372" y="2786"/>
                    </a:lnTo>
                    <a:lnTo>
                      <a:pt x="2380" y="2790"/>
                    </a:lnTo>
                    <a:lnTo>
                      <a:pt x="2380" y="2790"/>
                    </a:lnTo>
                    <a:lnTo>
                      <a:pt x="2394" y="2798"/>
                    </a:lnTo>
                    <a:lnTo>
                      <a:pt x="2402" y="2804"/>
                    </a:lnTo>
                    <a:lnTo>
                      <a:pt x="2408" y="2810"/>
                    </a:lnTo>
                    <a:lnTo>
                      <a:pt x="2410" y="2816"/>
                    </a:lnTo>
                    <a:lnTo>
                      <a:pt x="2422" y="2834"/>
                    </a:lnTo>
                    <a:lnTo>
                      <a:pt x="2432" y="2848"/>
                    </a:lnTo>
                    <a:lnTo>
                      <a:pt x="2450" y="2864"/>
                    </a:lnTo>
                    <a:lnTo>
                      <a:pt x="2450" y="2864"/>
                    </a:lnTo>
                    <a:lnTo>
                      <a:pt x="2476" y="2890"/>
                    </a:lnTo>
                    <a:lnTo>
                      <a:pt x="2494" y="2912"/>
                    </a:lnTo>
                    <a:lnTo>
                      <a:pt x="2504" y="2928"/>
                    </a:lnTo>
                    <a:lnTo>
                      <a:pt x="2512" y="2942"/>
                    </a:lnTo>
                    <a:lnTo>
                      <a:pt x="2516" y="2954"/>
                    </a:lnTo>
                    <a:lnTo>
                      <a:pt x="2518" y="2964"/>
                    </a:lnTo>
                    <a:lnTo>
                      <a:pt x="2522" y="2976"/>
                    </a:lnTo>
                    <a:lnTo>
                      <a:pt x="2526" y="2988"/>
                    </a:lnTo>
                    <a:lnTo>
                      <a:pt x="2526" y="2988"/>
                    </a:lnTo>
                    <a:lnTo>
                      <a:pt x="2530" y="2998"/>
                    </a:lnTo>
                    <a:lnTo>
                      <a:pt x="2530" y="3010"/>
                    </a:lnTo>
                    <a:lnTo>
                      <a:pt x="2528" y="3020"/>
                    </a:lnTo>
                    <a:lnTo>
                      <a:pt x="2524" y="3028"/>
                    </a:lnTo>
                    <a:lnTo>
                      <a:pt x="2518" y="3038"/>
                    </a:lnTo>
                    <a:lnTo>
                      <a:pt x="2516" y="3050"/>
                    </a:lnTo>
                    <a:lnTo>
                      <a:pt x="2516" y="3060"/>
                    </a:lnTo>
                    <a:lnTo>
                      <a:pt x="2520" y="3072"/>
                    </a:lnTo>
                    <a:lnTo>
                      <a:pt x="2520" y="3072"/>
                    </a:lnTo>
                    <a:lnTo>
                      <a:pt x="2528" y="3084"/>
                    </a:lnTo>
                    <a:lnTo>
                      <a:pt x="2534" y="3094"/>
                    </a:lnTo>
                    <a:lnTo>
                      <a:pt x="2550" y="3106"/>
                    </a:lnTo>
                    <a:lnTo>
                      <a:pt x="2570" y="3120"/>
                    </a:lnTo>
                    <a:lnTo>
                      <a:pt x="2580" y="3130"/>
                    </a:lnTo>
                    <a:lnTo>
                      <a:pt x="2594" y="3140"/>
                    </a:lnTo>
                    <a:lnTo>
                      <a:pt x="2594" y="3140"/>
                    </a:lnTo>
                    <a:lnTo>
                      <a:pt x="2606" y="3152"/>
                    </a:lnTo>
                    <a:lnTo>
                      <a:pt x="2618" y="3158"/>
                    </a:lnTo>
                    <a:lnTo>
                      <a:pt x="2628" y="3162"/>
                    </a:lnTo>
                    <a:lnTo>
                      <a:pt x="2638" y="3164"/>
                    </a:lnTo>
                    <a:lnTo>
                      <a:pt x="2648" y="3168"/>
                    </a:lnTo>
                    <a:lnTo>
                      <a:pt x="2658" y="3170"/>
                    </a:lnTo>
                    <a:lnTo>
                      <a:pt x="2668" y="3176"/>
                    </a:lnTo>
                    <a:lnTo>
                      <a:pt x="2680" y="3186"/>
                    </a:lnTo>
                    <a:lnTo>
                      <a:pt x="2680" y="3186"/>
                    </a:lnTo>
                    <a:lnTo>
                      <a:pt x="2694" y="3198"/>
                    </a:lnTo>
                    <a:lnTo>
                      <a:pt x="2714" y="3210"/>
                    </a:lnTo>
                    <a:lnTo>
                      <a:pt x="2736" y="3224"/>
                    </a:lnTo>
                    <a:lnTo>
                      <a:pt x="2762" y="3236"/>
                    </a:lnTo>
                    <a:lnTo>
                      <a:pt x="2814" y="3260"/>
                    </a:lnTo>
                    <a:lnTo>
                      <a:pt x="2862" y="3278"/>
                    </a:lnTo>
                    <a:lnTo>
                      <a:pt x="2862" y="3278"/>
                    </a:lnTo>
                    <a:lnTo>
                      <a:pt x="2880" y="3282"/>
                    </a:lnTo>
                    <a:lnTo>
                      <a:pt x="2894" y="3282"/>
                    </a:lnTo>
                    <a:lnTo>
                      <a:pt x="2906" y="3278"/>
                    </a:lnTo>
                    <a:lnTo>
                      <a:pt x="2916" y="3272"/>
                    </a:lnTo>
                    <a:lnTo>
                      <a:pt x="2926" y="3266"/>
                    </a:lnTo>
                    <a:lnTo>
                      <a:pt x="2938" y="3260"/>
                    </a:lnTo>
                    <a:lnTo>
                      <a:pt x="2950" y="3258"/>
                    </a:lnTo>
                    <a:lnTo>
                      <a:pt x="2968" y="3260"/>
                    </a:lnTo>
                    <a:lnTo>
                      <a:pt x="2968" y="3260"/>
                    </a:lnTo>
                    <a:lnTo>
                      <a:pt x="2984" y="3264"/>
                    </a:lnTo>
                    <a:lnTo>
                      <a:pt x="2996" y="3272"/>
                    </a:lnTo>
                    <a:lnTo>
                      <a:pt x="3006" y="3280"/>
                    </a:lnTo>
                    <a:lnTo>
                      <a:pt x="3014" y="3290"/>
                    </a:lnTo>
                    <a:lnTo>
                      <a:pt x="3032" y="3314"/>
                    </a:lnTo>
                    <a:lnTo>
                      <a:pt x="3042" y="3326"/>
                    </a:lnTo>
                    <a:lnTo>
                      <a:pt x="3054" y="3338"/>
                    </a:lnTo>
                    <a:lnTo>
                      <a:pt x="3054" y="3338"/>
                    </a:lnTo>
                    <a:lnTo>
                      <a:pt x="3072" y="3356"/>
                    </a:lnTo>
                    <a:lnTo>
                      <a:pt x="3086" y="3364"/>
                    </a:lnTo>
                    <a:lnTo>
                      <a:pt x="3094" y="3368"/>
                    </a:lnTo>
                    <a:lnTo>
                      <a:pt x="3104" y="3368"/>
                    </a:lnTo>
                    <a:lnTo>
                      <a:pt x="3104" y="3368"/>
                    </a:lnTo>
                    <a:lnTo>
                      <a:pt x="3116" y="3368"/>
                    </a:lnTo>
                    <a:lnTo>
                      <a:pt x="3124" y="3370"/>
                    </a:lnTo>
                    <a:lnTo>
                      <a:pt x="3140" y="3376"/>
                    </a:lnTo>
                    <a:lnTo>
                      <a:pt x="3140" y="3376"/>
                    </a:lnTo>
                    <a:lnTo>
                      <a:pt x="3146" y="3382"/>
                    </a:lnTo>
                    <a:lnTo>
                      <a:pt x="3150" y="3386"/>
                    </a:lnTo>
                    <a:lnTo>
                      <a:pt x="3152" y="3388"/>
                    </a:lnTo>
                    <a:lnTo>
                      <a:pt x="3160" y="3390"/>
                    </a:lnTo>
                    <a:lnTo>
                      <a:pt x="3160" y="3390"/>
                    </a:lnTo>
                    <a:lnTo>
                      <a:pt x="3174" y="3392"/>
                    </a:lnTo>
                    <a:lnTo>
                      <a:pt x="3186" y="3398"/>
                    </a:lnTo>
                    <a:lnTo>
                      <a:pt x="3196" y="3404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4"/>
                    </a:lnTo>
                    <a:lnTo>
                      <a:pt x="3202" y="3402"/>
                    </a:lnTo>
                    <a:lnTo>
                      <a:pt x="3202" y="3400"/>
                    </a:lnTo>
                    <a:lnTo>
                      <a:pt x="3210" y="3404"/>
                    </a:lnTo>
                    <a:lnTo>
                      <a:pt x="3210" y="3404"/>
                    </a:lnTo>
                    <a:lnTo>
                      <a:pt x="3212" y="3406"/>
                    </a:lnTo>
                    <a:lnTo>
                      <a:pt x="3218" y="3406"/>
                    </a:lnTo>
                    <a:lnTo>
                      <a:pt x="3226" y="3406"/>
                    </a:lnTo>
                    <a:lnTo>
                      <a:pt x="3234" y="3404"/>
                    </a:lnTo>
                    <a:lnTo>
                      <a:pt x="3236" y="3402"/>
                    </a:lnTo>
                    <a:lnTo>
                      <a:pt x="3234" y="3400"/>
                    </a:lnTo>
                    <a:lnTo>
                      <a:pt x="3234" y="3400"/>
                    </a:lnTo>
                    <a:lnTo>
                      <a:pt x="3230" y="3398"/>
                    </a:lnTo>
                    <a:lnTo>
                      <a:pt x="3230" y="3396"/>
                    </a:lnTo>
                    <a:lnTo>
                      <a:pt x="3230" y="3394"/>
                    </a:lnTo>
                    <a:lnTo>
                      <a:pt x="3232" y="3394"/>
                    </a:lnTo>
                    <a:lnTo>
                      <a:pt x="3232" y="3394"/>
                    </a:lnTo>
                    <a:lnTo>
                      <a:pt x="3236" y="3396"/>
                    </a:lnTo>
                    <a:lnTo>
                      <a:pt x="3238" y="3396"/>
                    </a:lnTo>
                    <a:lnTo>
                      <a:pt x="3240" y="3392"/>
                    </a:lnTo>
                    <a:lnTo>
                      <a:pt x="3240" y="3392"/>
                    </a:lnTo>
                    <a:lnTo>
                      <a:pt x="3242" y="3398"/>
                    </a:lnTo>
                    <a:lnTo>
                      <a:pt x="3242" y="3398"/>
                    </a:lnTo>
                    <a:lnTo>
                      <a:pt x="3248" y="3406"/>
                    </a:lnTo>
                    <a:lnTo>
                      <a:pt x="3252" y="3410"/>
                    </a:lnTo>
                    <a:lnTo>
                      <a:pt x="3254" y="3412"/>
                    </a:lnTo>
                    <a:lnTo>
                      <a:pt x="3252" y="3416"/>
                    </a:lnTo>
                    <a:lnTo>
                      <a:pt x="3252" y="3416"/>
                    </a:lnTo>
                    <a:lnTo>
                      <a:pt x="3250" y="3418"/>
                    </a:lnTo>
                    <a:lnTo>
                      <a:pt x="3250" y="3418"/>
                    </a:lnTo>
                    <a:lnTo>
                      <a:pt x="3246" y="3416"/>
                    </a:lnTo>
                    <a:lnTo>
                      <a:pt x="3244" y="3412"/>
                    </a:lnTo>
                    <a:lnTo>
                      <a:pt x="3242" y="3412"/>
                    </a:lnTo>
                    <a:lnTo>
                      <a:pt x="3240" y="3414"/>
                    </a:lnTo>
                    <a:lnTo>
                      <a:pt x="3240" y="3414"/>
                    </a:lnTo>
                    <a:lnTo>
                      <a:pt x="3238" y="3418"/>
                    </a:lnTo>
                    <a:lnTo>
                      <a:pt x="3242" y="3422"/>
                    </a:lnTo>
                    <a:lnTo>
                      <a:pt x="3246" y="3426"/>
                    </a:lnTo>
                    <a:lnTo>
                      <a:pt x="3252" y="3434"/>
                    </a:lnTo>
                    <a:lnTo>
                      <a:pt x="3252" y="3434"/>
                    </a:lnTo>
                    <a:lnTo>
                      <a:pt x="3258" y="3442"/>
                    </a:lnTo>
                    <a:lnTo>
                      <a:pt x="3266" y="3448"/>
                    </a:lnTo>
                    <a:lnTo>
                      <a:pt x="3274" y="3454"/>
                    </a:lnTo>
                    <a:lnTo>
                      <a:pt x="3278" y="3460"/>
                    </a:lnTo>
                    <a:lnTo>
                      <a:pt x="3282" y="3466"/>
                    </a:lnTo>
                    <a:lnTo>
                      <a:pt x="3282" y="3466"/>
                    </a:lnTo>
                    <a:lnTo>
                      <a:pt x="3288" y="3478"/>
                    </a:lnTo>
                    <a:lnTo>
                      <a:pt x="3294" y="3486"/>
                    </a:lnTo>
                    <a:lnTo>
                      <a:pt x="3304" y="3494"/>
                    </a:lnTo>
                    <a:lnTo>
                      <a:pt x="3316" y="3506"/>
                    </a:lnTo>
                    <a:lnTo>
                      <a:pt x="3316" y="3506"/>
                    </a:lnTo>
                    <a:lnTo>
                      <a:pt x="3318" y="3510"/>
                    </a:lnTo>
                    <a:lnTo>
                      <a:pt x="3318" y="3512"/>
                    </a:lnTo>
                    <a:lnTo>
                      <a:pt x="3314" y="3514"/>
                    </a:lnTo>
                    <a:lnTo>
                      <a:pt x="3310" y="3518"/>
                    </a:lnTo>
                    <a:lnTo>
                      <a:pt x="3310" y="3518"/>
                    </a:lnTo>
                    <a:lnTo>
                      <a:pt x="3310" y="3520"/>
                    </a:lnTo>
                    <a:lnTo>
                      <a:pt x="3310" y="3520"/>
                    </a:lnTo>
                    <a:lnTo>
                      <a:pt x="3316" y="3522"/>
                    </a:lnTo>
                    <a:lnTo>
                      <a:pt x="3318" y="3522"/>
                    </a:lnTo>
                    <a:lnTo>
                      <a:pt x="3318" y="3522"/>
                    </a:lnTo>
                    <a:lnTo>
                      <a:pt x="3318" y="3528"/>
                    </a:lnTo>
                    <a:lnTo>
                      <a:pt x="3318" y="3528"/>
                    </a:lnTo>
                    <a:lnTo>
                      <a:pt x="3318" y="3534"/>
                    </a:lnTo>
                    <a:lnTo>
                      <a:pt x="3316" y="3534"/>
                    </a:lnTo>
                    <a:lnTo>
                      <a:pt x="3314" y="3536"/>
                    </a:lnTo>
                    <a:lnTo>
                      <a:pt x="3312" y="3540"/>
                    </a:lnTo>
                    <a:lnTo>
                      <a:pt x="3312" y="3540"/>
                    </a:lnTo>
                    <a:lnTo>
                      <a:pt x="3312" y="3550"/>
                    </a:lnTo>
                    <a:lnTo>
                      <a:pt x="3314" y="3558"/>
                    </a:lnTo>
                    <a:lnTo>
                      <a:pt x="3318" y="3564"/>
                    </a:lnTo>
                    <a:lnTo>
                      <a:pt x="3322" y="3566"/>
                    </a:lnTo>
                    <a:lnTo>
                      <a:pt x="3322" y="3566"/>
                    </a:lnTo>
                    <a:lnTo>
                      <a:pt x="3330" y="3570"/>
                    </a:lnTo>
                    <a:lnTo>
                      <a:pt x="3334" y="3574"/>
                    </a:lnTo>
                    <a:lnTo>
                      <a:pt x="3338" y="3578"/>
                    </a:lnTo>
                    <a:lnTo>
                      <a:pt x="3338" y="3578"/>
                    </a:lnTo>
                    <a:lnTo>
                      <a:pt x="3340" y="3582"/>
                    </a:lnTo>
                    <a:lnTo>
                      <a:pt x="3342" y="3580"/>
                    </a:lnTo>
                    <a:lnTo>
                      <a:pt x="3348" y="3574"/>
                    </a:lnTo>
                    <a:lnTo>
                      <a:pt x="3348" y="3574"/>
                    </a:lnTo>
                    <a:lnTo>
                      <a:pt x="3350" y="3572"/>
                    </a:lnTo>
                    <a:lnTo>
                      <a:pt x="3350" y="3570"/>
                    </a:lnTo>
                    <a:lnTo>
                      <a:pt x="3348" y="3566"/>
                    </a:lnTo>
                    <a:lnTo>
                      <a:pt x="3338" y="3558"/>
                    </a:lnTo>
                    <a:lnTo>
                      <a:pt x="3338" y="3558"/>
                    </a:lnTo>
                    <a:lnTo>
                      <a:pt x="3336" y="3554"/>
                    </a:lnTo>
                    <a:lnTo>
                      <a:pt x="3336" y="3552"/>
                    </a:lnTo>
                    <a:lnTo>
                      <a:pt x="3336" y="3550"/>
                    </a:lnTo>
                    <a:lnTo>
                      <a:pt x="3338" y="3552"/>
                    </a:lnTo>
                    <a:lnTo>
                      <a:pt x="3338" y="3552"/>
                    </a:lnTo>
                    <a:lnTo>
                      <a:pt x="3342" y="3554"/>
                    </a:lnTo>
                    <a:lnTo>
                      <a:pt x="3348" y="3558"/>
                    </a:lnTo>
                    <a:lnTo>
                      <a:pt x="3354" y="3562"/>
                    </a:lnTo>
                    <a:lnTo>
                      <a:pt x="3358" y="3566"/>
                    </a:lnTo>
                    <a:lnTo>
                      <a:pt x="3358" y="3566"/>
                    </a:lnTo>
                    <a:lnTo>
                      <a:pt x="3358" y="3576"/>
                    </a:lnTo>
                    <a:lnTo>
                      <a:pt x="3360" y="3578"/>
                    </a:lnTo>
                    <a:lnTo>
                      <a:pt x="3362" y="3582"/>
                    </a:lnTo>
                    <a:lnTo>
                      <a:pt x="3362" y="3582"/>
                    </a:lnTo>
                    <a:lnTo>
                      <a:pt x="3366" y="3584"/>
                    </a:lnTo>
                    <a:lnTo>
                      <a:pt x="3368" y="3586"/>
                    </a:lnTo>
                    <a:lnTo>
                      <a:pt x="3374" y="3586"/>
                    </a:lnTo>
                    <a:lnTo>
                      <a:pt x="3384" y="3592"/>
                    </a:lnTo>
                    <a:lnTo>
                      <a:pt x="3384" y="3592"/>
                    </a:lnTo>
                    <a:lnTo>
                      <a:pt x="3398" y="3604"/>
                    </a:lnTo>
                    <a:lnTo>
                      <a:pt x="3402" y="3608"/>
                    </a:lnTo>
                    <a:lnTo>
                      <a:pt x="3402" y="3612"/>
                    </a:lnTo>
                    <a:lnTo>
                      <a:pt x="3402" y="3612"/>
                    </a:lnTo>
                    <a:lnTo>
                      <a:pt x="3402" y="3620"/>
                    </a:lnTo>
                    <a:lnTo>
                      <a:pt x="3400" y="3624"/>
                    </a:lnTo>
                    <a:lnTo>
                      <a:pt x="3398" y="3626"/>
                    </a:lnTo>
                    <a:lnTo>
                      <a:pt x="3398" y="3626"/>
                    </a:lnTo>
                    <a:lnTo>
                      <a:pt x="3398" y="3628"/>
                    </a:lnTo>
                    <a:lnTo>
                      <a:pt x="3396" y="3630"/>
                    </a:lnTo>
                    <a:lnTo>
                      <a:pt x="3400" y="3634"/>
                    </a:lnTo>
                    <a:lnTo>
                      <a:pt x="3404" y="3636"/>
                    </a:lnTo>
                    <a:lnTo>
                      <a:pt x="3408" y="3638"/>
                    </a:lnTo>
                    <a:lnTo>
                      <a:pt x="3408" y="3638"/>
                    </a:lnTo>
                    <a:lnTo>
                      <a:pt x="3410" y="3640"/>
                    </a:lnTo>
                    <a:lnTo>
                      <a:pt x="3414" y="3640"/>
                    </a:lnTo>
                    <a:lnTo>
                      <a:pt x="3414" y="3642"/>
                    </a:lnTo>
                    <a:lnTo>
                      <a:pt x="3416" y="3640"/>
                    </a:lnTo>
                    <a:lnTo>
                      <a:pt x="3416" y="3640"/>
                    </a:lnTo>
                    <a:lnTo>
                      <a:pt x="3416" y="3636"/>
                    </a:lnTo>
                    <a:lnTo>
                      <a:pt x="3414" y="3634"/>
                    </a:lnTo>
                    <a:lnTo>
                      <a:pt x="3410" y="3630"/>
                    </a:lnTo>
                    <a:lnTo>
                      <a:pt x="3406" y="3626"/>
                    </a:lnTo>
                    <a:lnTo>
                      <a:pt x="3408" y="3626"/>
                    </a:lnTo>
                    <a:lnTo>
                      <a:pt x="3410" y="3624"/>
                    </a:lnTo>
                    <a:lnTo>
                      <a:pt x="3410" y="3624"/>
                    </a:lnTo>
                    <a:lnTo>
                      <a:pt x="3414" y="3622"/>
                    </a:lnTo>
                    <a:lnTo>
                      <a:pt x="3414" y="3624"/>
                    </a:lnTo>
                    <a:lnTo>
                      <a:pt x="3416" y="3628"/>
                    </a:lnTo>
                    <a:lnTo>
                      <a:pt x="3418" y="3630"/>
                    </a:lnTo>
                    <a:lnTo>
                      <a:pt x="3418" y="3630"/>
                    </a:lnTo>
                    <a:lnTo>
                      <a:pt x="3420" y="3630"/>
                    </a:lnTo>
                    <a:lnTo>
                      <a:pt x="3422" y="3632"/>
                    </a:lnTo>
                    <a:lnTo>
                      <a:pt x="3422" y="3636"/>
                    </a:lnTo>
                    <a:lnTo>
                      <a:pt x="3422" y="3642"/>
                    </a:lnTo>
                    <a:lnTo>
                      <a:pt x="3422" y="3646"/>
                    </a:lnTo>
                    <a:lnTo>
                      <a:pt x="3422" y="3646"/>
                    </a:lnTo>
                    <a:lnTo>
                      <a:pt x="3428" y="3654"/>
                    </a:lnTo>
                    <a:lnTo>
                      <a:pt x="3430" y="3656"/>
                    </a:lnTo>
                    <a:lnTo>
                      <a:pt x="3432" y="3656"/>
                    </a:lnTo>
                    <a:lnTo>
                      <a:pt x="3432" y="3656"/>
                    </a:lnTo>
                    <a:lnTo>
                      <a:pt x="3434" y="3648"/>
                    </a:lnTo>
                    <a:lnTo>
                      <a:pt x="3436" y="3646"/>
                    </a:lnTo>
                    <a:lnTo>
                      <a:pt x="3440" y="3644"/>
                    </a:lnTo>
                    <a:lnTo>
                      <a:pt x="3440" y="3644"/>
                    </a:lnTo>
                    <a:lnTo>
                      <a:pt x="3452" y="3646"/>
                    </a:lnTo>
                    <a:lnTo>
                      <a:pt x="3464" y="3650"/>
                    </a:lnTo>
                    <a:lnTo>
                      <a:pt x="3472" y="3652"/>
                    </a:lnTo>
                    <a:lnTo>
                      <a:pt x="3476" y="3654"/>
                    </a:lnTo>
                    <a:lnTo>
                      <a:pt x="3476" y="3654"/>
                    </a:lnTo>
                    <a:lnTo>
                      <a:pt x="3478" y="3652"/>
                    </a:lnTo>
                    <a:lnTo>
                      <a:pt x="3480" y="3654"/>
                    </a:lnTo>
                    <a:lnTo>
                      <a:pt x="3482" y="3662"/>
                    </a:lnTo>
                    <a:lnTo>
                      <a:pt x="3482" y="3662"/>
                    </a:lnTo>
                    <a:lnTo>
                      <a:pt x="3484" y="3666"/>
                    </a:lnTo>
                    <a:lnTo>
                      <a:pt x="3484" y="3670"/>
                    </a:lnTo>
                    <a:lnTo>
                      <a:pt x="3486" y="3672"/>
                    </a:lnTo>
                    <a:lnTo>
                      <a:pt x="3490" y="3676"/>
                    </a:lnTo>
                    <a:lnTo>
                      <a:pt x="3490" y="3676"/>
                    </a:lnTo>
                    <a:lnTo>
                      <a:pt x="3496" y="3678"/>
                    </a:lnTo>
                    <a:lnTo>
                      <a:pt x="3498" y="3678"/>
                    </a:lnTo>
                    <a:lnTo>
                      <a:pt x="3498" y="3674"/>
                    </a:lnTo>
                    <a:lnTo>
                      <a:pt x="3498" y="3674"/>
                    </a:lnTo>
                    <a:lnTo>
                      <a:pt x="3500" y="3668"/>
                    </a:lnTo>
                    <a:lnTo>
                      <a:pt x="3502" y="3666"/>
                    </a:lnTo>
                    <a:lnTo>
                      <a:pt x="3504" y="3666"/>
                    </a:lnTo>
                    <a:lnTo>
                      <a:pt x="3504" y="3668"/>
                    </a:lnTo>
                    <a:lnTo>
                      <a:pt x="3504" y="3668"/>
                    </a:lnTo>
                    <a:lnTo>
                      <a:pt x="3504" y="3672"/>
                    </a:lnTo>
                    <a:lnTo>
                      <a:pt x="3508" y="3680"/>
                    </a:lnTo>
                    <a:lnTo>
                      <a:pt x="3510" y="3686"/>
                    </a:lnTo>
                    <a:lnTo>
                      <a:pt x="3510" y="3694"/>
                    </a:lnTo>
                    <a:lnTo>
                      <a:pt x="3510" y="3694"/>
                    </a:lnTo>
                    <a:lnTo>
                      <a:pt x="3510" y="3696"/>
                    </a:lnTo>
                    <a:lnTo>
                      <a:pt x="3510" y="3698"/>
                    </a:lnTo>
                    <a:lnTo>
                      <a:pt x="3516" y="3698"/>
                    </a:lnTo>
                    <a:lnTo>
                      <a:pt x="3528" y="3696"/>
                    </a:lnTo>
                    <a:lnTo>
                      <a:pt x="3528" y="3696"/>
                    </a:lnTo>
                    <a:lnTo>
                      <a:pt x="3530" y="3696"/>
                    </a:lnTo>
                    <a:lnTo>
                      <a:pt x="3532" y="3696"/>
                    </a:lnTo>
                    <a:lnTo>
                      <a:pt x="3532" y="3692"/>
                    </a:lnTo>
                    <a:lnTo>
                      <a:pt x="3532" y="3690"/>
                    </a:lnTo>
                    <a:lnTo>
                      <a:pt x="3538" y="3688"/>
                    </a:lnTo>
                    <a:lnTo>
                      <a:pt x="3538" y="3688"/>
                    </a:lnTo>
                    <a:lnTo>
                      <a:pt x="3544" y="3688"/>
                    </a:lnTo>
                    <a:lnTo>
                      <a:pt x="3546" y="3686"/>
                    </a:lnTo>
                    <a:lnTo>
                      <a:pt x="3548" y="3684"/>
                    </a:lnTo>
                    <a:lnTo>
                      <a:pt x="3546" y="3680"/>
                    </a:lnTo>
                    <a:lnTo>
                      <a:pt x="3542" y="3672"/>
                    </a:lnTo>
                    <a:lnTo>
                      <a:pt x="3542" y="3672"/>
                    </a:lnTo>
                    <a:lnTo>
                      <a:pt x="3536" y="3664"/>
                    </a:lnTo>
                    <a:lnTo>
                      <a:pt x="3534" y="3660"/>
                    </a:lnTo>
                    <a:lnTo>
                      <a:pt x="3534" y="3658"/>
                    </a:lnTo>
                    <a:lnTo>
                      <a:pt x="3532" y="3658"/>
                    </a:lnTo>
                    <a:lnTo>
                      <a:pt x="3532" y="3658"/>
                    </a:lnTo>
                    <a:lnTo>
                      <a:pt x="3530" y="3658"/>
                    </a:lnTo>
                    <a:lnTo>
                      <a:pt x="3528" y="3656"/>
                    </a:lnTo>
                    <a:lnTo>
                      <a:pt x="3526" y="3652"/>
                    </a:lnTo>
                    <a:lnTo>
                      <a:pt x="3528" y="3648"/>
                    </a:lnTo>
                    <a:lnTo>
                      <a:pt x="3530" y="3646"/>
                    </a:lnTo>
                    <a:lnTo>
                      <a:pt x="3532" y="3646"/>
                    </a:lnTo>
                    <a:lnTo>
                      <a:pt x="3532" y="3646"/>
                    </a:lnTo>
                    <a:lnTo>
                      <a:pt x="3538" y="3644"/>
                    </a:lnTo>
                    <a:lnTo>
                      <a:pt x="3544" y="3642"/>
                    </a:lnTo>
                    <a:lnTo>
                      <a:pt x="3550" y="3636"/>
                    </a:lnTo>
                    <a:lnTo>
                      <a:pt x="3556" y="3628"/>
                    </a:lnTo>
                    <a:lnTo>
                      <a:pt x="3556" y="3628"/>
                    </a:lnTo>
                    <a:lnTo>
                      <a:pt x="3558" y="3624"/>
                    </a:lnTo>
                    <a:lnTo>
                      <a:pt x="3558" y="3622"/>
                    </a:lnTo>
                    <a:lnTo>
                      <a:pt x="3558" y="3618"/>
                    </a:lnTo>
                    <a:lnTo>
                      <a:pt x="3562" y="3616"/>
                    </a:lnTo>
                    <a:lnTo>
                      <a:pt x="3562" y="3616"/>
                    </a:lnTo>
                    <a:lnTo>
                      <a:pt x="3566" y="3614"/>
                    </a:lnTo>
                    <a:lnTo>
                      <a:pt x="3568" y="3612"/>
                    </a:lnTo>
                    <a:lnTo>
                      <a:pt x="3570" y="3610"/>
                    </a:lnTo>
                    <a:lnTo>
                      <a:pt x="3576" y="3610"/>
                    </a:lnTo>
                    <a:lnTo>
                      <a:pt x="3576" y="3610"/>
                    </a:lnTo>
                    <a:lnTo>
                      <a:pt x="3586" y="3612"/>
                    </a:lnTo>
                    <a:lnTo>
                      <a:pt x="3598" y="3620"/>
                    </a:lnTo>
                    <a:lnTo>
                      <a:pt x="3606" y="3626"/>
                    </a:lnTo>
                    <a:lnTo>
                      <a:pt x="3608" y="3630"/>
                    </a:lnTo>
                    <a:lnTo>
                      <a:pt x="3608" y="3632"/>
                    </a:lnTo>
                    <a:lnTo>
                      <a:pt x="3608" y="3632"/>
                    </a:lnTo>
                    <a:lnTo>
                      <a:pt x="3606" y="3636"/>
                    </a:lnTo>
                    <a:lnTo>
                      <a:pt x="3608" y="3638"/>
                    </a:lnTo>
                    <a:lnTo>
                      <a:pt x="3610" y="3640"/>
                    </a:lnTo>
                    <a:lnTo>
                      <a:pt x="3612" y="3640"/>
                    </a:lnTo>
                    <a:lnTo>
                      <a:pt x="3612" y="3640"/>
                    </a:lnTo>
                    <a:lnTo>
                      <a:pt x="3616" y="3638"/>
                    </a:lnTo>
                    <a:lnTo>
                      <a:pt x="3616" y="3638"/>
                    </a:lnTo>
                    <a:lnTo>
                      <a:pt x="3618" y="3638"/>
                    </a:lnTo>
                    <a:lnTo>
                      <a:pt x="3620" y="3638"/>
                    </a:lnTo>
                    <a:lnTo>
                      <a:pt x="3620" y="3638"/>
                    </a:lnTo>
                    <a:lnTo>
                      <a:pt x="3622" y="3638"/>
                    </a:lnTo>
                    <a:lnTo>
                      <a:pt x="3620" y="3640"/>
                    </a:lnTo>
                    <a:lnTo>
                      <a:pt x="3618" y="3648"/>
                    </a:lnTo>
                    <a:lnTo>
                      <a:pt x="3614" y="3658"/>
                    </a:lnTo>
                    <a:lnTo>
                      <a:pt x="3612" y="3662"/>
                    </a:lnTo>
                    <a:lnTo>
                      <a:pt x="3614" y="3666"/>
                    </a:lnTo>
                    <a:lnTo>
                      <a:pt x="3614" y="3666"/>
                    </a:lnTo>
                    <a:lnTo>
                      <a:pt x="3622" y="3682"/>
                    </a:lnTo>
                    <a:lnTo>
                      <a:pt x="3626" y="3690"/>
                    </a:lnTo>
                    <a:lnTo>
                      <a:pt x="3632" y="3696"/>
                    </a:lnTo>
                    <a:lnTo>
                      <a:pt x="3632" y="3696"/>
                    </a:lnTo>
                    <a:lnTo>
                      <a:pt x="3636" y="3700"/>
                    </a:lnTo>
                    <a:lnTo>
                      <a:pt x="3638" y="3702"/>
                    </a:lnTo>
                    <a:lnTo>
                      <a:pt x="3640" y="3704"/>
                    </a:lnTo>
                    <a:lnTo>
                      <a:pt x="3640" y="3708"/>
                    </a:lnTo>
                    <a:lnTo>
                      <a:pt x="3672" y="3654"/>
                    </a:lnTo>
                    <a:lnTo>
                      <a:pt x="3672" y="3654"/>
                    </a:lnTo>
                    <a:lnTo>
                      <a:pt x="3654" y="3626"/>
                    </a:lnTo>
                    <a:lnTo>
                      <a:pt x="3654" y="3626"/>
                    </a:lnTo>
                    <a:close/>
                    <a:moveTo>
                      <a:pt x="3590" y="1870"/>
                    </a:moveTo>
                    <a:lnTo>
                      <a:pt x="3590" y="1870"/>
                    </a:lnTo>
                    <a:lnTo>
                      <a:pt x="3570" y="1886"/>
                    </a:lnTo>
                    <a:lnTo>
                      <a:pt x="3558" y="1894"/>
                    </a:lnTo>
                    <a:lnTo>
                      <a:pt x="3546" y="1900"/>
                    </a:lnTo>
                    <a:lnTo>
                      <a:pt x="3546" y="1900"/>
                    </a:lnTo>
                    <a:lnTo>
                      <a:pt x="3536" y="1904"/>
                    </a:lnTo>
                    <a:lnTo>
                      <a:pt x="3524" y="1910"/>
                    </a:lnTo>
                    <a:lnTo>
                      <a:pt x="3508" y="1920"/>
                    </a:lnTo>
                    <a:lnTo>
                      <a:pt x="3488" y="1932"/>
                    </a:lnTo>
                    <a:lnTo>
                      <a:pt x="3488" y="1932"/>
                    </a:lnTo>
                    <a:lnTo>
                      <a:pt x="3466" y="1938"/>
                    </a:lnTo>
                    <a:lnTo>
                      <a:pt x="3448" y="1942"/>
                    </a:lnTo>
                    <a:lnTo>
                      <a:pt x="3434" y="1942"/>
                    </a:lnTo>
                    <a:lnTo>
                      <a:pt x="3426" y="1940"/>
                    </a:lnTo>
                    <a:lnTo>
                      <a:pt x="3426" y="1940"/>
                    </a:lnTo>
                    <a:lnTo>
                      <a:pt x="3424" y="1938"/>
                    </a:lnTo>
                    <a:lnTo>
                      <a:pt x="3424" y="1938"/>
                    </a:lnTo>
                    <a:lnTo>
                      <a:pt x="3430" y="1936"/>
                    </a:lnTo>
                    <a:lnTo>
                      <a:pt x="3434" y="1936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26" y="1932"/>
                    </a:lnTo>
                    <a:lnTo>
                      <a:pt x="3418" y="1930"/>
                    </a:lnTo>
                    <a:lnTo>
                      <a:pt x="3410" y="1930"/>
                    </a:lnTo>
                    <a:lnTo>
                      <a:pt x="3408" y="1928"/>
                    </a:lnTo>
                    <a:lnTo>
                      <a:pt x="3406" y="1926"/>
                    </a:lnTo>
                    <a:lnTo>
                      <a:pt x="3406" y="1926"/>
                    </a:lnTo>
                    <a:lnTo>
                      <a:pt x="3408" y="1922"/>
                    </a:lnTo>
                    <a:lnTo>
                      <a:pt x="3410" y="1916"/>
                    </a:lnTo>
                    <a:lnTo>
                      <a:pt x="3414" y="1910"/>
                    </a:lnTo>
                    <a:lnTo>
                      <a:pt x="3416" y="1900"/>
                    </a:lnTo>
                    <a:lnTo>
                      <a:pt x="3416" y="1900"/>
                    </a:lnTo>
                    <a:lnTo>
                      <a:pt x="3420" y="1892"/>
                    </a:lnTo>
                    <a:lnTo>
                      <a:pt x="3422" y="1890"/>
                    </a:lnTo>
                    <a:lnTo>
                      <a:pt x="3426" y="1886"/>
                    </a:lnTo>
                    <a:lnTo>
                      <a:pt x="3430" y="1880"/>
                    </a:lnTo>
                    <a:lnTo>
                      <a:pt x="3430" y="1880"/>
                    </a:lnTo>
                    <a:lnTo>
                      <a:pt x="3434" y="1872"/>
                    </a:lnTo>
                    <a:lnTo>
                      <a:pt x="3436" y="1870"/>
                    </a:lnTo>
                    <a:lnTo>
                      <a:pt x="3438" y="1872"/>
                    </a:lnTo>
                    <a:lnTo>
                      <a:pt x="3440" y="1880"/>
                    </a:lnTo>
                    <a:lnTo>
                      <a:pt x="3440" y="1880"/>
                    </a:lnTo>
                    <a:lnTo>
                      <a:pt x="3446" y="1882"/>
                    </a:lnTo>
                    <a:lnTo>
                      <a:pt x="3448" y="1884"/>
                    </a:lnTo>
                    <a:lnTo>
                      <a:pt x="3450" y="1886"/>
                    </a:lnTo>
                    <a:lnTo>
                      <a:pt x="3448" y="1888"/>
                    </a:lnTo>
                    <a:lnTo>
                      <a:pt x="3442" y="1892"/>
                    </a:lnTo>
                    <a:lnTo>
                      <a:pt x="3432" y="1894"/>
                    </a:lnTo>
                    <a:lnTo>
                      <a:pt x="3432" y="1894"/>
                    </a:lnTo>
                    <a:lnTo>
                      <a:pt x="3426" y="1894"/>
                    </a:lnTo>
                    <a:lnTo>
                      <a:pt x="3424" y="1896"/>
                    </a:lnTo>
                    <a:lnTo>
                      <a:pt x="3422" y="1898"/>
                    </a:lnTo>
                    <a:lnTo>
                      <a:pt x="3422" y="1902"/>
                    </a:lnTo>
                    <a:lnTo>
                      <a:pt x="3422" y="1904"/>
                    </a:lnTo>
                    <a:lnTo>
                      <a:pt x="3424" y="1906"/>
                    </a:lnTo>
                    <a:lnTo>
                      <a:pt x="3428" y="1908"/>
                    </a:lnTo>
                    <a:lnTo>
                      <a:pt x="3432" y="1908"/>
                    </a:lnTo>
                    <a:lnTo>
                      <a:pt x="3432" y="1908"/>
                    </a:lnTo>
                    <a:lnTo>
                      <a:pt x="3438" y="1908"/>
                    </a:lnTo>
                    <a:lnTo>
                      <a:pt x="3442" y="1910"/>
                    </a:lnTo>
                    <a:lnTo>
                      <a:pt x="3444" y="1912"/>
                    </a:lnTo>
                    <a:lnTo>
                      <a:pt x="3446" y="1910"/>
                    </a:lnTo>
                    <a:lnTo>
                      <a:pt x="3446" y="1910"/>
                    </a:lnTo>
                    <a:lnTo>
                      <a:pt x="3450" y="1904"/>
                    </a:lnTo>
                    <a:lnTo>
                      <a:pt x="3456" y="1900"/>
                    </a:lnTo>
                    <a:lnTo>
                      <a:pt x="3466" y="1896"/>
                    </a:lnTo>
                    <a:lnTo>
                      <a:pt x="3466" y="1896"/>
                    </a:lnTo>
                    <a:lnTo>
                      <a:pt x="3470" y="1892"/>
                    </a:lnTo>
                    <a:lnTo>
                      <a:pt x="3474" y="1888"/>
                    </a:lnTo>
                    <a:lnTo>
                      <a:pt x="3482" y="1880"/>
                    </a:lnTo>
                    <a:lnTo>
                      <a:pt x="3488" y="1876"/>
                    </a:lnTo>
                    <a:lnTo>
                      <a:pt x="3496" y="1874"/>
                    </a:lnTo>
                    <a:lnTo>
                      <a:pt x="3504" y="1874"/>
                    </a:lnTo>
                    <a:lnTo>
                      <a:pt x="3518" y="1876"/>
                    </a:lnTo>
                    <a:lnTo>
                      <a:pt x="3518" y="1876"/>
                    </a:lnTo>
                    <a:lnTo>
                      <a:pt x="3534" y="1880"/>
                    </a:lnTo>
                    <a:lnTo>
                      <a:pt x="3538" y="1880"/>
                    </a:lnTo>
                    <a:lnTo>
                      <a:pt x="3536" y="1878"/>
                    </a:lnTo>
                    <a:lnTo>
                      <a:pt x="3532" y="1876"/>
                    </a:lnTo>
                    <a:lnTo>
                      <a:pt x="3532" y="1872"/>
                    </a:lnTo>
                    <a:lnTo>
                      <a:pt x="3532" y="1870"/>
                    </a:lnTo>
                    <a:lnTo>
                      <a:pt x="3532" y="1870"/>
                    </a:lnTo>
                    <a:lnTo>
                      <a:pt x="3536" y="1866"/>
                    </a:lnTo>
                    <a:lnTo>
                      <a:pt x="3540" y="1864"/>
                    </a:lnTo>
                    <a:lnTo>
                      <a:pt x="3560" y="1862"/>
                    </a:lnTo>
                    <a:lnTo>
                      <a:pt x="3560" y="1862"/>
                    </a:lnTo>
                    <a:lnTo>
                      <a:pt x="3580" y="1860"/>
                    </a:lnTo>
                    <a:lnTo>
                      <a:pt x="3584" y="1860"/>
                    </a:lnTo>
                    <a:lnTo>
                      <a:pt x="3586" y="1858"/>
                    </a:lnTo>
                    <a:lnTo>
                      <a:pt x="3586" y="1858"/>
                    </a:lnTo>
                    <a:lnTo>
                      <a:pt x="3586" y="1854"/>
                    </a:lnTo>
                    <a:lnTo>
                      <a:pt x="3586" y="1852"/>
                    </a:lnTo>
                    <a:lnTo>
                      <a:pt x="3588" y="1850"/>
                    </a:lnTo>
                    <a:lnTo>
                      <a:pt x="3588" y="1850"/>
                    </a:lnTo>
                    <a:lnTo>
                      <a:pt x="3590" y="1850"/>
                    </a:lnTo>
                    <a:lnTo>
                      <a:pt x="3592" y="1852"/>
                    </a:lnTo>
                    <a:lnTo>
                      <a:pt x="3594" y="1858"/>
                    </a:lnTo>
                    <a:lnTo>
                      <a:pt x="3592" y="1864"/>
                    </a:lnTo>
                    <a:lnTo>
                      <a:pt x="3590" y="1870"/>
                    </a:lnTo>
                    <a:lnTo>
                      <a:pt x="3590" y="1870"/>
                    </a:lnTo>
                    <a:close/>
                    <a:moveTo>
                      <a:pt x="3578" y="1812"/>
                    </a:moveTo>
                    <a:lnTo>
                      <a:pt x="3578" y="1812"/>
                    </a:lnTo>
                    <a:lnTo>
                      <a:pt x="3586" y="1806"/>
                    </a:lnTo>
                    <a:lnTo>
                      <a:pt x="3596" y="1804"/>
                    </a:lnTo>
                    <a:lnTo>
                      <a:pt x="3624" y="1798"/>
                    </a:lnTo>
                    <a:lnTo>
                      <a:pt x="3624" y="1798"/>
                    </a:lnTo>
                    <a:lnTo>
                      <a:pt x="3636" y="1796"/>
                    </a:lnTo>
                    <a:lnTo>
                      <a:pt x="3642" y="1794"/>
                    </a:lnTo>
                    <a:lnTo>
                      <a:pt x="3656" y="1802"/>
                    </a:lnTo>
                    <a:lnTo>
                      <a:pt x="3656" y="1802"/>
                    </a:lnTo>
                    <a:lnTo>
                      <a:pt x="3662" y="1804"/>
                    </a:lnTo>
                    <a:lnTo>
                      <a:pt x="3664" y="1804"/>
                    </a:lnTo>
                    <a:lnTo>
                      <a:pt x="3668" y="1804"/>
                    </a:lnTo>
                    <a:lnTo>
                      <a:pt x="3668" y="1802"/>
                    </a:lnTo>
                    <a:lnTo>
                      <a:pt x="3672" y="1794"/>
                    </a:lnTo>
                    <a:lnTo>
                      <a:pt x="3674" y="1790"/>
                    </a:lnTo>
                    <a:lnTo>
                      <a:pt x="3678" y="1788"/>
                    </a:lnTo>
                    <a:lnTo>
                      <a:pt x="3678" y="1788"/>
                    </a:lnTo>
                    <a:lnTo>
                      <a:pt x="3686" y="1782"/>
                    </a:lnTo>
                    <a:lnTo>
                      <a:pt x="3696" y="1778"/>
                    </a:lnTo>
                    <a:lnTo>
                      <a:pt x="3706" y="1776"/>
                    </a:lnTo>
                    <a:lnTo>
                      <a:pt x="3716" y="1770"/>
                    </a:lnTo>
                    <a:lnTo>
                      <a:pt x="3716" y="1770"/>
                    </a:lnTo>
                    <a:lnTo>
                      <a:pt x="3714" y="1774"/>
                    </a:lnTo>
                    <a:lnTo>
                      <a:pt x="3712" y="1778"/>
                    </a:lnTo>
                    <a:lnTo>
                      <a:pt x="3708" y="1782"/>
                    </a:lnTo>
                    <a:lnTo>
                      <a:pt x="3702" y="1784"/>
                    </a:lnTo>
                    <a:lnTo>
                      <a:pt x="3702" y="1784"/>
                    </a:lnTo>
                    <a:lnTo>
                      <a:pt x="3698" y="1786"/>
                    </a:lnTo>
                    <a:lnTo>
                      <a:pt x="3694" y="1790"/>
                    </a:lnTo>
                    <a:lnTo>
                      <a:pt x="3696" y="1794"/>
                    </a:lnTo>
                    <a:lnTo>
                      <a:pt x="3698" y="1798"/>
                    </a:lnTo>
                    <a:lnTo>
                      <a:pt x="3698" y="1798"/>
                    </a:lnTo>
                    <a:lnTo>
                      <a:pt x="3702" y="1800"/>
                    </a:lnTo>
                    <a:lnTo>
                      <a:pt x="3702" y="1802"/>
                    </a:lnTo>
                    <a:lnTo>
                      <a:pt x="3700" y="1806"/>
                    </a:lnTo>
                    <a:lnTo>
                      <a:pt x="3700" y="1814"/>
                    </a:lnTo>
                    <a:lnTo>
                      <a:pt x="3700" y="1814"/>
                    </a:lnTo>
                    <a:lnTo>
                      <a:pt x="3700" y="1820"/>
                    </a:lnTo>
                    <a:lnTo>
                      <a:pt x="3696" y="1822"/>
                    </a:lnTo>
                    <a:lnTo>
                      <a:pt x="3690" y="1826"/>
                    </a:lnTo>
                    <a:lnTo>
                      <a:pt x="3684" y="1830"/>
                    </a:lnTo>
                    <a:lnTo>
                      <a:pt x="3684" y="1830"/>
                    </a:lnTo>
                    <a:lnTo>
                      <a:pt x="3680" y="1834"/>
                    </a:lnTo>
                    <a:lnTo>
                      <a:pt x="3676" y="1836"/>
                    </a:lnTo>
                    <a:lnTo>
                      <a:pt x="3662" y="1838"/>
                    </a:lnTo>
                    <a:lnTo>
                      <a:pt x="3648" y="1838"/>
                    </a:lnTo>
                    <a:lnTo>
                      <a:pt x="3638" y="1834"/>
                    </a:lnTo>
                    <a:lnTo>
                      <a:pt x="3638" y="1834"/>
                    </a:lnTo>
                    <a:lnTo>
                      <a:pt x="3628" y="1832"/>
                    </a:lnTo>
                    <a:lnTo>
                      <a:pt x="3616" y="1830"/>
                    </a:lnTo>
                    <a:lnTo>
                      <a:pt x="3604" y="1832"/>
                    </a:lnTo>
                    <a:lnTo>
                      <a:pt x="3594" y="1834"/>
                    </a:lnTo>
                    <a:lnTo>
                      <a:pt x="3594" y="1834"/>
                    </a:lnTo>
                    <a:lnTo>
                      <a:pt x="3588" y="1838"/>
                    </a:lnTo>
                    <a:lnTo>
                      <a:pt x="3582" y="1840"/>
                    </a:lnTo>
                    <a:lnTo>
                      <a:pt x="3574" y="1842"/>
                    </a:lnTo>
                    <a:lnTo>
                      <a:pt x="3574" y="1842"/>
                    </a:lnTo>
                    <a:lnTo>
                      <a:pt x="3568" y="1842"/>
                    </a:lnTo>
                    <a:lnTo>
                      <a:pt x="3562" y="1842"/>
                    </a:lnTo>
                    <a:lnTo>
                      <a:pt x="3560" y="1840"/>
                    </a:lnTo>
                    <a:lnTo>
                      <a:pt x="3558" y="1838"/>
                    </a:lnTo>
                    <a:lnTo>
                      <a:pt x="3558" y="1834"/>
                    </a:lnTo>
                    <a:lnTo>
                      <a:pt x="3560" y="1828"/>
                    </a:lnTo>
                    <a:lnTo>
                      <a:pt x="3560" y="1828"/>
                    </a:lnTo>
                    <a:lnTo>
                      <a:pt x="3564" y="1820"/>
                    </a:lnTo>
                    <a:lnTo>
                      <a:pt x="3570" y="1818"/>
                    </a:lnTo>
                    <a:lnTo>
                      <a:pt x="3574" y="1816"/>
                    </a:lnTo>
                    <a:lnTo>
                      <a:pt x="3578" y="1812"/>
                    </a:lnTo>
                    <a:lnTo>
                      <a:pt x="3578" y="1812"/>
                    </a:lnTo>
                    <a:close/>
                    <a:moveTo>
                      <a:pt x="3092" y="1606"/>
                    </a:moveTo>
                    <a:lnTo>
                      <a:pt x="3092" y="1606"/>
                    </a:lnTo>
                    <a:lnTo>
                      <a:pt x="3104" y="1594"/>
                    </a:lnTo>
                    <a:lnTo>
                      <a:pt x="3118" y="1586"/>
                    </a:lnTo>
                    <a:lnTo>
                      <a:pt x="3158" y="1566"/>
                    </a:lnTo>
                    <a:lnTo>
                      <a:pt x="3158" y="1566"/>
                    </a:lnTo>
                    <a:lnTo>
                      <a:pt x="3164" y="1564"/>
                    </a:lnTo>
                    <a:lnTo>
                      <a:pt x="3164" y="1564"/>
                    </a:lnTo>
                    <a:lnTo>
                      <a:pt x="3168" y="1560"/>
                    </a:lnTo>
                    <a:lnTo>
                      <a:pt x="3172" y="1556"/>
                    </a:lnTo>
                    <a:lnTo>
                      <a:pt x="3176" y="1544"/>
                    </a:lnTo>
                    <a:lnTo>
                      <a:pt x="3176" y="1544"/>
                    </a:lnTo>
                    <a:lnTo>
                      <a:pt x="3180" y="1538"/>
                    </a:lnTo>
                    <a:lnTo>
                      <a:pt x="3184" y="1534"/>
                    </a:lnTo>
                    <a:lnTo>
                      <a:pt x="3188" y="1534"/>
                    </a:lnTo>
                    <a:lnTo>
                      <a:pt x="3190" y="1536"/>
                    </a:lnTo>
                    <a:lnTo>
                      <a:pt x="3190" y="1538"/>
                    </a:lnTo>
                    <a:lnTo>
                      <a:pt x="3190" y="1542"/>
                    </a:lnTo>
                    <a:lnTo>
                      <a:pt x="3190" y="1542"/>
                    </a:lnTo>
                    <a:lnTo>
                      <a:pt x="3188" y="1548"/>
                    </a:lnTo>
                    <a:lnTo>
                      <a:pt x="3192" y="1544"/>
                    </a:lnTo>
                    <a:lnTo>
                      <a:pt x="3196" y="1536"/>
                    </a:lnTo>
                    <a:lnTo>
                      <a:pt x="3200" y="1524"/>
                    </a:lnTo>
                    <a:lnTo>
                      <a:pt x="3200" y="1524"/>
                    </a:lnTo>
                    <a:lnTo>
                      <a:pt x="3204" y="1516"/>
                    </a:lnTo>
                    <a:lnTo>
                      <a:pt x="3206" y="1516"/>
                    </a:lnTo>
                    <a:lnTo>
                      <a:pt x="3208" y="1516"/>
                    </a:lnTo>
                    <a:lnTo>
                      <a:pt x="3208" y="1522"/>
                    </a:lnTo>
                    <a:lnTo>
                      <a:pt x="3206" y="1532"/>
                    </a:lnTo>
                    <a:lnTo>
                      <a:pt x="3206" y="1532"/>
                    </a:lnTo>
                    <a:lnTo>
                      <a:pt x="3204" y="1538"/>
                    </a:lnTo>
                    <a:lnTo>
                      <a:pt x="3204" y="1540"/>
                    </a:lnTo>
                    <a:lnTo>
                      <a:pt x="3204" y="1540"/>
                    </a:lnTo>
                    <a:lnTo>
                      <a:pt x="3216" y="1532"/>
                    </a:lnTo>
                    <a:lnTo>
                      <a:pt x="3216" y="1532"/>
                    </a:lnTo>
                    <a:lnTo>
                      <a:pt x="3218" y="1530"/>
                    </a:lnTo>
                    <a:lnTo>
                      <a:pt x="3220" y="1526"/>
                    </a:lnTo>
                    <a:lnTo>
                      <a:pt x="3218" y="1520"/>
                    </a:lnTo>
                    <a:lnTo>
                      <a:pt x="3216" y="1514"/>
                    </a:lnTo>
                    <a:lnTo>
                      <a:pt x="3216" y="1512"/>
                    </a:lnTo>
                    <a:lnTo>
                      <a:pt x="3216" y="1510"/>
                    </a:lnTo>
                    <a:lnTo>
                      <a:pt x="3216" y="1510"/>
                    </a:lnTo>
                    <a:lnTo>
                      <a:pt x="3220" y="1508"/>
                    </a:lnTo>
                    <a:lnTo>
                      <a:pt x="3224" y="1510"/>
                    </a:lnTo>
                    <a:lnTo>
                      <a:pt x="3236" y="1514"/>
                    </a:lnTo>
                    <a:lnTo>
                      <a:pt x="3248" y="1520"/>
                    </a:lnTo>
                    <a:lnTo>
                      <a:pt x="3254" y="1522"/>
                    </a:lnTo>
                    <a:lnTo>
                      <a:pt x="3260" y="1522"/>
                    </a:lnTo>
                    <a:lnTo>
                      <a:pt x="3260" y="1522"/>
                    </a:lnTo>
                    <a:lnTo>
                      <a:pt x="3268" y="1522"/>
                    </a:lnTo>
                    <a:lnTo>
                      <a:pt x="3272" y="1522"/>
                    </a:lnTo>
                    <a:lnTo>
                      <a:pt x="3276" y="1522"/>
                    </a:lnTo>
                    <a:lnTo>
                      <a:pt x="3284" y="1522"/>
                    </a:lnTo>
                    <a:lnTo>
                      <a:pt x="3284" y="1522"/>
                    </a:lnTo>
                    <a:lnTo>
                      <a:pt x="3288" y="1524"/>
                    </a:lnTo>
                    <a:lnTo>
                      <a:pt x="3292" y="1528"/>
                    </a:lnTo>
                    <a:lnTo>
                      <a:pt x="3296" y="1542"/>
                    </a:lnTo>
                    <a:lnTo>
                      <a:pt x="3298" y="1550"/>
                    </a:lnTo>
                    <a:lnTo>
                      <a:pt x="3302" y="1558"/>
                    </a:lnTo>
                    <a:lnTo>
                      <a:pt x="3308" y="1566"/>
                    </a:lnTo>
                    <a:lnTo>
                      <a:pt x="3314" y="1570"/>
                    </a:lnTo>
                    <a:lnTo>
                      <a:pt x="3314" y="1570"/>
                    </a:lnTo>
                    <a:lnTo>
                      <a:pt x="3320" y="1572"/>
                    </a:lnTo>
                    <a:lnTo>
                      <a:pt x="3328" y="1572"/>
                    </a:lnTo>
                    <a:lnTo>
                      <a:pt x="3340" y="1570"/>
                    </a:lnTo>
                    <a:lnTo>
                      <a:pt x="3344" y="1570"/>
                    </a:lnTo>
                    <a:lnTo>
                      <a:pt x="3348" y="1570"/>
                    </a:lnTo>
                    <a:lnTo>
                      <a:pt x="3348" y="1574"/>
                    </a:lnTo>
                    <a:lnTo>
                      <a:pt x="3346" y="1580"/>
                    </a:lnTo>
                    <a:lnTo>
                      <a:pt x="3346" y="1580"/>
                    </a:lnTo>
                    <a:lnTo>
                      <a:pt x="3344" y="1588"/>
                    </a:lnTo>
                    <a:lnTo>
                      <a:pt x="3346" y="1594"/>
                    </a:lnTo>
                    <a:lnTo>
                      <a:pt x="3358" y="1604"/>
                    </a:lnTo>
                    <a:lnTo>
                      <a:pt x="3358" y="1604"/>
                    </a:lnTo>
                    <a:lnTo>
                      <a:pt x="3360" y="1606"/>
                    </a:lnTo>
                    <a:lnTo>
                      <a:pt x="3360" y="1610"/>
                    </a:lnTo>
                    <a:lnTo>
                      <a:pt x="3358" y="1618"/>
                    </a:lnTo>
                    <a:lnTo>
                      <a:pt x="3354" y="1624"/>
                    </a:lnTo>
                    <a:lnTo>
                      <a:pt x="3354" y="1626"/>
                    </a:lnTo>
                    <a:lnTo>
                      <a:pt x="3356" y="1630"/>
                    </a:lnTo>
                    <a:lnTo>
                      <a:pt x="3356" y="1630"/>
                    </a:lnTo>
                    <a:lnTo>
                      <a:pt x="3362" y="1630"/>
                    </a:lnTo>
                    <a:lnTo>
                      <a:pt x="3364" y="1630"/>
                    </a:lnTo>
                    <a:lnTo>
                      <a:pt x="3366" y="1630"/>
                    </a:lnTo>
                    <a:lnTo>
                      <a:pt x="3368" y="1632"/>
                    </a:lnTo>
                    <a:lnTo>
                      <a:pt x="3368" y="1632"/>
                    </a:lnTo>
                    <a:lnTo>
                      <a:pt x="3370" y="1634"/>
                    </a:lnTo>
                    <a:lnTo>
                      <a:pt x="3368" y="1636"/>
                    </a:lnTo>
                    <a:lnTo>
                      <a:pt x="3364" y="1640"/>
                    </a:lnTo>
                    <a:lnTo>
                      <a:pt x="3362" y="1642"/>
                    </a:lnTo>
                    <a:lnTo>
                      <a:pt x="3362" y="1648"/>
                    </a:lnTo>
                    <a:lnTo>
                      <a:pt x="3362" y="1648"/>
                    </a:lnTo>
                    <a:lnTo>
                      <a:pt x="3362" y="1652"/>
                    </a:lnTo>
                    <a:lnTo>
                      <a:pt x="3364" y="1654"/>
                    </a:lnTo>
                    <a:lnTo>
                      <a:pt x="3372" y="1652"/>
                    </a:lnTo>
                    <a:lnTo>
                      <a:pt x="3380" y="1652"/>
                    </a:lnTo>
                    <a:lnTo>
                      <a:pt x="3382" y="1652"/>
                    </a:lnTo>
                    <a:lnTo>
                      <a:pt x="3382" y="1656"/>
                    </a:lnTo>
                    <a:lnTo>
                      <a:pt x="3382" y="1656"/>
                    </a:lnTo>
                    <a:lnTo>
                      <a:pt x="3382" y="1662"/>
                    </a:lnTo>
                    <a:lnTo>
                      <a:pt x="3386" y="1664"/>
                    </a:lnTo>
                    <a:lnTo>
                      <a:pt x="3392" y="1666"/>
                    </a:lnTo>
                    <a:lnTo>
                      <a:pt x="3402" y="1668"/>
                    </a:lnTo>
                    <a:lnTo>
                      <a:pt x="3402" y="1668"/>
                    </a:lnTo>
                    <a:lnTo>
                      <a:pt x="3416" y="1672"/>
                    </a:lnTo>
                    <a:lnTo>
                      <a:pt x="3430" y="1674"/>
                    </a:lnTo>
                    <a:lnTo>
                      <a:pt x="3446" y="1674"/>
                    </a:lnTo>
                    <a:lnTo>
                      <a:pt x="3460" y="1676"/>
                    </a:lnTo>
                    <a:lnTo>
                      <a:pt x="3460" y="1676"/>
                    </a:lnTo>
                    <a:lnTo>
                      <a:pt x="3470" y="1676"/>
                    </a:lnTo>
                    <a:lnTo>
                      <a:pt x="3478" y="1676"/>
                    </a:lnTo>
                    <a:lnTo>
                      <a:pt x="3484" y="1678"/>
                    </a:lnTo>
                    <a:lnTo>
                      <a:pt x="3484" y="1678"/>
                    </a:lnTo>
                    <a:lnTo>
                      <a:pt x="3484" y="1680"/>
                    </a:lnTo>
                    <a:lnTo>
                      <a:pt x="3484" y="1680"/>
                    </a:lnTo>
                    <a:lnTo>
                      <a:pt x="3484" y="1682"/>
                    </a:lnTo>
                    <a:lnTo>
                      <a:pt x="3484" y="1684"/>
                    </a:lnTo>
                    <a:lnTo>
                      <a:pt x="3490" y="1686"/>
                    </a:lnTo>
                    <a:lnTo>
                      <a:pt x="3508" y="1686"/>
                    </a:lnTo>
                    <a:lnTo>
                      <a:pt x="3508" y="1686"/>
                    </a:lnTo>
                    <a:lnTo>
                      <a:pt x="3514" y="1688"/>
                    </a:lnTo>
                    <a:lnTo>
                      <a:pt x="3518" y="1692"/>
                    </a:lnTo>
                    <a:lnTo>
                      <a:pt x="3526" y="1704"/>
                    </a:lnTo>
                    <a:lnTo>
                      <a:pt x="3532" y="1716"/>
                    </a:lnTo>
                    <a:lnTo>
                      <a:pt x="3534" y="1718"/>
                    </a:lnTo>
                    <a:lnTo>
                      <a:pt x="3536" y="1718"/>
                    </a:lnTo>
                    <a:lnTo>
                      <a:pt x="3536" y="1718"/>
                    </a:lnTo>
                    <a:lnTo>
                      <a:pt x="3540" y="1716"/>
                    </a:lnTo>
                    <a:lnTo>
                      <a:pt x="3542" y="1716"/>
                    </a:lnTo>
                    <a:lnTo>
                      <a:pt x="3544" y="1720"/>
                    </a:lnTo>
                    <a:lnTo>
                      <a:pt x="3544" y="1726"/>
                    </a:lnTo>
                    <a:lnTo>
                      <a:pt x="3544" y="1726"/>
                    </a:lnTo>
                    <a:lnTo>
                      <a:pt x="3544" y="1730"/>
                    </a:lnTo>
                    <a:lnTo>
                      <a:pt x="3546" y="1734"/>
                    </a:lnTo>
                    <a:lnTo>
                      <a:pt x="3552" y="1742"/>
                    </a:lnTo>
                    <a:lnTo>
                      <a:pt x="3556" y="1748"/>
                    </a:lnTo>
                    <a:lnTo>
                      <a:pt x="3560" y="1756"/>
                    </a:lnTo>
                    <a:lnTo>
                      <a:pt x="3560" y="1756"/>
                    </a:lnTo>
                    <a:lnTo>
                      <a:pt x="3558" y="1758"/>
                    </a:lnTo>
                    <a:lnTo>
                      <a:pt x="3558" y="1758"/>
                    </a:lnTo>
                    <a:lnTo>
                      <a:pt x="3554" y="1754"/>
                    </a:lnTo>
                    <a:lnTo>
                      <a:pt x="3548" y="1750"/>
                    </a:lnTo>
                    <a:lnTo>
                      <a:pt x="3546" y="1750"/>
                    </a:lnTo>
                    <a:lnTo>
                      <a:pt x="3544" y="1750"/>
                    </a:lnTo>
                    <a:lnTo>
                      <a:pt x="3544" y="1750"/>
                    </a:lnTo>
                    <a:lnTo>
                      <a:pt x="3542" y="1752"/>
                    </a:lnTo>
                    <a:lnTo>
                      <a:pt x="3542" y="1754"/>
                    </a:lnTo>
                    <a:lnTo>
                      <a:pt x="3546" y="1760"/>
                    </a:lnTo>
                    <a:lnTo>
                      <a:pt x="3548" y="1766"/>
                    </a:lnTo>
                    <a:lnTo>
                      <a:pt x="3546" y="1768"/>
                    </a:lnTo>
                    <a:lnTo>
                      <a:pt x="3544" y="1770"/>
                    </a:lnTo>
                    <a:lnTo>
                      <a:pt x="3544" y="1770"/>
                    </a:lnTo>
                    <a:lnTo>
                      <a:pt x="3542" y="1772"/>
                    </a:lnTo>
                    <a:lnTo>
                      <a:pt x="3538" y="1770"/>
                    </a:lnTo>
                    <a:lnTo>
                      <a:pt x="3530" y="1764"/>
                    </a:lnTo>
                    <a:lnTo>
                      <a:pt x="3520" y="1760"/>
                    </a:lnTo>
                    <a:lnTo>
                      <a:pt x="3516" y="1758"/>
                    </a:lnTo>
                    <a:lnTo>
                      <a:pt x="3512" y="1760"/>
                    </a:lnTo>
                    <a:lnTo>
                      <a:pt x="3512" y="1760"/>
                    </a:lnTo>
                    <a:lnTo>
                      <a:pt x="3508" y="1762"/>
                    </a:lnTo>
                    <a:lnTo>
                      <a:pt x="3508" y="1758"/>
                    </a:lnTo>
                    <a:lnTo>
                      <a:pt x="3508" y="1754"/>
                    </a:lnTo>
                    <a:lnTo>
                      <a:pt x="3508" y="1754"/>
                    </a:lnTo>
                    <a:lnTo>
                      <a:pt x="3504" y="1754"/>
                    </a:lnTo>
                    <a:lnTo>
                      <a:pt x="3504" y="1754"/>
                    </a:lnTo>
                    <a:lnTo>
                      <a:pt x="3502" y="1754"/>
                    </a:lnTo>
                    <a:lnTo>
                      <a:pt x="3502" y="1754"/>
                    </a:lnTo>
                    <a:lnTo>
                      <a:pt x="3504" y="1750"/>
                    </a:lnTo>
                    <a:lnTo>
                      <a:pt x="3506" y="1746"/>
                    </a:lnTo>
                    <a:lnTo>
                      <a:pt x="3504" y="1744"/>
                    </a:lnTo>
                    <a:lnTo>
                      <a:pt x="3502" y="1742"/>
                    </a:lnTo>
                    <a:lnTo>
                      <a:pt x="3502" y="1742"/>
                    </a:lnTo>
                    <a:lnTo>
                      <a:pt x="3498" y="1742"/>
                    </a:lnTo>
                    <a:lnTo>
                      <a:pt x="3496" y="1740"/>
                    </a:lnTo>
                    <a:lnTo>
                      <a:pt x="3494" y="1734"/>
                    </a:lnTo>
                    <a:lnTo>
                      <a:pt x="3494" y="1728"/>
                    </a:lnTo>
                    <a:lnTo>
                      <a:pt x="3492" y="1728"/>
                    </a:lnTo>
                    <a:lnTo>
                      <a:pt x="3490" y="1726"/>
                    </a:lnTo>
                    <a:lnTo>
                      <a:pt x="3490" y="1726"/>
                    </a:lnTo>
                    <a:lnTo>
                      <a:pt x="3486" y="1726"/>
                    </a:lnTo>
                    <a:lnTo>
                      <a:pt x="3482" y="1726"/>
                    </a:lnTo>
                    <a:lnTo>
                      <a:pt x="3480" y="1724"/>
                    </a:lnTo>
                    <a:lnTo>
                      <a:pt x="3478" y="1726"/>
                    </a:lnTo>
                    <a:lnTo>
                      <a:pt x="3478" y="1726"/>
                    </a:lnTo>
                    <a:lnTo>
                      <a:pt x="3480" y="1730"/>
                    </a:lnTo>
                    <a:lnTo>
                      <a:pt x="3484" y="1736"/>
                    </a:lnTo>
                    <a:lnTo>
                      <a:pt x="3490" y="1744"/>
                    </a:lnTo>
                    <a:lnTo>
                      <a:pt x="3496" y="1756"/>
                    </a:lnTo>
                    <a:lnTo>
                      <a:pt x="3496" y="1756"/>
                    </a:lnTo>
                    <a:lnTo>
                      <a:pt x="3496" y="1762"/>
                    </a:lnTo>
                    <a:lnTo>
                      <a:pt x="3494" y="1766"/>
                    </a:lnTo>
                    <a:lnTo>
                      <a:pt x="3486" y="1776"/>
                    </a:lnTo>
                    <a:lnTo>
                      <a:pt x="3482" y="1782"/>
                    </a:lnTo>
                    <a:lnTo>
                      <a:pt x="3480" y="1788"/>
                    </a:lnTo>
                    <a:lnTo>
                      <a:pt x="3476" y="1796"/>
                    </a:lnTo>
                    <a:lnTo>
                      <a:pt x="3476" y="1806"/>
                    </a:lnTo>
                    <a:lnTo>
                      <a:pt x="3476" y="1806"/>
                    </a:lnTo>
                    <a:lnTo>
                      <a:pt x="3476" y="1826"/>
                    </a:lnTo>
                    <a:lnTo>
                      <a:pt x="3476" y="1832"/>
                    </a:lnTo>
                    <a:lnTo>
                      <a:pt x="3472" y="1838"/>
                    </a:lnTo>
                    <a:lnTo>
                      <a:pt x="3468" y="1842"/>
                    </a:lnTo>
                    <a:lnTo>
                      <a:pt x="3464" y="1844"/>
                    </a:lnTo>
                    <a:lnTo>
                      <a:pt x="3448" y="1852"/>
                    </a:lnTo>
                    <a:lnTo>
                      <a:pt x="3448" y="1852"/>
                    </a:lnTo>
                    <a:lnTo>
                      <a:pt x="3446" y="1846"/>
                    </a:lnTo>
                    <a:lnTo>
                      <a:pt x="3444" y="1838"/>
                    </a:lnTo>
                    <a:lnTo>
                      <a:pt x="3440" y="1818"/>
                    </a:lnTo>
                    <a:lnTo>
                      <a:pt x="3438" y="1808"/>
                    </a:lnTo>
                    <a:lnTo>
                      <a:pt x="3434" y="1802"/>
                    </a:lnTo>
                    <a:lnTo>
                      <a:pt x="3428" y="1796"/>
                    </a:lnTo>
                    <a:lnTo>
                      <a:pt x="3424" y="1796"/>
                    </a:lnTo>
                    <a:lnTo>
                      <a:pt x="3424" y="1796"/>
                    </a:lnTo>
                    <a:lnTo>
                      <a:pt x="3418" y="1798"/>
                    </a:lnTo>
                    <a:lnTo>
                      <a:pt x="3414" y="1800"/>
                    </a:lnTo>
                    <a:lnTo>
                      <a:pt x="3408" y="1808"/>
                    </a:lnTo>
                    <a:lnTo>
                      <a:pt x="3404" y="1816"/>
                    </a:lnTo>
                    <a:lnTo>
                      <a:pt x="3400" y="1818"/>
                    </a:lnTo>
                    <a:lnTo>
                      <a:pt x="3398" y="1820"/>
                    </a:lnTo>
                    <a:lnTo>
                      <a:pt x="3398" y="1820"/>
                    </a:lnTo>
                    <a:lnTo>
                      <a:pt x="3394" y="1818"/>
                    </a:lnTo>
                    <a:lnTo>
                      <a:pt x="3392" y="1816"/>
                    </a:lnTo>
                    <a:lnTo>
                      <a:pt x="3388" y="1810"/>
                    </a:lnTo>
                    <a:lnTo>
                      <a:pt x="3390" y="1802"/>
                    </a:lnTo>
                    <a:lnTo>
                      <a:pt x="3392" y="1798"/>
                    </a:lnTo>
                    <a:lnTo>
                      <a:pt x="3394" y="1796"/>
                    </a:lnTo>
                    <a:lnTo>
                      <a:pt x="3394" y="1796"/>
                    </a:lnTo>
                    <a:lnTo>
                      <a:pt x="3400" y="1790"/>
                    </a:lnTo>
                    <a:lnTo>
                      <a:pt x="3406" y="1784"/>
                    </a:lnTo>
                    <a:lnTo>
                      <a:pt x="3410" y="1776"/>
                    </a:lnTo>
                    <a:lnTo>
                      <a:pt x="3412" y="1764"/>
                    </a:lnTo>
                    <a:lnTo>
                      <a:pt x="3412" y="1764"/>
                    </a:lnTo>
                    <a:lnTo>
                      <a:pt x="3412" y="1758"/>
                    </a:lnTo>
                    <a:lnTo>
                      <a:pt x="3412" y="1754"/>
                    </a:lnTo>
                    <a:lnTo>
                      <a:pt x="3410" y="1746"/>
                    </a:lnTo>
                    <a:lnTo>
                      <a:pt x="3408" y="1740"/>
                    </a:lnTo>
                    <a:lnTo>
                      <a:pt x="3408" y="1738"/>
                    </a:lnTo>
                    <a:lnTo>
                      <a:pt x="3410" y="1738"/>
                    </a:lnTo>
                    <a:lnTo>
                      <a:pt x="3410" y="1738"/>
                    </a:lnTo>
                    <a:lnTo>
                      <a:pt x="3414" y="1736"/>
                    </a:lnTo>
                    <a:lnTo>
                      <a:pt x="3414" y="1734"/>
                    </a:lnTo>
                    <a:lnTo>
                      <a:pt x="3410" y="1728"/>
                    </a:lnTo>
                    <a:lnTo>
                      <a:pt x="3402" y="1722"/>
                    </a:lnTo>
                    <a:lnTo>
                      <a:pt x="3392" y="1716"/>
                    </a:lnTo>
                    <a:lnTo>
                      <a:pt x="3392" y="1716"/>
                    </a:lnTo>
                    <a:lnTo>
                      <a:pt x="3382" y="1712"/>
                    </a:lnTo>
                    <a:lnTo>
                      <a:pt x="3380" y="1708"/>
                    </a:lnTo>
                    <a:lnTo>
                      <a:pt x="3378" y="1706"/>
                    </a:lnTo>
                    <a:lnTo>
                      <a:pt x="3372" y="1704"/>
                    </a:lnTo>
                    <a:lnTo>
                      <a:pt x="3372" y="1704"/>
                    </a:lnTo>
                    <a:lnTo>
                      <a:pt x="3366" y="1702"/>
                    </a:lnTo>
                    <a:lnTo>
                      <a:pt x="3362" y="1698"/>
                    </a:lnTo>
                    <a:lnTo>
                      <a:pt x="3358" y="1696"/>
                    </a:lnTo>
                    <a:lnTo>
                      <a:pt x="3356" y="1696"/>
                    </a:lnTo>
                    <a:lnTo>
                      <a:pt x="3352" y="1698"/>
                    </a:lnTo>
                    <a:lnTo>
                      <a:pt x="3346" y="1702"/>
                    </a:lnTo>
                    <a:lnTo>
                      <a:pt x="3346" y="1702"/>
                    </a:lnTo>
                    <a:lnTo>
                      <a:pt x="3342" y="1706"/>
                    </a:lnTo>
                    <a:lnTo>
                      <a:pt x="3340" y="1710"/>
                    </a:lnTo>
                    <a:lnTo>
                      <a:pt x="3342" y="1712"/>
                    </a:lnTo>
                    <a:lnTo>
                      <a:pt x="3344" y="1714"/>
                    </a:lnTo>
                    <a:lnTo>
                      <a:pt x="3346" y="1718"/>
                    </a:lnTo>
                    <a:lnTo>
                      <a:pt x="3340" y="1720"/>
                    </a:lnTo>
                    <a:lnTo>
                      <a:pt x="3340" y="1720"/>
                    </a:lnTo>
                    <a:lnTo>
                      <a:pt x="3334" y="1722"/>
                    </a:lnTo>
                    <a:lnTo>
                      <a:pt x="3330" y="1726"/>
                    </a:lnTo>
                    <a:lnTo>
                      <a:pt x="3328" y="1732"/>
                    </a:lnTo>
                    <a:lnTo>
                      <a:pt x="3328" y="1738"/>
                    </a:lnTo>
                    <a:lnTo>
                      <a:pt x="3326" y="1748"/>
                    </a:lnTo>
                    <a:lnTo>
                      <a:pt x="3324" y="1752"/>
                    </a:lnTo>
                    <a:lnTo>
                      <a:pt x="3322" y="1752"/>
                    </a:lnTo>
                    <a:lnTo>
                      <a:pt x="3322" y="1752"/>
                    </a:lnTo>
                    <a:lnTo>
                      <a:pt x="3320" y="1752"/>
                    </a:lnTo>
                    <a:lnTo>
                      <a:pt x="3318" y="1748"/>
                    </a:lnTo>
                    <a:lnTo>
                      <a:pt x="3318" y="1738"/>
                    </a:lnTo>
                    <a:lnTo>
                      <a:pt x="3318" y="1734"/>
                    </a:lnTo>
                    <a:lnTo>
                      <a:pt x="3316" y="1734"/>
                    </a:lnTo>
                    <a:lnTo>
                      <a:pt x="3314" y="1736"/>
                    </a:lnTo>
                    <a:lnTo>
                      <a:pt x="3308" y="1744"/>
                    </a:lnTo>
                    <a:lnTo>
                      <a:pt x="3308" y="1744"/>
                    </a:lnTo>
                    <a:lnTo>
                      <a:pt x="3300" y="1752"/>
                    </a:lnTo>
                    <a:lnTo>
                      <a:pt x="3296" y="1754"/>
                    </a:lnTo>
                    <a:lnTo>
                      <a:pt x="3294" y="1756"/>
                    </a:lnTo>
                    <a:lnTo>
                      <a:pt x="3294" y="1766"/>
                    </a:lnTo>
                    <a:lnTo>
                      <a:pt x="3294" y="1766"/>
                    </a:lnTo>
                    <a:lnTo>
                      <a:pt x="3296" y="1772"/>
                    </a:lnTo>
                    <a:lnTo>
                      <a:pt x="3294" y="1778"/>
                    </a:lnTo>
                    <a:lnTo>
                      <a:pt x="3290" y="1786"/>
                    </a:lnTo>
                    <a:lnTo>
                      <a:pt x="3286" y="1792"/>
                    </a:lnTo>
                    <a:lnTo>
                      <a:pt x="3286" y="1796"/>
                    </a:lnTo>
                    <a:lnTo>
                      <a:pt x="3286" y="1800"/>
                    </a:lnTo>
                    <a:lnTo>
                      <a:pt x="3286" y="1800"/>
                    </a:lnTo>
                    <a:lnTo>
                      <a:pt x="3288" y="1808"/>
                    </a:lnTo>
                    <a:lnTo>
                      <a:pt x="3286" y="1812"/>
                    </a:lnTo>
                    <a:lnTo>
                      <a:pt x="3284" y="1818"/>
                    </a:lnTo>
                    <a:lnTo>
                      <a:pt x="3286" y="1828"/>
                    </a:lnTo>
                    <a:lnTo>
                      <a:pt x="3286" y="1828"/>
                    </a:lnTo>
                    <a:lnTo>
                      <a:pt x="3292" y="1840"/>
                    </a:lnTo>
                    <a:lnTo>
                      <a:pt x="3294" y="1852"/>
                    </a:lnTo>
                    <a:lnTo>
                      <a:pt x="3296" y="1862"/>
                    </a:lnTo>
                    <a:lnTo>
                      <a:pt x="3294" y="1872"/>
                    </a:lnTo>
                    <a:lnTo>
                      <a:pt x="3294" y="1880"/>
                    </a:lnTo>
                    <a:lnTo>
                      <a:pt x="3290" y="1890"/>
                    </a:lnTo>
                    <a:lnTo>
                      <a:pt x="3282" y="1908"/>
                    </a:lnTo>
                    <a:lnTo>
                      <a:pt x="3282" y="1908"/>
                    </a:lnTo>
                    <a:lnTo>
                      <a:pt x="3276" y="1916"/>
                    </a:lnTo>
                    <a:lnTo>
                      <a:pt x="3270" y="1922"/>
                    </a:lnTo>
                    <a:lnTo>
                      <a:pt x="3264" y="1928"/>
                    </a:lnTo>
                    <a:lnTo>
                      <a:pt x="3258" y="1930"/>
                    </a:lnTo>
                    <a:lnTo>
                      <a:pt x="3252" y="1930"/>
                    </a:lnTo>
                    <a:lnTo>
                      <a:pt x="3246" y="1926"/>
                    </a:lnTo>
                    <a:lnTo>
                      <a:pt x="3242" y="1922"/>
                    </a:lnTo>
                    <a:lnTo>
                      <a:pt x="3236" y="1914"/>
                    </a:lnTo>
                    <a:lnTo>
                      <a:pt x="3236" y="1914"/>
                    </a:lnTo>
                    <a:lnTo>
                      <a:pt x="3232" y="1904"/>
                    </a:lnTo>
                    <a:lnTo>
                      <a:pt x="3230" y="1898"/>
                    </a:lnTo>
                    <a:lnTo>
                      <a:pt x="3230" y="1884"/>
                    </a:lnTo>
                    <a:lnTo>
                      <a:pt x="3230" y="1872"/>
                    </a:lnTo>
                    <a:lnTo>
                      <a:pt x="3230" y="1864"/>
                    </a:lnTo>
                    <a:lnTo>
                      <a:pt x="3230" y="1856"/>
                    </a:lnTo>
                    <a:lnTo>
                      <a:pt x="3230" y="1856"/>
                    </a:lnTo>
                    <a:lnTo>
                      <a:pt x="3228" y="1842"/>
                    </a:lnTo>
                    <a:lnTo>
                      <a:pt x="3228" y="1834"/>
                    </a:lnTo>
                    <a:lnTo>
                      <a:pt x="3232" y="1824"/>
                    </a:lnTo>
                    <a:lnTo>
                      <a:pt x="3234" y="1810"/>
                    </a:lnTo>
                    <a:lnTo>
                      <a:pt x="3234" y="1810"/>
                    </a:lnTo>
                    <a:lnTo>
                      <a:pt x="3234" y="1802"/>
                    </a:lnTo>
                    <a:lnTo>
                      <a:pt x="3236" y="1796"/>
                    </a:lnTo>
                    <a:lnTo>
                      <a:pt x="3238" y="1792"/>
                    </a:lnTo>
                    <a:lnTo>
                      <a:pt x="3240" y="1792"/>
                    </a:lnTo>
                    <a:lnTo>
                      <a:pt x="3242" y="1790"/>
                    </a:lnTo>
                    <a:lnTo>
                      <a:pt x="3242" y="1784"/>
                    </a:lnTo>
                    <a:lnTo>
                      <a:pt x="3242" y="1784"/>
                    </a:lnTo>
                    <a:lnTo>
                      <a:pt x="3240" y="1780"/>
                    </a:lnTo>
                    <a:lnTo>
                      <a:pt x="3242" y="1776"/>
                    </a:lnTo>
                    <a:lnTo>
                      <a:pt x="3246" y="1764"/>
                    </a:lnTo>
                    <a:lnTo>
                      <a:pt x="3248" y="1754"/>
                    </a:lnTo>
                    <a:lnTo>
                      <a:pt x="3248" y="1752"/>
                    </a:lnTo>
                    <a:lnTo>
                      <a:pt x="3246" y="1748"/>
                    </a:lnTo>
                    <a:lnTo>
                      <a:pt x="3246" y="1748"/>
                    </a:lnTo>
                    <a:lnTo>
                      <a:pt x="3240" y="1748"/>
                    </a:lnTo>
                    <a:lnTo>
                      <a:pt x="3238" y="1752"/>
                    </a:lnTo>
                    <a:lnTo>
                      <a:pt x="3234" y="1758"/>
                    </a:lnTo>
                    <a:lnTo>
                      <a:pt x="3228" y="1764"/>
                    </a:lnTo>
                    <a:lnTo>
                      <a:pt x="3228" y="1764"/>
                    </a:lnTo>
                    <a:lnTo>
                      <a:pt x="3226" y="1766"/>
                    </a:lnTo>
                    <a:lnTo>
                      <a:pt x="3224" y="1766"/>
                    </a:lnTo>
                    <a:lnTo>
                      <a:pt x="3224" y="1758"/>
                    </a:lnTo>
                    <a:lnTo>
                      <a:pt x="3226" y="1750"/>
                    </a:lnTo>
                    <a:lnTo>
                      <a:pt x="3230" y="1746"/>
                    </a:lnTo>
                    <a:lnTo>
                      <a:pt x="3232" y="1742"/>
                    </a:lnTo>
                    <a:lnTo>
                      <a:pt x="3232" y="1742"/>
                    </a:lnTo>
                    <a:lnTo>
                      <a:pt x="3236" y="1740"/>
                    </a:lnTo>
                    <a:lnTo>
                      <a:pt x="3238" y="1736"/>
                    </a:lnTo>
                    <a:lnTo>
                      <a:pt x="3240" y="1732"/>
                    </a:lnTo>
                    <a:lnTo>
                      <a:pt x="3244" y="1726"/>
                    </a:lnTo>
                    <a:lnTo>
                      <a:pt x="3244" y="1726"/>
                    </a:lnTo>
                    <a:lnTo>
                      <a:pt x="3252" y="1714"/>
                    </a:lnTo>
                    <a:lnTo>
                      <a:pt x="3258" y="1700"/>
                    </a:lnTo>
                    <a:lnTo>
                      <a:pt x="3264" y="1692"/>
                    </a:lnTo>
                    <a:lnTo>
                      <a:pt x="3266" y="1690"/>
                    </a:lnTo>
                    <a:lnTo>
                      <a:pt x="3266" y="1692"/>
                    </a:lnTo>
                    <a:lnTo>
                      <a:pt x="3266" y="1692"/>
                    </a:lnTo>
                    <a:lnTo>
                      <a:pt x="3268" y="1696"/>
                    </a:lnTo>
                    <a:lnTo>
                      <a:pt x="3270" y="1696"/>
                    </a:lnTo>
                    <a:lnTo>
                      <a:pt x="3274" y="1694"/>
                    </a:lnTo>
                    <a:lnTo>
                      <a:pt x="3278" y="1692"/>
                    </a:lnTo>
                    <a:lnTo>
                      <a:pt x="3280" y="1692"/>
                    </a:lnTo>
                    <a:lnTo>
                      <a:pt x="3278" y="1698"/>
                    </a:lnTo>
                    <a:lnTo>
                      <a:pt x="3278" y="1698"/>
                    </a:lnTo>
                    <a:lnTo>
                      <a:pt x="3278" y="1702"/>
                    </a:lnTo>
                    <a:lnTo>
                      <a:pt x="3278" y="1702"/>
                    </a:lnTo>
                    <a:lnTo>
                      <a:pt x="3284" y="1696"/>
                    </a:lnTo>
                    <a:lnTo>
                      <a:pt x="3292" y="1688"/>
                    </a:lnTo>
                    <a:lnTo>
                      <a:pt x="3296" y="1686"/>
                    </a:lnTo>
                    <a:lnTo>
                      <a:pt x="3300" y="1684"/>
                    </a:lnTo>
                    <a:lnTo>
                      <a:pt x="3300" y="1684"/>
                    </a:lnTo>
                    <a:lnTo>
                      <a:pt x="3310" y="1684"/>
                    </a:lnTo>
                    <a:lnTo>
                      <a:pt x="3314" y="1684"/>
                    </a:lnTo>
                    <a:lnTo>
                      <a:pt x="3320" y="1678"/>
                    </a:lnTo>
                    <a:lnTo>
                      <a:pt x="3324" y="1676"/>
                    </a:lnTo>
                    <a:lnTo>
                      <a:pt x="3328" y="1678"/>
                    </a:lnTo>
                    <a:lnTo>
                      <a:pt x="3336" y="1680"/>
                    </a:lnTo>
                    <a:lnTo>
                      <a:pt x="3346" y="1686"/>
                    </a:lnTo>
                    <a:lnTo>
                      <a:pt x="3346" y="1686"/>
                    </a:lnTo>
                    <a:lnTo>
                      <a:pt x="3352" y="1690"/>
                    </a:lnTo>
                    <a:lnTo>
                      <a:pt x="3354" y="1690"/>
                    </a:lnTo>
                    <a:lnTo>
                      <a:pt x="3356" y="1688"/>
                    </a:lnTo>
                    <a:lnTo>
                      <a:pt x="3358" y="1686"/>
                    </a:lnTo>
                    <a:lnTo>
                      <a:pt x="3358" y="1682"/>
                    </a:lnTo>
                    <a:lnTo>
                      <a:pt x="3360" y="1680"/>
                    </a:lnTo>
                    <a:lnTo>
                      <a:pt x="3362" y="1680"/>
                    </a:lnTo>
                    <a:lnTo>
                      <a:pt x="3362" y="1680"/>
                    </a:lnTo>
                    <a:lnTo>
                      <a:pt x="3370" y="1684"/>
                    </a:lnTo>
                    <a:lnTo>
                      <a:pt x="3380" y="1686"/>
                    </a:lnTo>
                    <a:lnTo>
                      <a:pt x="3386" y="1684"/>
                    </a:lnTo>
                    <a:lnTo>
                      <a:pt x="3388" y="1682"/>
                    </a:lnTo>
                    <a:lnTo>
                      <a:pt x="3388" y="1678"/>
                    </a:lnTo>
                    <a:lnTo>
                      <a:pt x="3388" y="1678"/>
                    </a:lnTo>
                    <a:lnTo>
                      <a:pt x="3384" y="1674"/>
                    </a:lnTo>
                    <a:lnTo>
                      <a:pt x="3380" y="1672"/>
                    </a:lnTo>
                    <a:lnTo>
                      <a:pt x="3376" y="1670"/>
                    </a:lnTo>
                    <a:lnTo>
                      <a:pt x="3374" y="1662"/>
                    </a:lnTo>
                    <a:lnTo>
                      <a:pt x="3374" y="1662"/>
                    </a:lnTo>
                    <a:lnTo>
                      <a:pt x="3374" y="1658"/>
                    </a:lnTo>
                    <a:lnTo>
                      <a:pt x="3372" y="1658"/>
                    </a:lnTo>
                    <a:lnTo>
                      <a:pt x="3368" y="1658"/>
                    </a:lnTo>
                    <a:lnTo>
                      <a:pt x="3360" y="1658"/>
                    </a:lnTo>
                    <a:lnTo>
                      <a:pt x="3348" y="1654"/>
                    </a:lnTo>
                    <a:lnTo>
                      <a:pt x="3348" y="1654"/>
                    </a:lnTo>
                    <a:lnTo>
                      <a:pt x="3346" y="1652"/>
                    </a:lnTo>
                    <a:lnTo>
                      <a:pt x="3344" y="1650"/>
                    </a:lnTo>
                    <a:lnTo>
                      <a:pt x="3344" y="1644"/>
                    </a:lnTo>
                    <a:lnTo>
                      <a:pt x="3346" y="1638"/>
                    </a:lnTo>
                    <a:lnTo>
                      <a:pt x="3344" y="1638"/>
                    </a:lnTo>
                    <a:lnTo>
                      <a:pt x="3340" y="1640"/>
                    </a:lnTo>
                    <a:lnTo>
                      <a:pt x="3340" y="1640"/>
                    </a:lnTo>
                    <a:lnTo>
                      <a:pt x="3330" y="1642"/>
                    </a:lnTo>
                    <a:lnTo>
                      <a:pt x="3314" y="1644"/>
                    </a:lnTo>
                    <a:lnTo>
                      <a:pt x="3300" y="1646"/>
                    </a:lnTo>
                    <a:lnTo>
                      <a:pt x="3294" y="1648"/>
                    </a:lnTo>
                    <a:lnTo>
                      <a:pt x="3288" y="1652"/>
                    </a:lnTo>
                    <a:lnTo>
                      <a:pt x="3288" y="1652"/>
                    </a:lnTo>
                    <a:lnTo>
                      <a:pt x="3280" y="1656"/>
                    </a:lnTo>
                    <a:lnTo>
                      <a:pt x="3274" y="1656"/>
                    </a:lnTo>
                    <a:lnTo>
                      <a:pt x="3268" y="1656"/>
                    </a:lnTo>
                    <a:lnTo>
                      <a:pt x="3258" y="1654"/>
                    </a:lnTo>
                    <a:lnTo>
                      <a:pt x="3258" y="1654"/>
                    </a:lnTo>
                    <a:lnTo>
                      <a:pt x="3252" y="1654"/>
                    </a:lnTo>
                    <a:lnTo>
                      <a:pt x="3250" y="1652"/>
                    </a:lnTo>
                    <a:lnTo>
                      <a:pt x="3244" y="1646"/>
                    </a:lnTo>
                    <a:lnTo>
                      <a:pt x="3238" y="1636"/>
                    </a:lnTo>
                    <a:lnTo>
                      <a:pt x="3234" y="1632"/>
                    </a:lnTo>
                    <a:lnTo>
                      <a:pt x="3228" y="1630"/>
                    </a:lnTo>
                    <a:lnTo>
                      <a:pt x="3228" y="1630"/>
                    </a:lnTo>
                    <a:lnTo>
                      <a:pt x="3222" y="1628"/>
                    </a:lnTo>
                    <a:lnTo>
                      <a:pt x="3218" y="1628"/>
                    </a:lnTo>
                    <a:lnTo>
                      <a:pt x="3210" y="1632"/>
                    </a:lnTo>
                    <a:lnTo>
                      <a:pt x="3208" y="1634"/>
                    </a:lnTo>
                    <a:lnTo>
                      <a:pt x="3206" y="1634"/>
                    </a:lnTo>
                    <a:lnTo>
                      <a:pt x="3206" y="1632"/>
                    </a:lnTo>
                    <a:lnTo>
                      <a:pt x="3204" y="1628"/>
                    </a:lnTo>
                    <a:lnTo>
                      <a:pt x="3204" y="1628"/>
                    </a:lnTo>
                    <a:lnTo>
                      <a:pt x="3202" y="1618"/>
                    </a:lnTo>
                    <a:lnTo>
                      <a:pt x="3200" y="1616"/>
                    </a:lnTo>
                    <a:lnTo>
                      <a:pt x="3198" y="1614"/>
                    </a:lnTo>
                    <a:lnTo>
                      <a:pt x="3190" y="1618"/>
                    </a:lnTo>
                    <a:lnTo>
                      <a:pt x="3180" y="1628"/>
                    </a:lnTo>
                    <a:lnTo>
                      <a:pt x="3180" y="1628"/>
                    </a:lnTo>
                    <a:lnTo>
                      <a:pt x="3176" y="1632"/>
                    </a:lnTo>
                    <a:lnTo>
                      <a:pt x="3170" y="1634"/>
                    </a:lnTo>
                    <a:lnTo>
                      <a:pt x="3164" y="1636"/>
                    </a:lnTo>
                    <a:lnTo>
                      <a:pt x="3156" y="1636"/>
                    </a:lnTo>
                    <a:lnTo>
                      <a:pt x="3150" y="1638"/>
                    </a:lnTo>
                    <a:lnTo>
                      <a:pt x="3144" y="1642"/>
                    </a:lnTo>
                    <a:lnTo>
                      <a:pt x="3144" y="1642"/>
                    </a:lnTo>
                    <a:lnTo>
                      <a:pt x="3134" y="1648"/>
                    </a:lnTo>
                    <a:lnTo>
                      <a:pt x="3126" y="1650"/>
                    </a:lnTo>
                    <a:lnTo>
                      <a:pt x="3118" y="1648"/>
                    </a:lnTo>
                    <a:lnTo>
                      <a:pt x="3110" y="1648"/>
                    </a:lnTo>
                    <a:lnTo>
                      <a:pt x="3110" y="1648"/>
                    </a:lnTo>
                    <a:lnTo>
                      <a:pt x="3106" y="1650"/>
                    </a:lnTo>
                    <a:lnTo>
                      <a:pt x="3104" y="1648"/>
                    </a:lnTo>
                    <a:lnTo>
                      <a:pt x="3108" y="1640"/>
                    </a:lnTo>
                    <a:lnTo>
                      <a:pt x="3112" y="1632"/>
                    </a:lnTo>
                    <a:lnTo>
                      <a:pt x="3110" y="1630"/>
                    </a:lnTo>
                    <a:lnTo>
                      <a:pt x="3108" y="1628"/>
                    </a:lnTo>
                    <a:lnTo>
                      <a:pt x="3108" y="1628"/>
                    </a:lnTo>
                    <a:lnTo>
                      <a:pt x="3104" y="1628"/>
                    </a:lnTo>
                    <a:lnTo>
                      <a:pt x="3098" y="1630"/>
                    </a:lnTo>
                    <a:lnTo>
                      <a:pt x="3086" y="1636"/>
                    </a:lnTo>
                    <a:lnTo>
                      <a:pt x="3074" y="1642"/>
                    </a:lnTo>
                    <a:lnTo>
                      <a:pt x="3068" y="1642"/>
                    </a:lnTo>
                    <a:lnTo>
                      <a:pt x="3062" y="1642"/>
                    </a:lnTo>
                    <a:lnTo>
                      <a:pt x="3062" y="1642"/>
                    </a:lnTo>
                    <a:lnTo>
                      <a:pt x="3058" y="1640"/>
                    </a:lnTo>
                    <a:lnTo>
                      <a:pt x="3058" y="1638"/>
                    </a:lnTo>
                    <a:lnTo>
                      <a:pt x="3060" y="1636"/>
                    </a:lnTo>
                    <a:lnTo>
                      <a:pt x="3064" y="1632"/>
                    </a:lnTo>
                    <a:lnTo>
                      <a:pt x="3076" y="1620"/>
                    </a:lnTo>
                    <a:lnTo>
                      <a:pt x="3092" y="1606"/>
                    </a:lnTo>
                    <a:lnTo>
                      <a:pt x="3092" y="1606"/>
                    </a:lnTo>
                    <a:close/>
                  </a:path>
                </a:pathLst>
              </a:custGeom>
              <a:solidFill>
                <a:srgbClr val="CE295E"/>
              </a:solidFill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3" name="Freeform 6087">
                <a:extLst>
                  <a:ext uri="{FF2B5EF4-FFF2-40B4-BE49-F238E27FC236}">
                    <a16:creationId xmlns:a16="http://schemas.microsoft.com/office/drawing/2014/main" id="{8A472967-6EEC-4AFD-9131-1A3F16874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860" y="823913"/>
                <a:ext cx="304800" cy="171450"/>
              </a:xfrm>
              <a:custGeom>
                <a:avLst/>
                <a:gdLst/>
                <a:ahLst/>
                <a:cxnLst>
                  <a:cxn ang="0">
                    <a:pos x="78" y="174"/>
                  </a:cxn>
                  <a:cxn ang="0">
                    <a:pos x="110" y="166"/>
                  </a:cxn>
                  <a:cxn ang="0">
                    <a:pos x="110" y="174"/>
                  </a:cxn>
                  <a:cxn ang="0">
                    <a:pos x="176" y="164"/>
                  </a:cxn>
                  <a:cxn ang="0">
                    <a:pos x="174" y="172"/>
                  </a:cxn>
                  <a:cxn ang="0">
                    <a:pos x="118" y="192"/>
                  </a:cxn>
                  <a:cxn ang="0">
                    <a:pos x="108" y="204"/>
                  </a:cxn>
                  <a:cxn ang="0">
                    <a:pos x="148" y="238"/>
                  </a:cxn>
                  <a:cxn ang="0">
                    <a:pos x="224" y="268"/>
                  </a:cxn>
                  <a:cxn ang="0">
                    <a:pos x="260" y="262"/>
                  </a:cxn>
                  <a:cxn ang="0">
                    <a:pos x="268" y="252"/>
                  </a:cxn>
                  <a:cxn ang="0">
                    <a:pos x="288" y="260"/>
                  </a:cxn>
                  <a:cxn ang="0">
                    <a:pos x="282" y="242"/>
                  </a:cxn>
                  <a:cxn ang="0">
                    <a:pos x="296" y="246"/>
                  </a:cxn>
                  <a:cxn ang="0">
                    <a:pos x="322" y="266"/>
                  </a:cxn>
                  <a:cxn ang="0">
                    <a:pos x="328" y="246"/>
                  </a:cxn>
                  <a:cxn ang="0">
                    <a:pos x="340" y="234"/>
                  </a:cxn>
                  <a:cxn ang="0">
                    <a:pos x="364" y="230"/>
                  </a:cxn>
                  <a:cxn ang="0">
                    <a:pos x="426" y="192"/>
                  </a:cxn>
                  <a:cxn ang="0">
                    <a:pos x="480" y="174"/>
                  </a:cxn>
                  <a:cxn ang="0">
                    <a:pos x="472" y="166"/>
                  </a:cxn>
                  <a:cxn ang="0">
                    <a:pos x="438" y="146"/>
                  </a:cxn>
                  <a:cxn ang="0">
                    <a:pos x="400" y="146"/>
                  </a:cxn>
                  <a:cxn ang="0">
                    <a:pos x="390" y="142"/>
                  </a:cxn>
                  <a:cxn ang="0">
                    <a:pos x="400" y="122"/>
                  </a:cxn>
                  <a:cxn ang="0">
                    <a:pos x="382" y="108"/>
                  </a:cxn>
                  <a:cxn ang="0">
                    <a:pos x="376" y="86"/>
                  </a:cxn>
                  <a:cxn ang="0">
                    <a:pos x="352" y="78"/>
                  </a:cxn>
                  <a:cxn ang="0">
                    <a:pos x="328" y="90"/>
                  </a:cxn>
                  <a:cxn ang="0">
                    <a:pos x="326" y="102"/>
                  </a:cxn>
                  <a:cxn ang="0">
                    <a:pos x="306" y="92"/>
                  </a:cxn>
                  <a:cxn ang="0">
                    <a:pos x="306" y="74"/>
                  </a:cxn>
                  <a:cxn ang="0">
                    <a:pos x="274" y="68"/>
                  </a:cxn>
                  <a:cxn ang="0">
                    <a:pos x="192" y="20"/>
                  </a:cxn>
                  <a:cxn ang="0">
                    <a:pos x="134" y="0"/>
                  </a:cxn>
                  <a:cxn ang="0">
                    <a:pos x="100" y="4"/>
                  </a:cxn>
                  <a:cxn ang="0">
                    <a:pos x="112" y="20"/>
                  </a:cxn>
                  <a:cxn ang="0">
                    <a:pos x="98" y="28"/>
                  </a:cxn>
                  <a:cxn ang="0">
                    <a:pos x="66" y="32"/>
                  </a:cxn>
                  <a:cxn ang="0">
                    <a:pos x="54" y="54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50" y="100"/>
                  </a:cxn>
                  <a:cxn ang="0">
                    <a:pos x="90" y="104"/>
                  </a:cxn>
                  <a:cxn ang="0">
                    <a:pos x="72" y="112"/>
                  </a:cxn>
                  <a:cxn ang="0">
                    <a:pos x="4" y="106"/>
                  </a:cxn>
                  <a:cxn ang="0">
                    <a:pos x="2" y="116"/>
                  </a:cxn>
                  <a:cxn ang="0">
                    <a:pos x="32" y="148"/>
                  </a:cxn>
                </a:cxnLst>
                <a:rect l="0" t="0" r="r" b="b"/>
                <a:pathLst>
                  <a:path w="480" h="270">
                    <a:moveTo>
                      <a:pt x="54" y="164"/>
                    </a:moveTo>
                    <a:lnTo>
                      <a:pt x="54" y="164"/>
                    </a:lnTo>
                    <a:lnTo>
                      <a:pt x="66" y="172"/>
                    </a:lnTo>
                    <a:lnTo>
                      <a:pt x="78" y="174"/>
                    </a:lnTo>
                    <a:lnTo>
                      <a:pt x="88" y="172"/>
                    </a:lnTo>
                    <a:lnTo>
                      <a:pt x="98" y="170"/>
                    </a:lnTo>
                    <a:lnTo>
                      <a:pt x="108" y="164"/>
                    </a:lnTo>
                    <a:lnTo>
                      <a:pt x="110" y="166"/>
                    </a:lnTo>
                    <a:lnTo>
                      <a:pt x="108" y="170"/>
                    </a:lnTo>
                    <a:lnTo>
                      <a:pt x="108" y="170"/>
                    </a:lnTo>
                    <a:lnTo>
                      <a:pt x="108" y="172"/>
                    </a:lnTo>
                    <a:lnTo>
                      <a:pt x="110" y="174"/>
                    </a:lnTo>
                    <a:lnTo>
                      <a:pt x="116" y="176"/>
                    </a:lnTo>
                    <a:lnTo>
                      <a:pt x="142" y="168"/>
                    </a:lnTo>
                    <a:lnTo>
                      <a:pt x="168" y="162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58" y="180"/>
                    </a:lnTo>
                    <a:lnTo>
                      <a:pt x="130" y="188"/>
                    </a:lnTo>
                    <a:lnTo>
                      <a:pt x="118" y="192"/>
                    </a:lnTo>
                    <a:lnTo>
                      <a:pt x="108" y="196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8" y="204"/>
                    </a:lnTo>
                    <a:lnTo>
                      <a:pt x="108" y="204"/>
                    </a:lnTo>
                    <a:lnTo>
                      <a:pt x="122" y="214"/>
                    </a:lnTo>
                    <a:lnTo>
                      <a:pt x="134" y="226"/>
                    </a:lnTo>
                    <a:lnTo>
                      <a:pt x="148" y="238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94" y="260"/>
                    </a:lnTo>
                    <a:lnTo>
                      <a:pt x="224" y="268"/>
                    </a:lnTo>
                    <a:lnTo>
                      <a:pt x="238" y="270"/>
                    </a:lnTo>
                    <a:lnTo>
                      <a:pt x="250" y="270"/>
                    </a:lnTo>
                    <a:lnTo>
                      <a:pt x="258" y="266"/>
                    </a:lnTo>
                    <a:lnTo>
                      <a:pt x="260" y="262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2" y="254"/>
                    </a:lnTo>
                    <a:lnTo>
                      <a:pt x="268" y="252"/>
                    </a:lnTo>
                    <a:lnTo>
                      <a:pt x="274" y="254"/>
                    </a:lnTo>
                    <a:lnTo>
                      <a:pt x="280" y="256"/>
                    </a:lnTo>
                    <a:lnTo>
                      <a:pt x="284" y="258"/>
                    </a:lnTo>
                    <a:lnTo>
                      <a:pt x="288" y="260"/>
                    </a:lnTo>
                    <a:lnTo>
                      <a:pt x="290" y="258"/>
                    </a:lnTo>
                    <a:lnTo>
                      <a:pt x="286" y="250"/>
                    </a:lnTo>
                    <a:lnTo>
                      <a:pt x="286" y="250"/>
                    </a:lnTo>
                    <a:lnTo>
                      <a:pt x="282" y="242"/>
                    </a:lnTo>
                    <a:lnTo>
                      <a:pt x="280" y="236"/>
                    </a:lnTo>
                    <a:lnTo>
                      <a:pt x="282" y="236"/>
                    </a:lnTo>
                    <a:lnTo>
                      <a:pt x="284" y="236"/>
                    </a:lnTo>
                    <a:lnTo>
                      <a:pt x="296" y="246"/>
                    </a:lnTo>
                    <a:lnTo>
                      <a:pt x="314" y="260"/>
                    </a:lnTo>
                    <a:lnTo>
                      <a:pt x="314" y="260"/>
                    </a:lnTo>
                    <a:lnTo>
                      <a:pt x="320" y="266"/>
                    </a:lnTo>
                    <a:lnTo>
                      <a:pt x="322" y="266"/>
                    </a:lnTo>
                    <a:lnTo>
                      <a:pt x="324" y="266"/>
                    </a:lnTo>
                    <a:lnTo>
                      <a:pt x="326" y="262"/>
                    </a:lnTo>
                    <a:lnTo>
                      <a:pt x="328" y="254"/>
                    </a:lnTo>
                    <a:lnTo>
                      <a:pt x="328" y="246"/>
                    </a:lnTo>
                    <a:lnTo>
                      <a:pt x="330" y="240"/>
                    </a:lnTo>
                    <a:lnTo>
                      <a:pt x="334" y="236"/>
                    </a:lnTo>
                    <a:lnTo>
                      <a:pt x="336" y="234"/>
                    </a:lnTo>
                    <a:lnTo>
                      <a:pt x="340" y="234"/>
                    </a:lnTo>
                    <a:lnTo>
                      <a:pt x="340" y="234"/>
                    </a:lnTo>
                    <a:lnTo>
                      <a:pt x="348" y="236"/>
                    </a:lnTo>
                    <a:lnTo>
                      <a:pt x="356" y="234"/>
                    </a:lnTo>
                    <a:lnTo>
                      <a:pt x="364" y="230"/>
                    </a:lnTo>
                    <a:lnTo>
                      <a:pt x="374" y="226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40" y="186"/>
                    </a:lnTo>
                    <a:lnTo>
                      <a:pt x="466" y="180"/>
                    </a:lnTo>
                    <a:lnTo>
                      <a:pt x="474" y="176"/>
                    </a:lnTo>
                    <a:lnTo>
                      <a:pt x="480" y="174"/>
                    </a:lnTo>
                    <a:lnTo>
                      <a:pt x="480" y="172"/>
                    </a:lnTo>
                    <a:lnTo>
                      <a:pt x="480" y="170"/>
                    </a:lnTo>
                    <a:lnTo>
                      <a:pt x="472" y="166"/>
                    </a:lnTo>
                    <a:lnTo>
                      <a:pt x="472" y="166"/>
                    </a:lnTo>
                    <a:lnTo>
                      <a:pt x="464" y="162"/>
                    </a:lnTo>
                    <a:lnTo>
                      <a:pt x="456" y="156"/>
                    </a:lnTo>
                    <a:lnTo>
                      <a:pt x="444" y="148"/>
                    </a:lnTo>
                    <a:lnTo>
                      <a:pt x="438" y="146"/>
                    </a:lnTo>
                    <a:lnTo>
                      <a:pt x="430" y="144"/>
                    </a:lnTo>
                    <a:lnTo>
                      <a:pt x="418" y="144"/>
                    </a:lnTo>
                    <a:lnTo>
                      <a:pt x="400" y="146"/>
                    </a:lnTo>
                    <a:lnTo>
                      <a:pt x="400" y="146"/>
                    </a:lnTo>
                    <a:lnTo>
                      <a:pt x="388" y="148"/>
                    </a:lnTo>
                    <a:lnTo>
                      <a:pt x="384" y="148"/>
                    </a:lnTo>
                    <a:lnTo>
                      <a:pt x="386" y="146"/>
                    </a:lnTo>
                    <a:lnTo>
                      <a:pt x="390" y="142"/>
                    </a:lnTo>
                    <a:lnTo>
                      <a:pt x="396" y="136"/>
                    </a:lnTo>
                    <a:lnTo>
                      <a:pt x="400" y="130"/>
                    </a:lnTo>
                    <a:lnTo>
                      <a:pt x="400" y="126"/>
                    </a:lnTo>
                    <a:lnTo>
                      <a:pt x="400" y="122"/>
                    </a:lnTo>
                    <a:lnTo>
                      <a:pt x="396" y="118"/>
                    </a:lnTo>
                    <a:lnTo>
                      <a:pt x="392" y="114"/>
                    </a:lnTo>
                    <a:lnTo>
                      <a:pt x="392" y="114"/>
                    </a:lnTo>
                    <a:lnTo>
                      <a:pt x="382" y="108"/>
                    </a:lnTo>
                    <a:lnTo>
                      <a:pt x="376" y="100"/>
                    </a:lnTo>
                    <a:lnTo>
                      <a:pt x="376" y="96"/>
                    </a:lnTo>
                    <a:lnTo>
                      <a:pt x="376" y="90"/>
                    </a:lnTo>
                    <a:lnTo>
                      <a:pt x="376" y="86"/>
                    </a:lnTo>
                    <a:lnTo>
                      <a:pt x="372" y="82"/>
                    </a:lnTo>
                    <a:lnTo>
                      <a:pt x="366" y="80"/>
                    </a:lnTo>
                    <a:lnTo>
                      <a:pt x="352" y="78"/>
                    </a:lnTo>
                    <a:lnTo>
                      <a:pt x="352" y="78"/>
                    </a:lnTo>
                    <a:lnTo>
                      <a:pt x="338" y="76"/>
                    </a:lnTo>
                    <a:lnTo>
                      <a:pt x="330" y="80"/>
                    </a:lnTo>
                    <a:lnTo>
                      <a:pt x="328" y="84"/>
                    </a:lnTo>
                    <a:lnTo>
                      <a:pt x="328" y="90"/>
                    </a:lnTo>
                    <a:lnTo>
                      <a:pt x="330" y="96"/>
                    </a:lnTo>
                    <a:lnTo>
                      <a:pt x="328" y="100"/>
                    </a:lnTo>
                    <a:lnTo>
                      <a:pt x="328" y="102"/>
                    </a:lnTo>
                    <a:lnTo>
                      <a:pt x="326" y="102"/>
                    </a:lnTo>
                    <a:lnTo>
                      <a:pt x="318" y="100"/>
                    </a:lnTo>
                    <a:lnTo>
                      <a:pt x="318" y="100"/>
                    </a:lnTo>
                    <a:lnTo>
                      <a:pt x="310" y="96"/>
                    </a:lnTo>
                    <a:lnTo>
                      <a:pt x="306" y="92"/>
                    </a:lnTo>
                    <a:lnTo>
                      <a:pt x="306" y="86"/>
                    </a:lnTo>
                    <a:lnTo>
                      <a:pt x="308" y="82"/>
                    </a:lnTo>
                    <a:lnTo>
                      <a:pt x="308" y="78"/>
                    </a:lnTo>
                    <a:lnTo>
                      <a:pt x="306" y="74"/>
                    </a:lnTo>
                    <a:lnTo>
                      <a:pt x="298" y="70"/>
                    </a:lnTo>
                    <a:lnTo>
                      <a:pt x="284" y="70"/>
                    </a:lnTo>
                    <a:lnTo>
                      <a:pt x="284" y="70"/>
                    </a:lnTo>
                    <a:lnTo>
                      <a:pt x="274" y="68"/>
                    </a:lnTo>
                    <a:lnTo>
                      <a:pt x="266" y="66"/>
                    </a:lnTo>
                    <a:lnTo>
                      <a:pt x="248" y="56"/>
                    </a:lnTo>
                    <a:lnTo>
                      <a:pt x="212" y="32"/>
                    </a:lnTo>
                    <a:lnTo>
                      <a:pt x="192" y="20"/>
                    </a:lnTo>
                    <a:lnTo>
                      <a:pt x="170" y="10"/>
                    </a:lnTo>
                    <a:lnTo>
                      <a:pt x="158" y="6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08" y="14"/>
                    </a:lnTo>
                    <a:lnTo>
                      <a:pt x="112" y="20"/>
                    </a:lnTo>
                    <a:lnTo>
                      <a:pt x="114" y="24"/>
                    </a:lnTo>
                    <a:lnTo>
                      <a:pt x="114" y="24"/>
                    </a:lnTo>
                    <a:lnTo>
                      <a:pt x="110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82" y="28"/>
                    </a:lnTo>
                    <a:lnTo>
                      <a:pt x="70" y="30"/>
                    </a:lnTo>
                    <a:lnTo>
                      <a:pt x="66" y="32"/>
                    </a:lnTo>
                    <a:lnTo>
                      <a:pt x="64" y="3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42" y="64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20" y="94"/>
                    </a:lnTo>
                    <a:lnTo>
                      <a:pt x="24" y="96"/>
                    </a:lnTo>
                    <a:lnTo>
                      <a:pt x="34" y="98"/>
                    </a:lnTo>
                    <a:lnTo>
                      <a:pt x="50" y="100"/>
                    </a:lnTo>
                    <a:lnTo>
                      <a:pt x="78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6" y="108"/>
                    </a:lnTo>
                    <a:lnTo>
                      <a:pt x="82" y="110"/>
                    </a:lnTo>
                    <a:lnTo>
                      <a:pt x="72" y="112"/>
                    </a:lnTo>
                    <a:lnTo>
                      <a:pt x="58" y="112"/>
                    </a:lnTo>
                    <a:lnTo>
                      <a:pt x="42" y="110"/>
                    </a:lnTo>
                    <a:lnTo>
                      <a:pt x="1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6"/>
                    </a:lnTo>
                    <a:lnTo>
                      <a:pt x="4" y="122"/>
                    </a:lnTo>
                    <a:lnTo>
                      <a:pt x="8" y="128"/>
                    </a:lnTo>
                    <a:lnTo>
                      <a:pt x="14" y="134"/>
                    </a:lnTo>
                    <a:lnTo>
                      <a:pt x="32" y="148"/>
                    </a:lnTo>
                    <a:lnTo>
                      <a:pt x="54" y="164"/>
                    </a:lnTo>
                    <a:lnTo>
                      <a:pt x="54" y="1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4" name="Freeform 6088">
                <a:extLst>
                  <a:ext uri="{FF2B5EF4-FFF2-40B4-BE49-F238E27FC236}">
                    <a16:creationId xmlns:a16="http://schemas.microsoft.com/office/drawing/2014/main" id="{2ABE98AD-A4F7-435A-B946-E75DA0DD9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580" y="1206183"/>
                <a:ext cx="734060" cy="539750"/>
              </a:xfrm>
              <a:custGeom>
                <a:avLst/>
                <a:gdLst/>
                <a:ahLst/>
                <a:cxnLst>
                  <a:cxn ang="0">
                    <a:pos x="1088" y="504"/>
                  </a:cxn>
                  <a:cxn ang="0">
                    <a:pos x="1060" y="480"/>
                  </a:cxn>
                  <a:cxn ang="0">
                    <a:pos x="960" y="426"/>
                  </a:cxn>
                  <a:cxn ang="0">
                    <a:pos x="890" y="396"/>
                  </a:cxn>
                  <a:cxn ang="0">
                    <a:pos x="890" y="348"/>
                  </a:cxn>
                  <a:cxn ang="0">
                    <a:pos x="926" y="328"/>
                  </a:cxn>
                  <a:cxn ang="0">
                    <a:pos x="926" y="298"/>
                  </a:cxn>
                  <a:cxn ang="0">
                    <a:pos x="846" y="276"/>
                  </a:cxn>
                  <a:cxn ang="0">
                    <a:pos x="844" y="232"/>
                  </a:cxn>
                  <a:cxn ang="0">
                    <a:pos x="782" y="204"/>
                  </a:cxn>
                  <a:cxn ang="0">
                    <a:pos x="706" y="174"/>
                  </a:cxn>
                  <a:cxn ang="0">
                    <a:pos x="642" y="134"/>
                  </a:cxn>
                  <a:cxn ang="0">
                    <a:pos x="560" y="98"/>
                  </a:cxn>
                  <a:cxn ang="0">
                    <a:pos x="462" y="112"/>
                  </a:cxn>
                  <a:cxn ang="0">
                    <a:pos x="404" y="110"/>
                  </a:cxn>
                  <a:cxn ang="0">
                    <a:pos x="388" y="90"/>
                  </a:cxn>
                  <a:cxn ang="0">
                    <a:pos x="352" y="18"/>
                  </a:cxn>
                  <a:cxn ang="0">
                    <a:pos x="200" y="50"/>
                  </a:cxn>
                  <a:cxn ang="0">
                    <a:pos x="174" y="84"/>
                  </a:cxn>
                  <a:cxn ang="0">
                    <a:pos x="168" y="138"/>
                  </a:cxn>
                  <a:cxn ang="0">
                    <a:pos x="222" y="180"/>
                  </a:cxn>
                  <a:cxn ang="0">
                    <a:pos x="150" y="122"/>
                  </a:cxn>
                  <a:cxn ang="0">
                    <a:pos x="188" y="26"/>
                  </a:cxn>
                  <a:cxn ang="0">
                    <a:pos x="116" y="8"/>
                  </a:cxn>
                  <a:cxn ang="0">
                    <a:pos x="18" y="90"/>
                  </a:cxn>
                  <a:cxn ang="0">
                    <a:pos x="58" y="196"/>
                  </a:cxn>
                  <a:cxn ang="0">
                    <a:pos x="40" y="216"/>
                  </a:cxn>
                  <a:cxn ang="0">
                    <a:pos x="118" y="270"/>
                  </a:cxn>
                  <a:cxn ang="0">
                    <a:pos x="234" y="288"/>
                  </a:cxn>
                  <a:cxn ang="0">
                    <a:pos x="336" y="290"/>
                  </a:cxn>
                  <a:cxn ang="0">
                    <a:pos x="358" y="284"/>
                  </a:cxn>
                  <a:cxn ang="0">
                    <a:pos x="462" y="284"/>
                  </a:cxn>
                  <a:cxn ang="0">
                    <a:pos x="498" y="274"/>
                  </a:cxn>
                  <a:cxn ang="0">
                    <a:pos x="580" y="338"/>
                  </a:cxn>
                  <a:cxn ang="0">
                    <a:pos x="538" y="376"/>
                  </a:cxn>
                  <a:cxn ang="0">
                    <a:pos x="654" y="402"/>
                  </a:cxn>
                  <a:cxn ang="0">
                    <a:pos x="712" y="474"/>
                  </a:cxn>
                  <a:cxn ang="0">
                    <a:pos x="640" y="558"/>
                  </a:cxn>
                  <a:cxn ang="0">
                    <a:pos x="628" y="608"/>
                  </a:cxn>
                  <a:cxn ang="0">
                    <a:pos x="510" y="624"/>
                  </a:cxn>
                  <a:cxn ang="0">
                    <a:pos x="514" y="688"/>
                  </a:cxn>
                  <a:cxn ang="0">
                    <a:pos x="616" y="688"/>
                  </a:cxn>
                  <a:cxn ang="0">
                    <a:pos x="656" y="674"/>
                  </a:cxn>
                  <a:cxn ang="0">
                    <a:pos x="736" y="724"/>
                  </a:cxn>
                  <a:cxn ang="0">
                    <a:pos x="732" y="752"/>
                  </a:cxn>
                  <a:cxn ang="0">
                    <a:pos x="854" y="818"/>
                  </a:cxn>
                  <a:cxn ang="0">
                    <a:pos x="966" y="822"/>
                  </a:cxn>
                  <a:cxn ang="0">
                    <a:pos x="854" y="724"/>
                  </a:cxn>
                  <a:cxn ang="0">
                    <a:pos x="908" y="744"/>
                  </a:cxn>
                  <a:cxn ang="0">
                    <a:pos x="1012" y="814"/>
                  </a:cxn>
                  <a:cxn ang="0">
                    <a:pos x="1018" y="766"/>
                  </a:cxn>
                  <a:cxn ang="0">
                    <a:pos x="1022" y="724"/>
                  </a:cxn>
                  <a:cxn ang="0">
                    <a:pos x="1000" y="694"/>
                  </a:cxn>
                  <a:cxn ang="0">
                    <a:pos x="942" y="632"/>
                  </a:cxn>
                  <a:cxn ang="0">
                    <a:pos x="890" y="586"/>
                  </a:cxn>
                  <a:cxn ang="0">
                    <a:pos x="902" y="544"/>
                  </a:cxn>
                  <a:cxn ang="0">
                    <a:pos x="942" y="544"/>
                  </a:cxn>
                  <a:cxn ang="0">
                    <a:pos x="990" y="580"/>
                  </a:cxn>
                  <a:cxn ang="0">
                    <a:pos x="1070" y="648"/>
                  </a:cxn>
                  <a:cxn ang="0">
                    <a:pos x="1102" y="596"/>
                  </a:cxn>
                  <a:cxn ang="0">
                    <a:pos x="1128" y="568"/>
                  </a:cxn>
                  <a:cxn ang="0">
                    <a:pos x="1148" y="514"/>
                  </a:cxn>
                </a:cxnLst>
                <a:rect l="0" t="0" r="r" b="b"/>
                <a:pathLst>
                  <a:path w="1156" h="850">
                    <a:moveTo>
                      <a:pt x="1148" y="514"/>
                    </a:moveTo>
                    <a:lnTo>
                      <a:pt x="1148" y="514"/>
                    </a:lnTo>
                    <a:lnTo>
                      <a:pt x="1144" y="506"/>
                    </a:lnTo>
                    <a:lnTo>
                      <a:pt x="1138" y="502"/>
                    </a:lnTo>
                    <a:lnTo>
                      <a:pt x="1134" y="500"/>
                    </a:lnTo>
                    <a:lnTo>
                      <a:pt x="1128" y="498"/>
                    </a:lnTo>
                    <a:lnTo>
                      <a:pt x="1116" y="498"/>
                    </a:lnTo>
                    <a:lnTo>
                      <a:pt x="1106" y="502"/>
                    </a:lnTo>
                    <a:lnTo>
                      <a:pt x="1096" y="506"/>
                    </a:lnTo>
                    <a:lnTo>
                      <a:pt x="1090" y="508"/>
                    </a:lnTo>
                    <a:lnTo>
                      <a:pt x="1088" y="506"/>
                    </a:lnTo>
                    <a:lnTo>
                      <a:pt x="1088" y="504"/>
                    </a:lnTo>
                    <a:lnTo>
                      <a:pt x="1090" y="496"/>
                    </a:lnTo>
                    <a:lnTo>
                      <a:pt x="1090" y="496"/>
                    </a:lnTo>
                    <a:lnTo>
                      <a:pt x="1092" y="486"/>
                    </a:lnTo>
                    <a:lnTo>
                      <a:pt x="1090" y="482"/>
                    </a:lnTo>
                    <a:lnTo>
                      <a:pt x="1088" y="480"/>
                    </a:lnTo>
                    <a:lnTo>
                      <a:pt x="1084" y="480"/>
                    </a:lnTo>
                    <a:lnTo>
                      <a:pt x="1076" y="482"/>
                    </a:lnTo>
                    <a:lnTo>
                      <a:pt x="1062" y="486"/>
                    </a:lnTo>
                    <a:lnTo>
                      <a:pt x="1060" y="486"/>
                    </a:lnTo>
                    <a:lnTo>
                      <a:pt x="1058" y="486"/>
                    </a:lnTo>
                    <a:lnTo>
                      <a:pt x="1060" y="480"/>
                    </a:lnTo>
                    <a:lnTo>
                      <a:pt x="1060" y="480"/>
                    </a:lnTo>
                    <a:lnTo>
                      <a:pt x="1062" y="472"/>
                    </a:lnTo>
                    <a:lnTo>
                      <a:pt x="1062" y="466"/>
                    </a:lnTo>
                    <a:lnTo>
                      <a:pt x="1060" y="462"/>
                    </a:lnTo>
                    <a:lnTo>
                      <a:pt x="1056" y="458"/>
                    </a:lnTo>
                    <a:lnTo>
                      <a:pt x="1042" y="450"/>
                    </a:lnTo>
                    <a:lnTo>
                      <a:pt x="1022" y="436"/>
                    </a:lnTo>
                    <a:lnTo>
                      <a:pt x="1022" y="436"/>
                    </a:lnTo>
                    <a:lnTo>
                      <a:pt x="1010" y="430"/>
                    </a:lnTo>
                    <a:lnTo>
                      <a:pt x="996" y="428"/>
                    </a:lnTo>
                    <a:lnTo>
                      <a:pt x="984" y="426"/>
                    </a:lnTo>
                    <a:lnTo>
                      <a:pt x="970" y="426"/>
                    </a:lnTo>
                    <a:lnTo>
                      <a:pt x="960" y="426"/>
                    </a:lnTo>
                    <a:lnTo>
                      <a:pt x="950" y="424"/>
                    </a:lnTo>
                    <a:lnTo>
                      <a:pt x="944" y="420"/>
                    </a:lnTo>
                    <a:lnTo>
                      <a:pt x="942" y="416"/>
                    </a:lnTo>
                    <a:lnTo>
                      <a:pt x="940" y="410"/>
                    </a:lnTo>
                    <a:lnTo>
                      <a:pt x="940" y="410"/>
                    </a:lnTo>
                    <a:lnTo>
                      <a:pt x="938" y="406"/>
                    </a:lnTo>
                    <a:lnTo>
                      <a:pt x="936" y="402"/>
                    </a:lnTo>
                    <a:lnTo>
                      <a:pt x="930" y="400"/>
                    </a:lnTo>
                    <a:lnTo>
                      <a:pt x="926" y="398"/>
                    </a:lnTo>
                    <a:lnTo>
                      <a:pt x="914" y="396"/>
                    </a:lnTo>
                    <a:lnTo>
                      <a:pt x="900" y="396"/>
                    </a:lnTo>
                    <a:lnTo>
                      <a:pt x="890" y="396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2" y="392"/>
                    </a:lnTo>
                    <a:lnTo>
                      <a:pt x="890" y="384"/>
                    </a:lnTo>
                    <a:lnTo>
                      <a:pt x="890" y="384"/>
                    </a:lnTo>
                    <a:lnTo>
                      <a:pt x="896" y="380"/>
                    </a:lnTo>
                    <a:lnTo>
                      <a:pt x="900" y="376"/>
                    </a:lnTo>
                    <a:lnTo>
                      <a:pt x="902" y="372"/>
                    </a:lnTo>
                    <a:lnTo>
                      <a:pt x="902" y="366"/>
                    </a:lnTo>
                    <a:lnTo>
                      <a:pt x="900" y="360"/>
                    </a:lnTo>
                    <a:lnTo>
                      <a:pt x="894" y="352"/>
                    </a:lnTo>
                    <a:lnTo>
                      <a:pt x="890" y="348"/>
                    </a:lnTo>
                    <a:lnTo>
                      <a:pt x="888" y="344"/>
                    </a:lnTo>
                    <a:lnTo>
                      <a:pt x="890" y="344"/>
                    </a:lnTo>
                    <a:lnTo>
                      <a:pt x="902" y="346"/>
                    </a:lnTo>
                    <a:lnTo>
                      <a:pt x="902" y="346"/>
                    </a:lnTo>
                    <a:lnTo>
                      <a:pt x="916" y="348"/>
                    </a:lnTo>
                    <a:lnTo>
                      <a:pt x="928" y="348"/>
                    </a:lnTo>
                    <a:lnTo>
                      <a:pt x="938" y="346"/>
                    </a:lnTo>
                    <a:lnTo>
                      <a:pt x="942" y="342"/>
                    </a:lnTo>
                    <a:lnTo>
                      <a:pt x="944" y="340"/>
                    </a:lnTo>
                    <a:lnTo>
                      <a:pt x="944" y="338"/>
                    </a:lnTo>
                    <a:lnTo>
                      <a:pt x="938" y="334"/>
                    </a:lnTo>
                    <a:lnTo>
                      <a:pt x="926" y="328"/>
                    </a:lnTo>
                    <a:lnTo>
                      <a:pt x="906" y="324"/>
                    </a:lnTo>
                    <a:lnTo>
                      <a:pt x="906" y="324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80" y="316"/>
                    </a:lnTo>
                    <a:lnTo>
                      <a:pt x="900" y="312"/>
                    </a:lnTo>
                    <a:lnTo>
                      <a:pt x="910" y="308"/>
                    </a:lnTo>
                    <a:lnTo>
                      <a:pt x="920" y="304"/>
                    </a:lnTo>
                    <a:lnTo>
                      <a:pt x="920" y="304"/>
                    </a:lnTo>
                    <a:lnTo>
                      <a:pt x="924" y="300"/>
                    </a:lnTo>
                    <a:lnTo>
                      <a:pt x="926" y="298"/>
                    </a:lnTo>
                    <a:lnTo>
                      <a:pt x="926" y="294"/>
                    </a:lnTo>
                    <a:lnTo>
                      <a:pt x="926" y="290"/>
                    </a:lnTo>
                    <a:lnTo>
                      <a:pt x="922" y="284"/>
                    </a:lnTo>
                    <a:lnTo>
                      <a:pt x="914" y="278"/>
                    </a:lnTo>
                    <a:lnTo>
                      <a:pt x="904" y="272"/>
                    </a:lnTo>
                    <a:lnTo>
                      <a:pt x="894" y="268"/>
                    </a:lnTo>
                    <a:lnTo>
                      <a:pt x="88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72" y="274"/>
                    </a:lnTo>
                    <a:lnTo>
                      <a:pt x="864" y="276"/>
                    </a:lnTo>
                    <a:lnTo>
                      <a:pt x="846" y="276"/>
                    </a:lnTo>
                    <a:lnTo>
                      <a:pt x="842" y="276"/>
                    </a:lnTo>
                    <a:lnTo>
                      <a:pt x="840" y="274"/>
                    </a:lnTo>
                    <a:lnTo>
                      <a:pt x="842" y="270"/>
                    </a:lnTo>
                    <a:lnTo>
                      <a:pt x="852" y="266"/>
                    </a:lnTo>
                    <a:lnTo>
                      <a:pt x="852" y="266"/>
                    </a:lnTo>
                    <a:lnTo>
                      <a:pt x="874" y="258"/>
                    </a:lnTo>
                    <a:lnTo>
                      <a:pt x="880" y="254"/>
                    </a:lnTo>
                    <a:lnTo>
                      <a:pt x="882" y="252"/>
                    </a:lnTo>
                    <a:lnTo>
                      <a:pt x="878" y="248"/>
                    </a:lnTo>
                    <a:lnTo>
                      <a:pt x="872" y="244"/>
                    </a:lnTo>
                    <a:lnTo>
                      <a:pt x="844" y="232"/>
                    </a:lnTo>
                    <a:lnTo>
                      <a:pt x="844" y="232"/>
                    </a:lnTo>
                    <a:lnTo>
                      <a:pt x="826" y="226"/>
                    </a:lnTo>
                    <a:lnTo>
                      <a:pt x="812" y="226"/>
                    </a:lnTo>
                    <a:lnTo>
                      <a:pt x="802" y="228"/>
                    </a:lnTo>
                    <a:lnTo>
                      <a:pt x="794" y="230"/>
                    </a:lnTo>
                    <a:lnTo>
                      <a:pt x="790" y="232"/>
                    </a:lnTo>
                    <a:lnTo>
                      <a:pt x="786" y="232"/>
                    </a:lnTo>
                    <a:lnTo>
                      <a:pt x="786" y="230"/>
                    </a:lnTo>
                    <a:lnTo>
                      <a:pt x="786" y="220"/>
                    </a:lnTo>
                    <a:lnTo>
                      <a:pt x="786" y="220"/>
                    </a:lnTo>
                    <a:lnTo>
                      <a:pt x="788" y="210"/>
                    </a:lnTo>
                    <a:lnTo>
                      <a:pt x="784" y="206"/>
                    </a:lnTo>
                    <a:lnTo>
                      <a:pt x="782" y="204"/>
                    </a:lnTo>
                    <a:lnTo>
                      <a:pt x="776" y="204"/>
                    </a:lnTo>
                    <a:lnTo>
                      <a:pt x="768" y="206"/>
                    </a:lnTo>
                    <a:lnTo>
                      <a:pt x="764" y="204"/>
                    </a:lnTo>
                    <a:lnTo>
                      <a:pt x="762" y="198"/>
                    </a:lnTo>
                    <a:lnTo>
                      <a:pt x="762" y="198"/>
                    </a:lnTo>
                    <a:lnTo>
                      <a:pt x="762" y="190"/>
                    </a:lnTo>
                    <a:lnTo>
                      <a:pt x="756" y="184"/>
                    </a:lnTo>
                    <a:lnTo>
                      <a:pt x="748" y="178"/>
                    </a:lnTo>
                    <a:lnTo>
                      <a:pt x="738" y="174"/>
                    </a:lnTo>
                    <a:lnTo>
                      <a:pt x="728" y="170"/>
                    </a:lnTo>
                    <a:lnTo>
                      <a:pt x="716" y="170"/>
                    </a:lnTo>
                    <a:lnTo>
                      <a:pt x="706" y="174"/>
                    </a:lnTo>
                    <a:lnTo>
                      <a:pt x="696" y="182"/>
                    </a:lnTo>
                    <a:lnTo>
                      <a:pt x="696" y="182"/>
                    </a:lnTo>
                    <a:lnTo>
                      <a:pt x="686" y="190"/>
                    </a:lnTo>
                    <a:lnTo>
                      <a:pt x="680" y="192"/>
                    </a:lnTo>
                    <a:lnTo>
                      <a:pt x="674" y="190"/>
                    </a:lnTo>
                    <a:lnTo>
                      <a:pt x="670" y="186"/>
                    </a:lnTo>
                    <a:lnTo>
                      <a:pt x="666" y="178"/>
                    </a:lnTo>
                    <a:lnTo>
                      <a:pt x="662" y="168"/>
                    </a:lnTo>
                    <a:lnTo>
                      <a:pt x="652" y="148"/>
                    </a:lnTo>
                    <a:lnTo>
                      <a:pt x="652" y="148"/>
                    </a:lnTo>
                    <a:lnTo>
                      <a:pt x="648" y="138"/>
                    </a:lnTo>
                    <a:lnTo>
                      <a:pt x="642" y="134"/>
                    </a:lnTo>
                    <a:lnTo>
                      <a:pt x="638" y="134"/>
                    </a:lnTo>
                    <a:lnTo>
                      <a:pt x="632" y="134"/>
                    </a:lnTo>
                    <a:lnTo>
                      <a:pt x="628" y="134"/>
                    </a:lnTo>
                    <a:lnTo>
                      <a:pt x="622" y="134"/>
                    </a:lnTo>
                    <a:lnTo>
                      <a:pt x="616" y="128"/>
                    </a:lnTo>
                    <a:lnTo>
                      <a:pt x="610" y="120"/>
                    </a:lnTo>
                    <a:lnTo>
                      <a:pt x="610" y="120"/>
                    </a:lnTo>
                    <a:lnTo>
                      <a:pt x="602" y="110"/>
                    </a:lnTo>
                    <a:lnTo>
                      <a:pt x="594" y="104"/>
                    </a:lnTo>
                    <a:lnTo>
                      <a:pt x="586" y="100"/>
                    </a:lnTo>
                    <a:lnTo>
                      <a:pt x="578" y="100"/>
                    </a:lnTo>
                    <a:lnTo>
                      <a:pt x="560" y="98"/>
                    </a:lnTo>
                    <a:lnTo>
                      <a:pt x="552" y="98"/>
                    </a:lnTo>
                    <a:lnTo>
                      <a:pt x="546" y="94"/>
                    </a:lnTo>
                    <a:lnTo>
                      <a:pt x="546" y="94"/>
                    </a:lnTo>
                    <a:lnTo>
                      <a:pt x="528" y="88"/>
                    </a:lnTo>
                    <a:lnTo>
                      <a:pt x="518" y="84"/>
                    </a:lnTo>
                    <a:lnTo>
                      <a:pt x="506" y="82"/>
                    </a:lnTo>
                    <a:lnTo>
                      <a:pt x="494" y="84"/>
                    </a:lnTo>
                    <a:lnTo>
                      <a:pt x="484" y="88"/>
                    </a:lnTo>
                    <a:lnTo>
                      <a:pt x="474" y="94"/>
                    </a:lnTo>
                    <a:lnTo>
                      <a:pt x="466" y="106"/>
                    </a:lnTo>
                    <a:lnTo>
                      <a:pt x="466" y="106"/>
                    </a:lnTo>
                    <a:lnTo>
                      <a:pt x="462" y="112"/>
                    </a:lnTo>
                    <a:lnTo>
                      <a:pt x="460" y="116"/>
                    </a:lnTo>
                    <a:lnTo>
                      <a:pt x="456" y="118"/>
                    </a:lnTo>
                    <a:lnTo>
                      <a:pt x="452" y="118"/>
                    </a:lnTo>
                    <a:lnTo>
                      <a:pt x="444" y="116"/>
                    </a:lnTo>
                    <a:lnTo>
                      <a:pt x="436" y="112"/>
                    </a:lnTo>
                    <a:lnTo>
                      <a:pt x="428" y="106"/>
                    </a:lnTo>
                    <a:lnTo>
                      <a:pt x="420" y="104"/>
                    </a:lnTo>
                    <a:lnTo>
                      <a:pt x="416" y="102"/>
                    </a:lnTo>
                    <a:lnTo>
                      <a:pt x="412" y="104"/>
                    </a:lnTo>
                    <a:lnTo>
                      <a:pt x="408" y="106"/>
                    </a:lnTo>
                    <a:lnTo>
                      <a:pt x="404" y="110"/>
                    </a:lnTo>
                    <a:lnTo>
                      <a:pt x="404" y="110"/>
                    </a:lnTo>
                    <a:lnTo>
                      <a:pt x="396" y="118"/>
                    </a:lnTo>
                    <a:lnTo>
                      <a:pt x="388" y="124"/>
                    </a:lnTo>
                    <a:lnTo>
                      <a:pt x="380" y="130"/>
                    </a:lnTo>
                    <a:lnTo>
                      <a:pt x="376" y="132"/>
                    </a:lnTo>
                    <a:lnTo>
                      <a:pt x="372" y="132"/>
                    </a:lnTo>
                    <a:lnTo>
                      <a:pt x="370" y="130"/>
                    </a:lnTo>
                    <a:lnTo>
                      <a:pt x="372" y="126"/>
                    </a:lnTo>
                    <a:lnTo>
                      <a:pt x="376" y="118"/>
                    </a:lnTo>
                    <a:lnTo>
                      <a:pt x="376" y="118"/>
                    </a:lnTo>
                    <a:lnTo>
                      <a:pt x="382" y="110"/>
                    </a:lnTo>
                    <a:lnTo>
                      <a:pt x="386" y="100"/>
                    </a:lnTo>
                    <a:lnTo>
                      <a:pt x="388" y="90"/>
                    </a:lnTo>
                    <a:lnTo>
                      <a:pt x="388" y="82"/>
                    </a:lnTo>
                    <a:lnTo>
                      <a:pt x="386" y="72"/>
                    </a:lnTo>
                    <a:lnTo>
                      <a:pt x="382" y="64"/>
                    </a:lnTo>
                    <a:lnTo>
                      <a:pt x="376" y="58"/>
                    </a:lnTo>
                    <a:lnTo>
                      <a:pt x="368" y="54"/>
                    </a:lnTo>
                    <a:lnTo>
                      <a:pt x="368" y="54"/>
                    </a:lnTo>
                    <a:lnTo>
                      <a:pt x="360" y="50"/>
                    </a:lnTo>
                    <a:lnTo>
                      <a:pt x="356" y="44"/>
                    </a:lnTo>
                    <a:lnTo>
                      <a:pt x="356" y="38"/>
                    </a:lnTo>
                    <a:lnTo>
                      <a:pt x="354" y="32"/>
                    </a:lnTo>
                    <a:lnTo>
                      <a:pt x="354" y="24"/>
                    </a:lnTo>
                    <a:lnTo>
                      <a:pt x="352" y="18"/>
                    </a:lnTo>
                    <a:lnTo>
                      <a:pt x="346" y="14"/>
                    </a:lnTo>
                    <a:lnTo>
                      <a:pt x="338" y="12"/>
                    </a:lnTo>
                    <a:lnTo>
                      <a:pt x="338" y="12"/>
                    </a:lnTo>
                    <a:lnTo>
                      <a:pt x="326" y="10"/>
                    </a:lnTo>
                    <a:lnTo>
                      <a:pt x="306" y="12"/>
                    </a:lnTo>
                    <a:lnTo>
                      <a:pt x="282" y="14"/>
                    </a:lnTo>
                    <a:lnTo>
                      <a:pt x="260" y="18"/>
                    </a:lnTo>
                    <a:lnTo>
                      <a:pt x="236" y="24"/>
                    </a:lnTo>
                    <a:lnTo>
                      <a:pt x="218" y="32"/>
                    </a:lnTo>
                    <a:lnTo>
                      <a:pt x="210" y="38"/>
                    </a:lnTo>
                    <a:lnTo>
                      <a:pt x="204" y="44"/>
                    </a:lnTo>
                    <a:lnTo>
                      <a:pt x="200" y="50"/>
                    </a:lnTo>
                    <a:lnTo>
                      <a:pt x="198" y="56"/>
                    </a:lnTo>
                    <a:lnTo>
                      <a:pt x="198" y="56"/>
                    </a:lnTo>
                    <a:lnTo>
                      <a:pt x="198" y="62"/>
                    </a:lnTo>
                    <a:lnTo>
                      <a:pt x="196" y="66"/>
                    </a:lnTo>
                    <a:lnTo>
                      <a:pt x="194" y="68"/>
                    </a:lnTo>
                    <a:lnTo>
                      <a:pt x="192" y="70"/>
                    </a:lnTo>
                    <a:lnTo>
                      <a:pt x="186" y="72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2" y="74"/>
                    </a:lnTo>
                    <a:lnTo>
                      <a:pt x="174" y="84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8" y="116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8" y="130"/>
                    </a:lnTo>
                    <a:lnTo>
                      <a:pt x="184" y="130"/>
                    </a:lnTo>
                    <a:lnTo>
                      <a:pt x="180" y="132"/>
                    </a:lnTo>
                    <a:lnTo>
                      <a:pt x="174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84" y="158"/>
                    </a:lnTo>
                    <a:lnTo>
                      <a:pt x="192" y="164"/>
                    </a:lnTo>
                    <a:lnTo>
                      <a:pt x="200" y="166"/>
                    </a:lnTo>
                    <a:lnTo>
                      <a:pt x="208" y="166"/>
                    </a:lnTo>
                    <a:lnTo>
                      <a:pt x="212" y="164"/>
                    </a:lnTo>
                    <a:lnTo>
                      <a:pt x="218" y="166"/>
                    </a:lnTo>
                    <a:lnTo>
                      <a:pt x="220" y="168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80"/>
                    </a:lnTo>
                    <a:lnTo>
                      <a:pt x="220" y="182"/>
                    </a:lnTo>
                    <a:lnTo>
                      <a:pt x="216" y="184"/>
                    </a:lnTo>
                    <a:lnTo>
                      <a:pt x="210" y="184"/>
                    </a:lnTo>
                    <a:lnTo>
                      <a:pt x="196" y="180"/>
                    </a:lnTo>
                    <a:lnTo>
                      <a:pt x="180" y="174"/>
                    </a:lnTo>
                    <a:lnTo>
                      <a:pt x="164" y="164"/>
                    </a:lnTo>
                    <a:lnTo>
                      <a:pt x="152" y="150"/>
                    </a:lnTo>
                    <a:lnTo>
                      <a:pt x="148" y="144"/>
                    </a:lnTo>
                    <a:lnTo>
                      <a:pt x="146" y="136"/>
                    </a:lnTo>
                    <a:lnTo>
                      <a:pt x="146" y="13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4" y="110"/>
                    </a:lnTo>
                    <a:lnTo>
                      <a:pt x="152" y="102"/>
                    </a:lnTo>
                    <a:lnTo>
                      <a:pt x="150" y="98"/>
                    </a:lnTo>
                    <a:lnTo>
                      <a:pt x="144" y="94"/>
                    </a:lnTo>
                    <a:lnTo>
                      <a:pt x="142" y="90"/>
                    </a:lnTo>
                    <a:lnTo>
                      <a:pt x="140" y="84"/>
                    </a:lnTo>
                    <a:lnTo>
                      <a:pt x="144" y="74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68" y="44"/>
                    </a:lnTo>
                    <a:lnTo>
                      <a:pt x="180" y="34"/>
                    </a:lnTo>
                    <a:lnTo>
                      <a:pt x="188" y="26"/>
                    </a:lnTo>
                    <a:lnTo>
                      <a:pt x="198" y="22"/>
                    </a:lnTo>
                    <a:lnTo>
                      <a:pt x="208" y="16"/>
                    </a:lnTo>
                    <a:lnTo>
                      <a:pt x="212" y="14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2" y="8"/>
                    </a:lnTo>
                    <a:lnTo>
                      <a:pt x="210" y="6"/>
                    </a:lnTo>
                    <a:lnTo>
                      <a:pt x="200" y="2"/>
                    </a:lnTo>
                    <a:lnTo>
                      <a:pt x="184" y="0"/>
                    </a:lnTo>
                    <a:lnTo>
                      <a:pt x="164" y="0"/>
                    </a:lnTo>
                    <a:lnTo>
                      <a:pt x="140" y="2"/>
                    </a:lnTo>
                    <a:lnTo>
                      <a:pt x="116" y="8"/>
                    </a:lnTo>
                    <a:lnTo>
                      <a:pt x="92" y="1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52" y="38"/>
                    </a:lnTo>
                    <a:lnTo>
                      <a:pt x="40" y="48"/>
                    </a:lnTo>
                    <a:lnTo>
                      <a:pt x="34" y="56"/>
                    </a:lnTo>
                    <a:lnTo>
                      <a:pt x="32" y="62"/>
                    </a:lnTo>
                    <a:lnTo>
                      <a:pt x="30" y="72"/>
                    </a:lnTo>
                    <a:lnTo>
                      <a:pt x="28" y="76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18" y="90"/>
                    </a:lnTo>
                    <a:lnTo>
                      <a:pt x="14" y="96"/>
                    </a:lnTo>
                    <a:lnTo>
                      <a:pt x="8" y="112"/>
                    </a:lnTo>
                    <a:lnTo>
                      <a:pt x="4" y="13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0" y="168"/>
                    </a:lnTo>
                    <a:lnTo>
                      <a:pt x="0" y="178"/>
                    </a:lnTo>
                    <a:lnTo>
                      <a:pt x="2" y="184"/>
                    </a:lnTo>
                    <a:lnTo>
                      <a:pt x="8" y="188"/>
                    </a:lnTo>
                    <a:lnTo>
                      <a:pt x="14" y="192"/>
                    </a:lnTo>
                    <a:lnTo>
                      <a:pt x="26" y="194"/>
                    </a:lnTo>
                    <a:lnTo>
                      <a:pt x="58" y="196"/>
                    </a:lnTo>
                    <a:lnTo>
                      <a:pt x="58" y="196"/>
                    </a:lnTo>
                    <a:lnTo>
                      <a:pt x="76" y="200"/>
                    </a:lnTo>
                    <a:lnTo>
                      <a:pt x="90" y="202"/>
                    </a:lnTo>
                    <a:lnTo>
                      <a:pt x="100" y="208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2" y="218"/>
                    </a:lnTo>
                    <a:lnTo>
                      <a:pt x="94" y="220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50" y="216"/>
                    </a:lnTo>
                    <a:lnTo>
                      <a:pt x="40" y="216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0" y="222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2" y="250"/>
                    </a:lnTo>
                    <a:lnTo>
                      <a:pt x="52" y="250"/>
                    </a:lnTo>
                    <a:lnTo>
                      <a:pt x="68" y="262"/>
                    </a:lnTo>
                    <a:lnTo>
                      <a:pt x="82" y="268"/>
                    </a:lnTo>
                    <a:lnTo>
                      <a:pt x="94" y="270"/>
                    </a:lnTo>
                    <a:lnTo>
                      <a:pt x="106" y="270"/>
                    </a:lnTo>
                    <a:lnTo>
                      <a:pt x="118" y="270"/>
                    </a:lnTo>
                    <a:lnTo>
                      <a:pt x="130" y="270"/>
                    </a:lnTo>
                    <a:lnTo>
                      <a:pt x="142" y="272"/>
                    </a:lnTo>
                    <a:lnTo>
                      <a:pt x="152" y="278"/>
                    </a:lnTo>
                    <a:lnTo>
                      <a:pt x="152" y="278"/>
                    </a:lnTo>
                    <a:lnTo>
                      <a:pt x="162" y="284"/>
                    </a:lnTo>
                    <a:lnTo>
                      <a:pt x="174" y="288"/>
                    </a:lnTo>
                    <a:lnTo>
                      <a:pt x="184" y="290"/>
                    </a:lnTo>
                    <a:lnTo>
                      <a:pt x="194" y="288"/>
                    </a:lnTo>
                    <a:lnTo>
                      <a:pt x="208" y="286"/>
                    </a:lnTo>
                    <a:lnTo>
                      <a:pt x="218" y="286"/>
                    </a:lnTo>
                    <a:lnTo>
                      <a:pt x="218" y="286"/>
                    </a:lnTo>
                    <a:lnTo>
                      <a:pt x="234" y="288"/>
                    </a:lnTo>
                    <a:lnTo>
                      <a:pt x="244" y="290"/>
                    </a:lnTo>
                    <a:lnTo>
                      <a:pt x="260" y="290"/>
                    </a:lnTo>
                    <a:lnTo>
                      <a:pt x="268" y="290"/>
                    </a:lnTo>
                    <a:lnTo>
                      <a:pt x="276" y="290"/>
                    </a:lnTo>
                    <a:lnTo>
                      <a:pt x="288" y="292"/>
                    </a:lnTo>
                    <a:lnTo>
                      <a:pt x="304" y="296"/>
                    </a:lnTo>
                    <a:lnTo>
                      <a:pt x="304" y="296"/>
                    </a:lnTo>
                    <a:lnTo>
                      <a:pt x="316" y="300"/>
                    </a:lnTo>
                    <a:lnTo>
                      <a:pt x="324" y="298"/>
                    </a:lnTo>
                    <a:lnTo>
                      <a:pt x="328" y="296"/>
                    </a:lnTo>
                    <a:lnTo>
                      <a:pt x="332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6" y="292"/>
                    </a:lnTo>
                    <a:lnTo>
                      <a:pt x="356" y="298"/>
                    </a:lnTo>
                    <a:lnTo>
                      <a:pt x="356" y="298"/>
                    </a:lnTo>
                    <a:lnTo>
                      <a:pt x="374" y="312"/>
                    </a:lnTo>
                    <a:lnTo>
                      <a:pt x="378" y="314"/>
                    </a:lnTo>
                    <a:lnTo>
                      <a:pt x="380" y="312"/>
                    </a:lnTo>
                    <a:lnTo>
                      <a:pt x="378" y="310"/>
                    </a:lnTo>
                    <a:lnTo>
                      <a:pt x="376" y="306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58" y="284"/>
                    </a:lnTo>
                    <a:lnTo>
                      <a:pt x="358" y="282"/>
                    </a:lnTo>
                    <a:lnTo>
                      <a:pt x="360" y="282"/>
                    </a:lnTo>
                    <a:lnTo>
                      <a:pt x="368" y="282"/>
                    </a:lnTo>
                    <a:lnTo>
                      <a:pt x="380" y="284"/>
                    </a:lnTo>
                    <a:lnTo>
                      <a:pt x="410" y="290"/>
                    </a:lnTo>
                    <a:lnTo>
                      <a:pt x="444" y="296"/>
                    </a:lnTo>
                    <a:lnTo>
                      <a:pt x="444" y="296"/>
                    </a:lnTo>
                    <a:lnTo>
                      <a:pt x="450" y="296"/>
                    </a:lnTo>
                    <a:lnTo>
                      <a:pt x="454" y="296"/>
                    </a:lnTo>
                    <a:lnTo>
                      <a:pt x="458" y="294"/>
                    </a:lnTo>
                    <a:lnTo>
                      <a:pt x="460" y="290"/>
                    </a:lnTo>
                    <a:lnTo>
                      <a:pt x="462" y="284"/>
                    </a:lnTo>
                    <a:lnTo>
                      <a:pt x="460" y="274"/>
                    </a:lnTo>
                    <a:lnTo>
                      <a:pt x="456" y="260"/>
                    </a:lnTo>
                    <a:lnTo>
                      <a:pt x="456" y="260"/>
                    </a:lnTo>
                    <a:lnTo>
                      <a:pt x="458" y="260"/>
                    </a:lnTo>
                    <a:lnTo>
                      <a:pt x="464" y="264"/>
                    </a:lnTo>
                    <a:lnTo>
                      <a:pt x="464" y="264"/>
                    </a:lnTo>
                    <a:lnTo>
                      <a:pt x="472" y="270"/>
                    </a:lnTo>
                    <a:lnTo>
                      <a:pt x="478" y="272"/>
                    </a:lnTo>
                    <a:lnTo>
                      <a:pt x="484" y="272"/>
                    </a:lnTo>
                    <a:lnTo>
                      <a:pt x="490" y="272"/>
                    </a:lnTo>
                    <a:lnTo>
                      <a:pt x="494" y="272"/>
                    </a:lnTo>
                    <a:lnTo>
                      <a:pt x="498" y="274"/>
                    </a:lnTo>
                    <a:lnTo>
                      <a:pt x="500" y="278"/>
                    </a:lnTo>
                    <a:lnTo>
                      <a:pt x="502" y="286"/>
                    </a:lnTo>
                    <a:lnTo>
                      <a:pt x="502" y="286"/>
                    </a:lnTo>
                    <a:lnTo>
                      <a:pt x="502" y="294"/>
                    </a:lnTo>
                    <a:lnTo>
                      <a:pt x="504" y="302"/>
                    </a:lnTo>
                    <a:lnTo>
                      <a:pt x="508" y="306"/>
                    </a:lnTo>
                    <a:lnTo>
                      <a:pt x="512" y="310"/>
                    </a:lnTo>
                    <a:lnTo>
                      <a:pt x="528" y="318"/>
                    </a:lnTo>
                    <a:lnTo>
                      <a:pt x="556" y="326"/>
                    </a:lnTo>
                    <a:lnTo>
                      <a:pt x="556" y="326"/>
                    </a:lnTo>
                    <a:lnTo>
                      <a:pt x="570" y="332"/>
                    </a:lnTo>
                    <a:lnTo>
                      <a:pt x="580" y="338"/>
                    </a:lnTo>
                    <a:lnTo>
                      <a:pt x="584" y="344"/>
                    </a:lnTo>
                    <a:lnTo>
                      <a:pt x="584" y="348"/>
                    </a:lnTo>
                    <a:lnTo>
                      <a:pt x="580" y="352"/>
                    </a:lnTo>
                    <a:lnTo>
                      <a:pt x="574" y="356"/>
                    </a:lnTo>
                    <a:lnTo>
                      <a:pt x="568" y="356"/>
                    </a:lnTo>
                    <a:lnTo>
                      <a:pt x="558" y="356"/>
                    </a:lnTo>
                    <a:lnTo>
                      <a:pt x="558" y="356"/>
                    </a:lnTo>
                    <a:lnTo>
                      <a:pt x="550" y="358"/>
                    </a:lnTo>
                    <a:lnTo>
                      <a:pt x="542" y="360"/>
                    </a:lnTo>
                    <a:lnTo>
                      <a:pt x="538" y="366"/>
                    </a:lnTo>
                    <a:lnTo>
                      <a:pt x="538" y="370"/>
                    </a:lnTo>
                    <a:lnTo>
                      <a:pt x="538" y="376"/>
                    </a:lnTo>
                    <a:lnTo>
                      <a:pt x="544" y="378"/>
                    </a:lnTo>
                    <a:lnTo>
                      <a:pt x="550" y="380"/>
                    </a:lnTo>
                    <a:lnTo>
                      <a:pt x="562" y="378"/>
                    </a:lnTo>
                    <a:lnTo>
                      <a:pt x="562" y="378"/>
                    </a:lnTo>
                    <a:lnTo>
                      <a:pt x="576" y="374"/>
                    </a:lnTo>
                    <a:lnTo>
                      <a:pt x="590" y="374"/>
                    </a:lnTo>
                    <a:lnTo>
                      <a:pt x="606" y="376"/>
                    </a:lnTo>
                    <a:lnTo>
                      <a:pt x="618" y="380"/>
                    </a:lnTo>
                    <a:lnTo>
                      <a:pt x="630" y="384"/>
                    </a:lnTo>
                    <a:lnTo>
                      <a:pt x="640" y="390"/>
                    </a:lnTo>
                    <a:lnTo>
                      <a:pt x="648" y="396"/>
                    </a:lnTo>
                    <a:lnTo>
                      <a:pt x="654" y="402"/>
                    </a:lnTo>
                    <a:lnTo>
                      <a:pt x="654" y="402"/>
                    </a:lnTo>
                    <a:lnTo>
                      <a:pt x="656" y="406"/>
                    </a:lnTo>
                    <a:lnTo>
                      <a:pt x="662" y="408"/>
                    </a:lnTo>
                    <a:lnTo>
                      <a:pt x="674" y="414"/>
                    </a:lnTo>
                    <a:lnTo>
                      <a:pt x="682" y="416"/>
                    </a:lnTo>
                    <a:lnTo>
                      <a:pt x="688" y="420"/>
                    </a:lnTo>
                    <a:lnTo>
                      <a:pt x="692" y="428"/>
                    </a:lnTo>
                    <a:lnTo>
                      <a:pt x="696" y="438"/>
                    </a:lnTo>
                    <a:lnTo>
                      <a:pt x="696" y="438"/>
                    </a:lnTo>
                    <a:lnTo>
                      <a:pt x="698" y="450"/>
                    </a:lnTo>
                    <a:lnTo>
                      <a:pt x="704" y="460"/>
                    </a:lnTo>
                    <a:lnTo>
                      <a:pt x="712" y="474"/>
                    </a:lnTo>
                    <a:lnTo>
                      <a:pt x="716" y="480"/>
                    </a:lnTo>
                    <a:lnTo>
                      <a:pt x="718" y="486"/>
                    </a:lnTo>
                    <a:lnTo>
                      <a:pt x="716" y="490"/>
                    </a:lnTo>
                    <a:lnTo>
                      <a:pt x="710" y="494"/>
                    </a:lnTo>
                    <a:lnTo>
                      <a:pt x="710" y="494"/>
                    </a:lnTo>
                    <a:lnTo>
                      <a:pt x="696" y="504"/>
                    </a:lnTo>
                    <a:lnTo>
                      <a:pt x="682" y="518"/>
                    </a:lnTo>
                    <a:lnTo>
                      <a:pt x="668" y="532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4" y="554"/>
                    </a:lnTo>
                    <a:lnTo>
                      <a:pt x="640" y="558"/>
                    </a:lnTo>
                    <a:lnTo>
                      <a:pt x="640" y="564"/>
                    </a:lnTo>
                    <a:lnTo>
                      <a:pt x="642" y="570"/>
                    </a:lnTo>
                    <a:lnTo>
                      <a:pt x="646" y="580"/>
                    </a:lnTo>
                    <a:lnTo>
                      <a:pt x="654" y="590"/>
                    </a:lnTo>
                    <a:lnTo>
                      <a:pt x="666" y="604"/>
                    </a:lnTo>
                    <a:lnTo>
                      <a:pt x="666" y="606"/>
                    </a:lnTo>
                    <a:lnTo>
                      <a:pt x="666" y="608"/>
                    </a:lnTo>
                    <a:lnTo>
                      <a:pt x="656" y="606"/>
                    </a:lnTo>
                    <a:lnTo>
                      <a:pt x="656" y="606"/>
                    </a:lnTo>
                    <a:lnTo>
                      <a:pt x="646" y="602"/>
                    </a:lnTo>
                    <a:lnTo>
                      <a:pt x="636" y="604"/>
                    </a:lnTo>
                    <a:lnTo>
                      <a:pt x="628" y="608"/>
                    </a:lnTo>
                    <a:lnTo>
                      <a:pt x="620" y="612"/>
                    </a:lnTo>
                    <a:lnTo>
                      <a:pt x="608" y="616"/>
                    </a:lnTo>
                    <a:lnTo>
                      <a:pt x="594" y="620"/>
                    </a:lnTo>
                    <a:lnTo>
                      <a:pt x="576" y="620"/>
                    </a:lnTo>
                    <a:lnTo>
                      <a:pt x="552" y="614"/>
                    </a:lnTo>
                    <a:lnTo>
                      <a:pt x="552" y="614"/>
                    </a:lnTo>
                    <a:lnTo>
                      <a:pt x="528" y="610"/>
                    </a:lnTo>
                    <a:lnTo>
                      <a:pt x="516" y="608"/>
                    </a:lnTo>
                    <a:lnTo>
                      <a:pt x="510" y="608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0" y="624"/>
                    </a:lnTo>
                    <a:lnTo>
                      <a:pt x="504" y="630"/>
                    </a:lnTo>
                    <a:lnTo>
                      <a:pt x="494" y="638"/>
                    </a:lnTo>
                    <a:lnTo>
                      <a:pt x="494" y="638"/>
                    </a:lnTo>
                    <a:lnTo>
                      <a:pt x="488" y="642"/>
                    </a:lnTo>
                    <a:lnTo>
                      <a:pt x="484" y="648"/>
                    </a:lnTo>
                    <a:lnTo>
                      <a:pt x="482" y="652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84" y="668"/>
                    </a:lnTo>
                    <a:lnTo>
                      <a:pt x="494" y="678"/>
                    </a:lnTo>
                    <a:lnTo>
                      <a:pt x="506" y="686"/>
                    </a:lnTo>
                    <a:lnTo>
                      <a:pt x="514" y="688"/>
                    </a:lnTo>
                    <a:lnTo>
                      <a:pt x="522" y="690"/>
                    </a:lnTo>
                    <a:lnTo>
                      <a:pt x="532" y="690"/>
                    </a:lnTo>
                    <a:lnTo>
                      <a:pt x="542" y="690"/>
                    </a:lnTo>
                    <a:lnTo>
                      <a:pt x="552" y="686"/>
                    </a:lnTo>
                    <a:lnTo>
                      <a:pt x="562" y="682"/>
                    </a:lnTo>
                    <a:lnTo>
                      <a:pt x="562" y="682"/>
                    </a:lnTo>
                    <a:lnTo>
                      <a:pt x="580" y="676"/>
                    </a:lnTo>
                    <a:lnTo>
                      <a:pt x="592" y="674"/>
                    </a:lnTo>
                    <a:lnTo>
                      <a:pt x="602" y="676"/>
                    </a:lnTo>
                    <a:lnTo>
                      <a:pt x="608" y="680"/>
                    </a:lnTo>
                    <a:lnTo>
                      <a:pt x="612" y="684"/>
                    </a:lnTo>
                    <a:lnTo>
                      <a:pt x="616" y="688"/>
                    </a:lnTo>
                    <a:lnTo>
                      <a:pt x="622" y="686"/>
                    </a:lnTo>
                    <a:lnTo>
                      <a:pt x="628" y="680"/>
                    </a:lnTo>
                    <a:lnTo>
                      <a:pt x="628" y="680"/>
                    </a:lnTo>
                    <a:lnTo>
                      <a:pt x="634" y="674"/>
                    </a:lnTo>
                    <a:lnTo>
                      <a:pt x="640" y="674"/>
                    </a:lnTo>
                    <a:lnTo>
                      <a:pt x="642" y="676"/>
                    </a:lnTo>
                    <a:lnTo>
                      <a:pt x="644" y="680"/>
                    </a:lnTo>
                    <a:lnTo>
                      <a:pt x="646" y="688"/>
                    </a:lnTo>
                    <a:lnTo>
                      <a:pt x="648" y="690"/>
                    </a:lnTo>
                    <a:lnTo>
                      <a:pt x="650" y="686"/>
                    </a:lnTo>
                    <a:lnTo>
                      <a:pt x="650" y="686"/>
                    </a:lnTo>
                    <a:lnTo>
                      <a:pt x="656" y="674"/>
                    </a:lnTo>
                    <a:lnTo>
                      <a:pt x="658" y="672"/>
                    </a:lnTo>
                    <a:lnTo>
                      <a:pt x="662" y="672"/>
                    </a:lnTo>
                    <a:lnTo>
                      <a:pt x="666" y="674"/>
                    </a:lnTo>
                    <a:lnTo>
                      <a:pt x="672" y="680"/>
                    </a:lnTo>
                    <a:lnTo>
                      <a:pt x="696" y="706"/>
                    </a:lnTo>
                    <a:lnTo>
                      <a:pt x="696" y="706"/>
                    </a:lnTo>
                    <a:lnTo>
                      <a:pt x="708" y="720"/>
                    </a:lnTo>
                    <a:lnTo>
                      <a:pt x="718" y="726"/>
                    </a:lnTo>
                    <a:lnTo>
                      <a:pt x="724" y="728"/>
                    </a:lnTo>
                    <a:lnTo>
                      <a:pt x="728" y="728"/>
                    </a:lnTo>
                    <a:lnTo>
                      <a:pt x="732" y="726"/>
                    </a:lnTo>
                    <a:lnTo>
                      <a:pt x="736" y="724"/>
                    </a:lnTo>
                    <a:lnTo>
                      <a:pt x="742" y="726"/>
                    </a:lnTo>
                    <a:lnTo>
                      <a:pt x="750" y="732"/>
                    </a:lnTo>
                    <a:lnTo>
                      <a:pt x="750" y="732"/>
                    </a:lnTo>
                    <a:lnTo>
                      <a:pt x="756" y="738"/>
                    </a:lnTo>
                    <a:lnTo>
                      <a:pt x="756" y="740"/>
                    </a:lnTo>
                    <a:lnTo>
                      <a:pt x="754" y="742"/>
                    </a:lnTo>
                    <a:lnTo>
                      <a:pt x="750" y="744"/>
                    </a:lnTo>
                    <a:lnTo>
                      <a:pt x="742" y="744"/>
                    </a:lnTo>
                    <a:lnTo>
                      <a:pt x="734" y="746"/>
                    </a:lnTo>
                    <a:lnTo>
                      <a:pt x="732" y="748"/>
                    </a:lnTo>
                    <a:lnTo>
                      <a:pt x="732" y="750"/>
                    </a:lnTo>
                    <a:lnTo>
                      <a:pt x="732" y="752"/>
                    </a:lnTo>
                    <a:lnTo>
                      <a:pt x="734" y="756"/>
                    </a:lnTo>
                    <a:lnTo>
                      <a:pt x="744" y="768"/>
                    </a:lnTo>
                    <a:lnTo>
                      <a:pt x="744" y="768"/>
                    </a:lnTo>
                    <a:lnTo>
                      <a:pt x="754" y="776"/>
                    </a:lnTo>
                    <a:lnTo>
                      <a:pt x="766" y="780"/>
                    </a:lnTo>
                    <a:lnTo>
                      <a:pt x="792" y="788"/>
                    </a:lnTo>
                    <a:lnTo>
                      <a:pt x="816" y="794"/>
                    </a:lnTo>
                    <a:lnTo>
                      <a:pt x="826" y="798"/>
                    </a:lnTo>
                    <a:lnTo>
                      <a:pt x="834" y="804"/>
                    </a:lnTo>
                    <a:lnTo>
                      <a:pt x="834" y="804"/>
                    </a:lnTo>
                    <a:lnTo>
                      <a:pt x="842" y="812"/>
                    </a:lnTo>
                    <a:lnTo>
                      <a:pt x="854" y="818"/>
                    </a:lnTo>
                    <a:lnTo>
                      <a:pt x="868" y="824"/>
                    </a:lnTo>
                    <a:lnTo>
                      <a:pt x="882" y="828"/>
                    </a:lnTo>
                    <a:lnTo>
                      <a:pt x="916" y="836"/>
                    </a:lnTo>
                    <a:lnTo>
                      <a:pt x="948" y="846"/>
                    </a:lnTo>
                    <a:lnTo>
                      <a:pt x="948" y="846"/>
                    </a:lnTo>
                    <a:lnTo>
                      <a:pt x="962" y="850"/>
                    </a:lnTo>
                    <a:lnTo>
                      <a:pt x="970" y="850"/>
                    </a:lnTo>
                    <a:lnTo>
                      <a:pt x="972" y="848"/>
                    </a:lnTo>
                    <a:lnTo>
                      <a:pt x="974" y="846"/>
                    </a:lnTo>
                    <a:lnTo>
                      <a:pt x="974" y="840"/>
                    </a:lnTo>
                    <a:lnTo>
                      <a:pt x="972" y="832"/>
                    </a:lnTo>
                    <a:lnTo>
                      <a:pt x="966" y="822"/>
                    </a:lnTo>
                    <a:lnTo>
                      <a:pt x="958" y="812"/>
                    </a:lnTo>
                    <a:lnTo>
                      <a:pt x="948" y="802"/>
                    </a:lnTo>
                    <a:lnTo>
                      <a:pt x="948" y="802"/>
                    </a:lnTo>
                    <a:lnTo>
                      <a:pt x="936" y="792"/>
                    </a:lnTo>
                    <a:lnTo>
                      <a:pt x="920" y="780"/>
                    </a:lnTo>
                    <a:lnTo>
                      <a:pt x="888" y="758"/>
                    </a:lnTo>
                    <a:lnTo>
                      <a:pt x="872" y="748"/>
                    </a:lnTo>
                    <a:lnTo>
                      <a:pt x="862" y="738"/>
                    </a:lnTo>
                    <a:lnTo>
                      <a:pt x="854" y="732"/>
                    </a:lnTo>
                    <a:lnTo>
                      <a:pt x="854" y="728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8" y="722"/>
                    </a:lnTo>
                    <a:lnTo>
                      <a:pt x="864" y="724"/>
                    </a:lnTo>
                    <a:lnTo>
                      <a:pt x="880" y="736"/>
                    </a:lnTo>
                    <a:lnTo>
                      <a:pt x="894" y="748"/>
                    </a:lnTo>
                    <a:lnTo>
                      <a:pt x="900" y="748"/>
                    </a:lnTo>
                    <a:lnTo>
                      <a:pt x="902" y="748"/>
                    </a:lnTo>
                    <a:lnTo>
                      <a:pt x="902" y="746"/>
                    </a:lnTo>
                    <a:lnTo>
                      <a:pt x="902" y="746"/>
                    </a:lnTo>
                    <a:lnTo>
                      <a:pt x="902" y="742"/>
                    </a:lnTo>
                    <a:lnTo>
                      <a:pt x="904" y="742"/>
                    </a:lnTo>
                    <a:lnTo>
                      <a:pt x="908" y="744"/>
                    </a:lnTo>
                    <a:lnTo>
                      <a:pt x="924" y="754"/>
                    </a:lnTo>
                    <a:lnTo>
                      <a:pt x="932" y="762"/>
                    </a:lnTo>
                    <a:lnTo>
                      <a:pt x="944" y="770"/>
                    </a:lnTo>
                    <a:lnTo>
                      <a:pt x="956" y="776"/>
                    </a:lnTo>
                    <a:lnTo>
                      <a:pt x="968" y="778"/>
                    </a:lnTo>
                    <a:lnTo>
                      <a:pt x="968" y="778"/>
                    </a:lnTo>
                    <a:lnTo>
                      <a:pt x="980" y="782"/>
                    </a:lnTo>
                    <a:lnTo>
                      <a:pt x="990" y="788"/>
                    </a:lnTo>
                    <a:lnTo>
                      <a:pt x="998" y="798"/>
                    </a:lnTo>
                    <a:lnTo>
                      <a:pt x="1004" y="806"/>
                    </a:lnTo>
                    <a:lnTo>
                      <a:pt x="1010" y="812"/>
                    </a:lnTo>
                    <a:lnTo>
                      <a:pt x="1012" y="814"/>
                    </a:lnTo>
                    <a:lnTo>
                      <a:pt x="1014" y="812"/>
                    </a:lnTo>
                    <a:lnTo>
                      <a:pt x="1012" y="802"/>
                    </a:lnTo>
                    <a:lnTo>
                      <a:pt x="1012" y="802"/>
                    </a:lnTo>
                    <a:lnTo>
                      <a:pt x="1012" y="792"/>
                    </a:lnTo>
                    <a:lnTo>
                      <a:pt x="1012" y="788"/>
                    </a:lnTo>
                    <a:lnTo>
                      <a:pt x="1014" y="788"/>
                    </a:lnTo>
                    <a:lnTo>
                      <a:pt x="1016" y="788"/>
                    </a:lnTo>
                    <a:lnTo>
                      <a:pt x="1018" y="788"/>
                    </a:lnTo>
                    <a:lnTo>
                      <a:pt x="1020" y="786"/>
                    </a:lnTo>
                    <a:lnTo>
                      <a:pt x="1020" y="780"/>
                    </a:lnTo>
                    <a:lnTo>
                      <a:pt x="1018" y="766"/>
                    </a:lnTo>
                    <a:lnTo>
                      <a:pt x="1018" y="766"/>
                    </a:lnTo>
                    <a:lnTo>
                      <a:pt x="1016" y="750"/>
                    </a:lnTo>
                    <a:lnTo>
                      <a:pt x="1018" y="752"/>
                    </a:lnTo>
                    <a:lnTo>
                      <a:pt x="1020" y="754"/>
                    </a:lnTo>
                    <a:lnTo>
                      <a:pt x="1022" y="758"/>
                    </a:lnTo>
                    <a:lnTo>
                      <a:pt x="1026" y="760"/>
                    </a:lnTo>
                    <a:lnTo>
                      <a:pt x="1028" y="756"/>
                    </a:lnTo>
                    <a:lnTo>
                      <a:pt x="1032" y="746"/>
                    </a:lnTo>
                    <a:lnTo>
                      <a:pt x="1032" y="746"/>
                    </a:lnTo>
                    <a:lnTo>
                      <a:pt x="1032" y="734"/>
                    </a:lnTo>
                    <a:lnTo>
                      <a:pt x="1030" y="728"/>
                    </a:lnTo>
                    <a:lnTo>
                      <a:pt x="1026" y="724"/>
                    </a:lnTo>
                    <a:lnTo>
                      <a:pt x="1022" y="724"/>
                    </a:lnTo>
                    <a:lnTo>
                      <a:pt x="1018" y="722"/>
                    </a:lnTo>
                    <a:lnTo>
                      <a:pt x="1014" y="722"/>
                    </a:lnTo>
                    <a:lnTo>
                      <a:pt x="1014" y="720"/>
                    </a:lnTo>
                    <a:lnTo>
                      <a:pt x="1018" y="714"/>
                    </a:lnTo>
                    <a:lnTo>
                      <a:pt x="1018" y="714"/>
                    </a:lnTo>
                    <a:lnTo>
                      <a:pt x="1022" y="708"/>
                    </a:lnTo>
                    <a:lnTo>
                      <a:pt x="1020" y="704"/>
                    </a:lnTo>
                    <a:lnTo>
                      <a:pt x="1016" y="702"/>
                    </a:lnTo>
                    <a:lnTo>
                      <a:pt x="1012" y="700"/>
                    </a:lnTo>
                    <a:lnTo>
                      <a:pt x="1006" y="700"/>
                    </a:lnTo>
                    <a:lnTo>
                      <a:pt x="1000" y="698"/>
                    </a:lnTo>
                    <a:lnTo>
                      <a:pt x="1000" y="694"/>
                    </a:lnTo>
                    <a:lnTo>
                      <a:pt x="1002" y="688"/>
                    </a:lnTo>
                    <a:lnTo>
                      <a:pt x="1002" y="688"/>
                    </a:lnTo>
                    <a:lnTo>
                      <a:pt x="1006" y="682"/>
                    </a:lnTo>
                    <a:lnTo>
                      <a:pt x="1010" y="676"/>
                    </a:lnTo>
                    <a:lnTo>
                      <a:pt x="1008" y="672"/>
                    </a:lnTo>
                    <a:lnTo>
                      <a:pt x="1006" y="668"/>
                    </a:lnTo>
                    <a:lnTo>
                      <a:pt x="1000" y="664"/>
                    </a:lnTo>
                    <a:lnTo>
                      <a:pt x="992" y="660"/>
                    </a:lnTo>
                    <a:lnTo>
                      <a:pt x="966" y="648"/>
                    </a:lnTo>
                    <a:lnTo>
                      <a:pt x="966" y="648"/>
                    </a:lnTo>
                    <a:lnTo>
                      <a:pt x="952" y="642"/>
                    </a:lnTo>
                    <a:lnTo>
                      <a:pt x="942" y="632"/>
                    </a:lnTo>
                    <a:lnTo>
                      <a:pt x="936" y="622"/>
                    </a:lnTo>
                    <a:lnTo>
                      <a:pt x="930" y="612"/>
                    </a:lnTo>
                    <a:lnTo>
                      <a:pt x="928" y="602"/>
                    </a:lnTo>
                    <a:lnTo>
                      <a:pt x="924" y="596"/>
                    </a:lnTo>
                    <a:lnTo>
                      <a:pt x="918" y="592"/>
                    </a:lnTo>
                    <a:lnTo>
                      <a:pt x="912" y="592"/>
                    </a:lnTo>
                    <a:lnTo>
                      <a:pt x="912" y="592"/>
                    </a:lnTo>
                    <a:lnTo>
                      <a:pt x="904" y="594"/>
                    </a:lnTo>
                    <a:lnTo>
                      <a:pt x="896" y="594"/>
                    </a:lnTo>
                    <a:lnTo>
                      <a:pt x="892" y="592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4" y="584"/>
                    </a:lnTo>
                    <a:lnTo>
                      <a:pt x="900" y="580"/>
                    </a:lnTo>
                    <a:lnTo>
                      <a:pt x="908" y="578"/>
                    </a:lnTo>
                    <a:lnTo>
                      <a:pt x="908" y="578"/>
                    </a:lnTo>
                    <a:lnTo>
                      <a:pt x="912" y="576"/>
                    </a:lnTo>
                    <a:lnTo>
                      <a:pt x="916" y="576"/>
                    </a:lnTo>
                    <a:lnTo>
                      <a:pt x="916" y="572"/>
                    </a:lnTo>
                    <a:lnTo>
                      <a:pt x="916" y="570"/>
                    </a:lnTo>
                    <a:lnTo>
                      <a:pt x="914" y="564"/>
                    </a:lnTo>
                    <a:lnTo>
                      <a:pt x="910" y="556"/>
                    </a:lnTo>
                    <a:lnTo>
                      <a:pt x="902" y="546"/>
                    </a:lnTo>
                    <a:lnTo>
                      <a:pt x="902" y="544"/>
                    </a:lnTo>
                    <a:lnTo>
                      <a:pt x="904" y="544"/>
                    </a:lnTo>
                    <a:lnTo>
                      <a:pt x="910" y="546"/>
                    </a:lnTo>
                    <a:lnTo>
                      <a:pt x="910" y="546"/>
                    </a:lnTo>
                    <a:lnTo>
                      <a:pt x="918" y="548"/>
                    </a:lnTo>
                    <a:lnTo>
                      <a:pt x="924" y="546"/>
                    </a:lnTo>
                    <a:lnTo>
                      <a:pt x="928" y="542"/>
                    </a:lnTo>
                    <a:lnTo>
                      <a:pt x="930" y="538"/>
                    </a:lnTo>
                    <a:lnTo>
                      <a:pt x="932" y="536"/>
                    </a:lnTo>
                    <a:lnTo>
                      <a:pt x="934" y="534"/>
                    </a:lnTo>
                    <a:lnTo>
                      <a:pt x="938" y="536"/>
                    </a:lnTo>
                    <a:lnTo>
                      <a:pt x="942" y="544"/>
                    </a:lnTo>
                    <a:lnTo>
                      <a:pt x="942" y="544"/>
                    </a:lnTo>
                    <a:lnTo>
                      <a:pt x="950" y="552"/>
                    </a:lnTo>
                    <a:lnTo>
                      <a:pt x="954" y="556"/>
                    </a:lnTo>
                    <a:lnTo>
                      <a:pt x="958" y="558"/>
                    </a:lnTo>
                    <a:lnTo>
                      <a:pt x="962" y="558"/>
                    </a:lnTo>
                    <a:lnTo>
                      <a:pt x="968" y="560"/>
                    </a:lnTo>
                    <a:lnTo>
                      <a:pt x="972" y="562"/>
                    </a:lnTo>
                    <a:lnTo>
                      <a:pt x="974" y="568"/>
                    </a:lnTo>
                    <a:lnTo>
                      <a:pt x="974" y="568"/>
                    </a:lnTo>
                    <a:lnTo>
                      <a:pt x="976" y="574"/>
                    </a:lnTo>
                    <a:lnTo>
                      <a:pt x="980" y="576"/>
                    </a:lnTo>
                    <a:lnTo>
                      <a:pt x="986" y="580"/>
                    </a:lnTo>
                    <a:lnTo>
                      <a:pt x="990" y="580"/>
                    </a:lnTo>
                    <a:lnTo>
                      <a:pt x="992" y="582"/>
                    </a:lnTo>
                    <a:lnTo>
                      <a:pt x="994" y="586"/>
                    </a:lnTo>
                    <a:lnTo>
                      <a:pt x="994" y="592"/>
                    </a:lnTo>
                    <a:lnTo>
                      <a:pt x="994" y="592"/>
                    </a:lnTo>
                    <a:lnTo>
                      <a:pt x="994" y="596"/>
                    </a:lnTo>
                    <a:lnTo>
                      <a:pt x="996" y="600"/>
                    </a:lnTo>
                    <a:lnTo>
                      <a:pt x="1008" y="614"/>
                    </a:lnTo>
                    <a:lnTo>
                      <a:pt x="1022" y="626"/>
                    </a:lnTo>
                    <a:lnTo>
                      <a:pt x="1040" y="638"/>
                    </a:lnTo>
                    <a:lnTo>
                      <a:pt x="1056" y="646"/>
                    </a:lnTo>
                    <a:lnTo>
                      <a:pt x="1064" y="648"/>
                    </a:lnTo>
                    <a:lnTo>
                      <a:pt x="1070" y="648"/>
                    </a:lnTo>
                    <a:lnTo>
                      <a:pt x="1074" y="646"/>
                    </a:lnTo>
                    <a:lnTo>
                      <a:pt x="1078" y="642"/>
                    </a:lnTo>
                    <a:lnTo>
                      <a:pt x="1080" y="636"/>
                    </a:lnTo>
                    <a:lnTo>
                      <a:pt x="1078" y="628"/>
                    </a:lnTo>
                    <a:lnTo>
                      <a:pt x="1078" y="628"/>
                    </a:lnTo>
                    <a:lnTo>
                      <a:pt x="1078" y="618"/>
                    </a:lnTo>
                    <a:lnTo>
                      <a:pt x="1078" y="612"/>
                    </a:lnTo>
                    <a:lnTo>
                      <a:pt x="1080" y="606"/>
                    </a:lnTo>
                    <a:lnTo>
                      <a:pt x="1082" y="602"/>
                    </a:lnTo>
                    <a:lnTo>
                      <a:pt x="1086" y="600"/>
                    </a:lnTo>
                    <a:lnTo>
                      <a:pt x="1092" y="598"/>
                    </a:lnTo>
                    <a:lnTo>
                      <a:pt x="1102" y="596"/>
                    </a:lnTo>
                    <a:lnTo>
                      <a:pt x="1118" y="598"/>
                    </a:lnTo>
                    <a:lnTo>
                      <a:pt x="1122" y="596"/>
                    </a:lnTo>
                    <a:lnTo>
                      <a:pt x="1122" y="596"/>
                    </a:lnTo>
                    <a:lnTo>
                      <a:pt x="1122" y="592"/>
                    </a:lnTo>
                    <a:lnTo>
                      <a:pt x="1122" y="588"/>
                    </a:lnTo>
                    <a:lnTo>
                      <a:pt x="1122" y="588"/>
                    </a:lnTo>
                    <a:lnTo>
                      <a:pt x="1118" y="582"/>
                    </a:lnTo>
                    <a:lnTo>
                      <a:pt x="1118" y="576"/>
                    </a:lnTo>
                    <a:lnTo>
                      <a:pt x="1120" y="574"/>
                    </a:lnTo>
                    <a:lnTo>
                      <a:pt x="1122" y="574"/>
                    </a:lnTo>
                    <a:lnTo>
                      <a:pt x="1128" y="570"/>
                    </a:lnTo>
                    <a:lnTo>
                      <a:pt x="1128" y="568"/>
                    </a:lnTo>
                    <a:lnTo>
                      <a:pt x="1126" y="564"/>
                    </a:lnTo>
                    <a:lnTo>
                      <a:pt x="1126" y="564"/>
                    </a:lnTo>
                    <a:lnTo>
                      <a:pt x="1126" y="560"/>
                    </a:lnTo>
                    <a:lnTo>
                      <a:pt x="1126" y="558"/>
                    </a:lnTo>
                    <a:lnTo>
                      <a:pt x="1130" y="554"/>
                    </a:lnTo>
                    <a:lnTo>
                      <a:pt x="1144" y="548"/>
                    </a:lnTo>
                    <a:lnTo>
                      <a:pt x="1150" y="544"/>
                    </a:lnTo>
                    <a:lnTo>
                      <a:pt x="1154" y="536"/>
                    </a:lnTo>
                    <a:lnTo>
                      <a:pt x="1156" y="532"/>
                    </a:lnTo>
                    <a:lnTo>
                      <a:pt x="1154" y="528"/>
                    </a:lnTo>
                    <a:lnTo>
                      <a:pt x="1148" y="514"/>
                    </a:lnTo>
                    <a:lnTo>
                      <a:pt x="1148" y="5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5" name="Freeform 6089">
                <a:extLst>
                  <a:ext uri="{FF2B5EF4-FFF2-40B4-BE49-F238E27FC236}">
                    <a16:creationId xmlns:a16="http://schemas.microsoft.com/office/drawing/2014/main" id="{68D3137A-8FD1-4842-9A5F-FAA211E1F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6" name="Freeform 6091">
                <a:extLst>
                  <a:ext uri="{FF2B5EF4-FFF2-40B4-BE49-F238E27FC236}">
                    <a16:creationId xmlns:a16="http://schemas.microsoft.com/office/drawing/2014/main" id="{2AA5CCE5-3825-441D-856F-C16D42FFB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7" name="Freeform 6092">
                <a:extLst>
                  <a:ext uri="{FF2B5EF4-FFF2-40B4-BE49-F238E27FC236}">
                    <a16:creationId xmlns:a16="http://schemas.microsoft.com/office/drawing/2014/main" id="{AAC40914-CA7F-4EAE-8D56-FC388544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8" name="Freeform 6094">
                <a:extLst>
                  <a:ext uri="{FF2B5EF4-FFF2-40B4-BE49-F238E27FC236}">
                    <a16:creationId xmlns:a16="http://schemas.microsoft.com/office/drawing/2014/main" id="{4EC61762-B853-4DFE-9614-6044FB8FF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9" name="Freeform 6098">
                <a:extLst>
                  <a:ext uri="{FF2B5EF4-FFF2-40B4-BE49-F238E27FC236}">
                    <a16:creationId xmlns:a16="http://schemas.microsoft.com/office/drawing/2014/main" id="{BD6B17A0-6852-4140-8339-7BED5380C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0" name="Freeform 6099">
                <a:extLst>
                  <a:ext uri="{FF2B5EF4-FFF2-40B4-BE49-F238E27FC236}">
                    <a16:creationId xmlns:a16="http://schemas.microsoft.com/office/drawing/2014/main" id="{2394ED83-74EB-4184-B07E-E7DCDD251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1" name="Freeform 6100">
                <a:extLst>
                  <a:ext uri="{FF2B5EF4-FFF2-40B4-BE49-F238E27FC236}">
                    <a16:creationId xmlns:a16="http://schemas.microsoft.com/office/drawing/2014/main" id="{2BA6CF96-2641-432A-8A0D-AB6AF1D9D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2" name="Freeform 6101">
                <a:extLst>
                  <a:ext uri="{FF2B5EF4-FFF2-40B4-BE49-F238E27FC236}">
                    <a16:creationId xmlns:a16="http://schemas.microsoft.com/office/drawing/2014/main" id="{58392AEF-BD72-447F-ADF6-3286F37FBB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3" name="Freeform 6102">
                <a:extLst>
                  <a:ext uri="{FF2B5EF4-FFF2-40B4-BE49-F238E27FC236}">
                    <a16:creationId xmlns:a16="http://schemas.microsoft.com/office/drawing/2014/main" id="{4D94BCDC-F190-4D8E-92A5-AAF1BB8A93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780" y="1048703"/>
                <a:ext cx="449580" cy="129540"/>
              </a:xfrm>
              <a:custGeom>
                <a:avLst/>
                <a:gdLst/>
                <a:ahLst/>
                <a:cxnLst>
                  <a:cxn ang="0">
                    <a:pos x="342" y="198"/>
                  </a:cxn>
                  <a:cxn ang="0">
                    <a:pos x="406" y="202"/>
                  </a:cxn>
                  <a:cxn ang="0">
                    <a:pos x="530" y="198"/>
                  </a:cxn>
                  <a:cxn ang="0">
                    <a:pos x="560" y="176"/>
                  </a:cxn>
                  <a:cxn ang="0">
                    <a:pos x="566" y="188"/>
                  </a:cxn>
                  <a:cxn ang="0">
                    <a:pos x="624" y="200"/>
                  </a:cxn>
                  <a:cxn ang="0">
                    <a:pos x="680" y="190"/>
                  </a:cxn>
                  <a:cxn ang="0">
                    <a:pos x="688" y="174"/>
                  </a:cxn>
                  <a:cxn ang="0">
                    <a:pos x="708" y="168"/>
                  </a:cxn>
                  <a:cxn ang="0">
                    <a:pos x="694" y="158"/>
                  </a:cxn>
                  <a:cxn ang="0">
                    <a:pos x="700" y="144"/>
                  </a:cxn>
                  <a:cxn ang="0">
                    <a:pos x="700" y="126"/>
                  </a:cxn>
                  <a:cxn ang="0">
                    <a:pos x="672" y="110"/>
                  </a:cxn>
                  <a:cxn ang="0">
                    <a:pos x="642" y="104"/>
                  </a:cxn>
                  <a:cxn ang="0">
                    <a:pos x="600" y="96"/>
                  </a:cxn>
                  <a:cxn ang="0">
                    <a:pos x="480" y="110"/>
                  </a:cxn>
                  <a:cxn ang="0">
                    <a:pos x="442" y="126"/>
                  </a:cxn>
                  <a:cxn ang="0">
                    <a:pos x="416" y="122"/>
                  </a:cxn>
                  <a:cxn ang="0">
                    <a:pos x="374" y="120"/>
                  </a:cxn>
                  <a:cxn ang="0">
                    <a:pos x="346" y="114"/>
                  </a:cxn>
                  <a:cxn ang="0">
                    <a:pos x="330" y="110"/>
                  </a:cxn>
                  <a:cxn ang="0">
                    <a:pos x="324" y="124"/>
                  </a:cxn>
                  <a:cxn ang="0">
                    <a:pos x="310" y="116"/>
                  </a:cxn>
                  <a:cxn ang="0">
                    <a:pos x="310" y="102"/>
                  </a:cxn>
                  <a:cxn ang="0">
                    <a:pos x="294" y="84"/>
                  </a:cxn>
                  <a:cxn ang="0">
                    <a:pos x="268" y="84"/>
                  </a:cxn>
                  <a:cxn ang="0">
                    <a:pos x="262" y="76"/>
                  </a:cxn>
                  <a:cxn ang="0">
                    <a:pos x="308" y="74"/>
                  </a:cxn>
                  <a:cxn ang="0">
                    <a:pos x="316" y="66"/>
                  </a:cxn>
                  <a:cxn ang="0">
                    <a:pos x="278" y="52"/>
                  </a:cxn>
                  <a:cxn ang="0">
                    <a:pos x="240" y="34"/>
                  </a:cxn>
                  <a:cxn ang="0">
                    <a:pos x="182" y="36"/>
                  </a:cxn>
                  <a:cxn ang="0">
                    <a:pos x="154" y="30"/>
                  </a:cxn>
                  <a:cxn ang="0">
                    <a:pos x="124" y="10"/>
                  </a:cxn>
                  <a:cxn ang="0">
                    <a:pos x="78" y="6"/>
                  </a:cxn>
                  <a:cxn ang="0">
                    <a:pos x="10" y="0"/>
                  </a:cxn>
                  <a:cxn ang="0">
                    <a:pos x="2" y="12"/>
                  </a:cxn>
                  <a:cxn ang="0">
                    <a:pos x="18" y="32"/>
                  </a:cxn>
                  <a:cxn ang="0">
                    <a:pos x="58" y="52"/>
                  </a:cxn>
                  <a:cxn ang="0">
                    <a:pos x="66" y="66"/>
                  </a:cxn>
                  <a:cxn ang="0">
                    <a:pos x="112" y="66"/>
                  </a:cxn>
                  <a:cxn ang="0">
                    <a:pos x="160" y="60"/>
                  </a:cxn>
                  <a:cxn ang="0">
                    <a:pos x="186" y="84"/>
                  </a:cxn>
                  <a:cxn ang="0">
                    <a:pos x="202" y="98"/>
                  </a:cxn>
                  <a:cxn ang="0">
                    <a:pos x="194" y="120"/>
                  </a:cxn>
                  <a:cxn ang="0">
                    <a:pos x="186" y="142"/>
                  </a:cxn>
                  <a:cxn ang="0">
                    <a:pos x="198" y="154"/>
                  </a:cxn>
                  <a:cxn ang="0">
                    <a:pos x="206" y="182"/>
                  </a:cxn>
                  <a:cxn ang="0">
                    <a:pos x="232" y="190"/>
                  </a:cxn>
                  <a:cxn ang="0">
                    <a:pos x="250" y="186"/>
                  </a:cxn>
                  <a:cxn ang="0">
                    <a:pos x="282" y="198"/>
                  </a:cxn>
                  <a:cxn ang="0">
                    <a:pos x="326" y="188"/>
                  </a:cxn>
                  <a:cxn ang="0">
                    <a:pos x="342" y="188"/>
                  </a:cxn>
                </a:cxnLst>
                <a:rect l="0" t="0" r="r" b="b"/>
                <a:pathLst>
                  <a:path w="708" h="204">
                    <a:moveTo>
                      <a:pt x="342" y="188"/>
                    </a:moveTo>
                    <a:lnTo>
                      <a:pt x="342" y="188"/>
                    </a:lnTo>
                    <a:lnTo>
                      <a:pt x="342" y="196"/>
                    </a:lnTo>
                    <a:lnTo>
                      <a:pt x="342" y="198"/>
                    </a:lnTo>
                    <a:lnTo>
                      <a:pt x="344" y="200"/>
                    </a:lnTo>
                    <a:lnTo>
                      <a:pt x="352" y="202"/>
                    </a:lnTo>
                    <a:lnTo>
                      <a:pt x="364" y="204"/>
                    </a:lnTo>
                    <a:lnTo>
                      <a:pt x="406" y="202"/>
                    </a:lnTo>
                    <a:lnTo>
                      <a:pt x="472" y="202"/>
                    </a:lnTo>
                    <a:lnTo>
                      <a:pt x="472" y="202"/>
                    </a:lnTo>
                    <a:lnTo>
                      <a:pt x="506" y="202"/>
                    </a:lnTo>
                    <a:lnTo>
                      <a:pt x="530" y="198"/>
                    </a:lnTo>
                    <a:lnTo>
                      <a:pt x="546" y="192"/>
                    </a:lnTo>
                    <a:lnTo>
                      <a:pt x="554" y="186"/>
                    </a:lnTo>
                    <a:lnTo>
                      <a:pt x="558" y="180"/>
                    </a:lnTo>
                    <a:lnTo>
                      <a:pt x="560" y="176"/>
                    </a:lnTo>
                    <a:lnTo>
                      <a:pt x="562" y="178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66" y="188"/>
                    </a:lnTo>
                    <a:lnTo>
                      <a:pt x="570" y="190"/>
                    </a:lnTo>
                    <a:lnTo>
                      <a:pt x="584" y="196"/>
                    </a:lnTo>
                    <a:lnTo>
                      <a:pt x="604" y="200"/>
                    </a:lnTo>
                    <a:lnTo>
                      <a:pt x="624" y="200"/>
                    </a:lnTo>
                    <a:lnTo>
                      <a:pt x="646" y="200"/>
                    </a:lnTo>
                    <a:lnTo>
                      <a:pt x="664" y="198"/>
                    </a:lnTo>
                    <a:lnTo>
                      <a:pt x="676" y="192"/>
                    </a:lnTo>
                    <a:lnTo>
                      <a:pt x="680" y="190"/>
                    </a:lnTo>
                    <a:lnTo>
                      <a:pt x="682" y="186"/>
                    </a:lnTo>
                    <a:lnTo>
                      <a:pt x="682" y="186"/>
                    </a:lnTo>
                    <a:lnTo>
                      <a:pt x="684" y="178"/>
                    </a:lnTo>
                    <a:lnTo>
                      <a:pt x="688" y="174"/>
                    </a:lnTo>
                    <a:lnTo>
                      <a:pt x="694" y="172"/>
                    </a:lnTo>
                    <a:lnTo>
                      <a:pt x="700" y="170"/>
                    </a:lnTo>
                    <a:lnTo>
                      <a:pt x="706" y="168"/>
                    </a:lnTo>
                    <a:lnTo>
                      <a:pt x="708" y="168"/>
                    </a:lnTo>
                    <a:lnTo>
                      <a:pt x="708" y="166"/>
                    </a:lnTo>
                    <a:lnTo>
                      <a:pt x="700" y="162"/>
                    </a:lnTo>
                    <a:lnTo>
                      <a:pt x="700" y="162"/>
                    </a:lnTo>
                    <a:lnTo>
                      <a:pt x="694" y="158"/>
                    </a:lnTo>
                    <a:lnTo>
                      <a:pt x="690" y="154"/>
                    </a:lnTo>
                    <a:lnTo>
                      <a:pt x="692" y="152"/>
                    </a:lnTo>
                    <a:lnTo>
                      <a:pt x="696" y="148"/>
                    </a:lnTo>
                    <a:lnTo>
                      <a:pt x="700" y="144"/>
                    </a:lnTo>
                    <a:lnTo>
                      <a:pt x="702" y="140"/>
                    </a:lnTo>
                    <a:lnTo>
                      <a:pt x="704" y="134"/>
                    </a:lnTo>
                    <a:lnTo>
                      <a:pt x="700" y="126"/>
                    </a:lnTo>
                    <a:lnTo>
                      <a:pt x="700" y="126"/>
                    </a:lnTo>
                    <a:lnTo>
                      <a:pt x="694" y="118"/>
                    </a:lnTo>
                    <a:lnTo>
                      <a:pt x="688" y="114"/>
                    </a:lnTo>
                    <a:lnTo>
                      <a:pt x="680" y="112"/>
                    </a:lnTo>
                    <a:lnTo>
                      <a:pt x="672" y="110"/>
                    </a:lnTo>
                    <a:lnTo>
                      <a:pt x="654" y="110"/>
                    </a:lnTo>
                    <a:lnTo>
                      <a:pt x="648" y="108"/>
                    </a:lnTo>
                    <a:lnTo>
                      <a:pt x="642" y="104"/>
                    </a:lnTo>
                    <a:lnTo>
                      <a:pt x="642" y="104"/>
                    </a:lnTo>
                    <a:lnTo>
                      <a:pt x="636" y="98"/>
                    </a:lnTo>
                    <a:lnTo>
                      <a:pt x="626" y="96"/>
                    </a:lnTo>
                    <a:lnTo>
                      <a:pt x="614" y="94"/>
                    </a:lnTo>
                    <a:lnTo>
                      <a:pt x="600" y="96"/>
                    </a:lnTo>
                    <a:lnTo>
                      <a:pt x="560" y="98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480" y="110"/>
                    </a:lnTo>
                    <a:lnTo>
                      <a:pt x="464" y="114"/>
                    </a:lnTo>
                    <a:lnTo>
                      <a:pt x="454" y="120"/>
                    </a:lnTo>
                    <a:lnTo>
                      <a:pt x="446" y="124"/>
                    </a:lnTo>
                    <a:lnTo>
                      <a:pt x="442" y="126"/>
                    </a:lnTo>
                    <a:lnTo>
                      <a:pt x="438" y="128"/>
                    </a:lnTo>
                    <a:lnTo>
                      <a:pt x="430" y="126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02" y="118"/>
                    </a:lnTo>
                    <a:lnTo>
                      <a:pt x="390" y="118"/>
                    </a:lnTo>
                    <a:lnTo>
                      <a:pt x="382" y="118"/>
                    </a:lnTo>
                    <a:lnTo>
                      <a:pt x="374" y="120"/>
                    </a:lnTo>
                    <a:lnTo>
                      <a:pt x="368" y="122"/>
                    </a:lnTo>
                    <a:lnTo>
                      <a:pt x="362" y="122"/>
                    </a:lnTo>
                    <a:lnTo>
                      <a:pt x="354" y="120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38" y="110"/>
                    </a:lnTo>
                    <a:lnTo>
                      <a:pt x="332" y="108"/>
                    </a:lnTo>
                    <a:lnTo>
                      <a:pt x="330" y="110"/>
                    </a:lnTo>
                    <a:lnTo>
                      <a:pt x="328" y="114"/>
                    </a:lnTo>
                    <a:lnTo>
                      <a:pt x="328" y="118"/>
                    </a:lnTo>
                    <a:lnTo>
                      <a:pt x="326" y="122"/>
                    </a:lnTo>
                    <a:lnTo>
                      <a:pt x="324" y="124"/>
                    </a:lnTo>
                    <a:lnTo>
                      <a:pt x="318" y="122"/>
                    </a:lnTo>
                    <a:lnTo>
                      <a:pt x="318" y="122"/>
                    </a:lnTo>
                    <a:lnTo>
                      <a:pt x="312" y="118"/>
                    </a:lnTo>
                    <a:lnTo>
                      <a:pt x="310" y="116"/>
                    </a:lnTo>
                    <a:lnTo>
                      <a:pt x="310" y="112"/>
                    </a:lnTo>
                    <a:lnTo>
                      <a:pt x="310" y="110"/>
                    </a:lnTo>
                    <a:lnTo>
                      <a:pt x="312" y="106"/>
                    </a:lnTo>
                    <a:lnTo>
                      <a:pt x="310" y="102"/>
                    </a:lnTo>
                    <a:lnTo>
                      <a:pt x="308" y="96"/>
                    </a:lnTo>
                    <a:lnTo>
                      <a:pt x="300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6" y="82"/>
                    </a:lnTo>
                    <a:lnTo>
                      <a:pt x="280" y="82"/>
                    </a:lnTo>
                    <a:lnTo>
                      <a:pt x="276" y="82"/>
                    </a:lnTo>
                    <a:lnTo>
                      <a:pt x="268" y="84"/>
                    </a:lnTo>
                    <a:lnTo>
                      <a:pt x="266" y="82"/>
                    </a:lnTo>
                    <a:lnTo>
                      <a:pt x="264" y="78"/>
                    </a:lnTo>
                    <a:lnTo>
                      <a:pt x="264" y="78"/>
                    </a:lnTo>
                    <a:lnTo>
                      <a:pt x="262" y="76"/>
                    </a:lnTo>
                    <a:lnTo>
                      <a:pt x="264" y="74"/>
                    </a:lnTo>
                    <a:lnTo>
                      <a:pt x="270" y="72"/>
                    </a:lnTo>
                    <a:lnTo>
                      <a:pt x="290" y="72"/>
                    </a:lnTo>
                    <a:lnTo>
                      <a:pt x="308" y="74"/>
                    </a:lnTo>
                    <a:lnTo>
                      <a:pt x="314" y="72"/>
                    </a:lnTo>
                    <a:lnTo>
                      <a:pt x="316" y="70"/>
                    </a:lnTo>
                    <a:lnTo>
                      <a:pt x="316" y="66"/>
                    </a:lnTo>
                    <a:lnTo>
                      <a:pt x="316" y="66"/>
                    </a:lnTo>
                    <a:lnTo>
                      <a:pt x="314" y="62"/>
                    </a:lnTo>
                    <a:lnTo>
                      <a:pt x="308" y="58"/>
                    </a:lnTo>
                    <a:lnTo>
                      <a:pt x="296" y="56"/>
                    </a:lnTo>
                    <a:lnTo>
                      <a:pt x="278" y="52"/>
                    </a:lnTo>
                    <a:lnTo>
                      <a:pt x="268" y="48"/>
                    </a:lnTo>
                    <a:lnTo>
                      <a:pt x="258" y="44"/>
                    </a:lnTo>
                    <a:lnTo>
                      <a:pt x="258" y="44"/>
                    </a:lnTo>
                    <a:lnTo>
                      <a:pt x="240" y="34"/>
                    </a:lnTo>
                    <a:lnTo>
                      <a:pt x="232" y="32"/>
                    </a:lnTo>
                    <a:lnTo>
                      <a:pt x="224" y="30"/>
                    </a:lnTo>
                    <a:lnTo>
                      <a:pt x="204" y="32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70" y="36"/>
                    </a:lnTo>
                    <a:lnTo>
                      <a:pt x="162" y="34"/>
                    </a:lnTo>
                    <a:lnTo>
                      <a:pt x="154" y="30"/>
                    </a:lnTo>
                    <a:lnTo>
                      <a:pt x="148" y="24"/>
                    </a:lnTo>
                    <a:lnTo>
                      <a:pt x="136" y="14"/>
                    </a:lnTo>
                    <a:lnTo>
                      <a:pt x="130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14" y="10"/>
                    </a:lnTo>
                    <a:lnTo>
                      <a:pt x="104" y="10"/>
                    </a:lnTo>
                    <a:lnTo>
                      <a:pt x="78" y="6"/>
                    </a:lnTo>
                    <a:lnTo>
                      <a:pt x="4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0" y="2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6" y="38"/>
                    </a:lnTo>
                    <a:lnTo>
                      <a:pt x="36" y="42"/>
                    </a:lnTo>
                    <a:lnTo>
                      <a:pt x="50" y="48"/>
                    </a:lnTo>
                    <a:lnTo>
                      <a:pt x="58" y="52"/>
                    </a:lnTo>
                    <a:lnTo>
                      <a:pt x="62" y="56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66"/>
                    </a:lnTo>
                    <a:lnTo>
                      <a:pt x="70" y="68"/>
                    </a:lnTo>
                    <a:lnTo>
                      <a:pt x="78" y="70"/>
                    </a:lnTo>
                    <a:lnTo>
                      <a:pt x="88" y="70"/>
                    </a:lnTo>
                    <a:lnTo>
                      <a:pt x="112" y="66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60" y="60"/>
                    </a:lnTo>
                    <a:lnTo>
                      <a:pt x="166" y="62"/>
                    </a:lnTo>
                    <a:lnTo>
                      <a:pt x="170" y="66"/>
                    </a:lnTo>
                    <a:lnTo>
                      <a:pt x="180" y="78"/>
                    </a:lnTo>
                    <a:lnTo>
                      <a:pt x="186" y="8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198" y="94"/>
                    </a:lnTo>
                    <a:lnTo>
                      <a:pt x="202" y="98"/>
                    </a:lnTo>
                    <a:lnTo>
                      <a:pt x="202" y="102"/>
                    </a:lnTo>
                    <a:lnTo>
                      <a:pt x="202" y="106"/>
                    </a:lnTo>
                    <a:lnTo>
                      <a:pt x="200" y="114"/>
                    </a:lnTo>
                    <a:lnTo>
                      <a:pt x="194" y="120"/>
                    </a:lnTo>
                    <a:lnTo>
                      <a:pt x="190" y="128"/>
                    </a:lnTo>
                    <a:lnTo>
                      <a:pt x="186" y="134"/>
                    </a:lnTo>
                    <a:lnTo>
                      <a:pt x="184" y="140"/>
                    </a:lnTo>
                    <a:lnTo>
                      <a:pt x="186" y="142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6" y="150"/>
                    </a:lnTo>
                    <a:lnTo>
                      <a:pt x="198" y="154"/>
                    </a:lnTo>
                    <a:lnTo>
                      <a:pt x="200" y="164"/>
                    </a:lnTo>
                    <a:lnTo>
                      <a:pt x="200" y="170"/>
                    </a:lnTo>
                    <a:lnTo>
                      <a:pt x="202" y="176"/>
                    </a:lnTo>
                    <a:lnTo>
                      <a:pt x="206" y="182"/>
                    </a:lnTo>
                    <a:lnTo>
                      <a:pt x="216" y="186"/>
                    </a:lnTo>
                    <a:lnTo>
                      <a:pt x="216" y="186"/>
                    </a:lnTo>
                    <a:lnTo>
                      <a:pt x="224" y="190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4" y="186"/>
                    </a:lnTo>
                    <a:lnTo>
                      <a:pt x="250" y="186"/>
                    </a:lnTo>
                    <a:lnTo>
                      <a:pt x="260" y="188"/>
                    </a:lnTo>
                    <a:lnTo>
                      <a:pt x="274" y="194"/>
                    </a:lnTo>
                    <a:lnTo>
                      <a:pt x="274" y="194"/>
                    </a:lnTo>
                    <a:lnTo>
                      <a:pt x="282" y="198"/>
                    </a:lnTo>
                    <a:lnTo>
                      <a:pt x="290" y="198"/>
                    </a:lnTo>
                    <a:lnTo>
                      <a:pt x="304" y="198"/>
                    </a:lnTo>
                    <a:lnTo>
                      <a:pt x="316" y="194"/>
                    </a:lnTo>
                    <a:lnTo>
                      <a:pt x="326" y="188"/>
                    </a:lnTo>
                    <a:lnTo>
                      <a:pt x="340" y="180"/>
                    </a:lnTo>
                    <a:lnTo>
                      <a:pt x="342" y="180"/>
                    </a:lnTo>
                    <a:lnTo>
                      <a:pt x="342" y="180"/>
                    </a:lnTo>
                    <a:lnTo>
                      <a:pt x="342" y="188"/>
                    </a:lnTo>
                    <a:lnTo>
                      <a:pt x="342" y="18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4" name="Freeform 6103">
                <a:extLst>
                  <a:ext uri="{FF2B5EF4-FFF2-40B4-BE49-F238E27FC236}">
                    <a16:creationId xmlns:a16="http://schemas.microsoft.com/office/drawing/2014/main" id="{08EF827A-EF16-4A46-B20C-3D6E94106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5" name="Freeform 6104">
                <a:extLst>
                  <a:ext uri="{FF2B5EF4-FFF2-40B4-BE49-F238E27FC236}">
                    <a16:creationId xmlns:a16="http://schemas.microsoft.com/office/drawing/2014/main" id="{882845AC-636F-4550-AA3B-1FED6B549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0560" y="1010603"/>
                <a:ext cx="80010" cy="19050"/>
              </a:xfrm>
              <a:custGeom>
                <a:avLst/>
                <a:gdLst/>
                <a:ahLst/>
                <a:cxnLst>
                  <a:cxn ang="0">
                    <a:pos x="92" y="28"/>
                  </a:cxn>
                  <a:cxn ang="0">
                    <a:pos x="92" y="28"/>
                  </a:cxn>
                  <a:cxn ang="0">
                    <a:pos x="108" y="28"/>
                  </a:cxn>
                  <a:cxn ang="0">
                    <a:pos x="120" y="26"/>
                  </a:cxn>
                  <a:cxn ang="0">
                    <a:pos x="124" y="22"/>
                  </a:cxn>
                  <a:cxn ang="0">
                    <a:pos x="126" y="20"/>
                  </a:cxn>
                  <a:cxn ang="0">
                    <a:pos x="126" y="16"/>
                  </a:cxn>
                  <a:cxn ang="0">
                    <a:pos x="122" y="12"/>
                  </a:cxn>
                  <a:cxn ang="0">
                    <a:pos x="112" y="8"/>
                  </a:cxn>
                  <a:cxn ang="0">
                    <a:pos x="100" y="4"/>
                  </a:cxn>
                  <a:cxn ang="0">
                    <a:pos x="82" y="2"/>
                  </a:cxn>
                  <a:cxn ang="0">
                    <a:pos x="82" y="2"/>
                  </a:cxn>
                  <a:cxn ang="0">
                    <a:pos x="48" y="0"/>
                  </a:cxn>
                  <a:cxn ang="0">
                    <a:pos x="22" y="4"/>
                  </a:cxn>
                  <a:cxn ang="0">
                    <a:pos x="14" y="6"/>
                  </a:cxn>
                  <a:cxn ang="0">
                    <a:pos x="6" y="8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6" y="28"/>
                  </a:cxn>
                  <a:cxn ang="0">
                    <a:pos x="26" y="30"/>
                  </a:cxn>
                  <a:cxn ang="0">
                    <a:pos x="56" y="28"/>
                  </a:cxn>
                  <a:cxn ang="0">
                    <a:pos x="92" y="28"/>
                  </a:cxn>
                  <a:cxn ang="0">
                    <a:pos x="92" y="28"/>
                  </a:cxn>
                </a:cxnLst>
                <a:rect l="0" t="0" r="r" b="b"/>
                <a:pathLst>
                  <a:path w="126" h="30">
                    <a:moveTo>
                      <a:pt x="92" y="28"/>
                    </a:moveTo>
                    <a:lnTo>
                      <a:pt x="92" y="28"/>
                    </a:lnTo>
                    <a:lnTo>
                      <a:pt x="108" y="28"/>
                    </a:lnTo>
                    <a:lnTo>
                      <a:pt x="120" y="26"/>
                    </a:lnTo>
                    <a:lnTo>
                      <a:pt x="124" y="22"/>
                    </a:lnTo>
                    <a:lnTo>
                      <a:pt x="126" y="20"/>
                    </a:lnTo>
                    <a:lnTo>
                      <a:pt x="126" y="16"/>
                    </a:lnTo>
                    <a:lnTo>
                      <a:pt x="122" y="12"/>
                    </a:lnTo>
                    <a:lnTo>
                      <a:pt x="112" y="8"/>
                    </a:lnTo>
                    <a:lnTo>
                      <a:pt x="100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48" y="0"/>
                    </a:lnTo>
                    <a:lnTo>
                      <a:pt x="22" y="4"/>
                    </a:lnTo>
                    <a:lnTo>
                      <a:pt x="14" y="6"/>
                    </a:lnTo>
                    <a:lnTo>
                      <a:pt x="6" y="8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6" y="28"/>
                    </a:lnTo>
                    <a:lnTo>
                      <a:pt x="26" y="30"/>
                    </a:lnTo>
                    <a:lnTo>
                      <a:pt x="56" y="28"/>
                    </a:lnTo>
                    <a:lnTo>
                      <a:pt x="92" y="28"/>
                    </a:lnTo>
                    <a:lnTo>
                      <a:pt x="92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6" name="Freeform 6105">
                <a:extLst>
                  <a:ext uri="{FF2B5EF4-FFF2-40B4-BE49-F238E27FC236}">
                    <a16:creationId xmlns:a16="http://schemas.microsoft.com/office/drawing/2014/main" id="{99DFDB14-0308-471C-93C6-DA79A0167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7" name="Freeform 6106">
                <a:extLst>
                  <a:ext uri="{FF2B5EF4-FFF2-40B4-BE49-F238E27FC236}">
                    <a16:creationId xmlns:a16="http://schemas.microsoft.com/office/drawing/2014/main" id="{0445270A-BA84-48FF-90B1-1AB3DFAC95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400" y="727393"/>
                <a:ext cx="784860" cy="367030"/>
              </a:xfrm>
              <a:custGeom>
                <a:avLst/>
                <a:gdLst/>
                <a:ahLst/>
                <a:cxnLst>
                  <a:cxn ang="0">
                    <a:pos x="68" y="162"/>
                  </a:cxn>
                  <a:cxn ang="0">
                    <a:pos x="122" y="204"/>
                  </a:cxn>
                  <a:cxn ang="0">
                    <a:pos x="246" y="182"/>
                  </a:cxn>
                  <a:cxn ang="0">
                    <a:pos x="202" y="210"/>
                  </a:cxn>
                  <a:cxn ang="0">
                    <a:pos x="334" y="210"/>
                  </a:cxn>
                  <a:cxn ang="0">
                    <a:pos x="494" y="186"/>
                  </a:cxn>
                  <a:cxn ang="0">
                    <a:pos x="540" y="190"/>
                  </a:cxn>
                  <a:cxn ang="0">
                    <a:pos x="450" y="222"/>
                  </a:cxn>
                  <a:cxn ang="0">
                    <a:pos x="402" y="274"/>
                  </a:cxn>
                  <a:cxn ang="0">
                    <a:pos x="402" y="298"/>
                  </a:cxn>
                  <a:cxn ang="0">
                    <a:pos x="246" y="240"/>
                  </a:cxn>
                  <a:cxn ang="0">
                    <a:pos x="226" y="284"/>
                  </a:cxn>
                  <a:cxn ang="0">
                    <a:pos x="296" y="336"/>
                  </a:cxn>
                  <a:cxn ang="0">
                    <a:pos x="336" y="356"/>
                  </a:cxn>
                  <a:cxn ang="0">
                    <a:pos x="298" y="364"/>
                  </a:cxn>
                  <a:cxn ang="0">
                    <a:pos x="168" y="410"/>
                  </a:cxn>
                  <a:cxn ang="0">
                    <a:pos x="226" y="422"/>
                  </a:cxn>
                  <a:cxn ang="0">
                    <a:pos x="256" y="440"/>
                  </a:cxn>
                  <a:cxn ang="0">
                    <a:pos x="330" y="460"/>
                  </a:cxn>
                  <a:cxn ang="0">
                    <a:pos x="342" y="464"/>
                  </a:cxn>
                  <a:cxn ang="0">
                    <a:pos x="238" y="460"/>
                  </a:cxn>
                  <a:cxn ang="0">
                    <a:pos x="140" y="450"/>
                  </a:cxn>
                  <a:cxn ang="0">
                    <a:pos x="160" y="502"/>
                  </a:cxn>
                  <a:cxn ang="0">
                    <a:pos x="92" y="546"/>
                  </a:cxn>
                  <a:cxn ang="0">
                    <a:pos x="146" y="562"/>
                  </a:cxn>
                  <a:cxn ang="0">
                    <a:pos x="244" y="562"/>
                  </a:cxn>
                  <a:cxn ang="0">
                    <a:pos x="322" y="552"/>
                  </a:cxn>
                  <a:cxn ang="0">
                    <a:pos x="438" y="548"/>
                  </a:cxn>
                  <a:cxn ang="0">
                    <a:pos x="462" y="578"/>
                  </a:cxn>
                  <a:cxn ang="0">
                    <a:pos x="560" y="538"/>
                  </a:cxn>
                  <a:cxn ang="0">
                    <a:pos x="518" y="514"/>
                  </a:cxn>
                  <a:cxn ang="0">
                    <a:pos x="550" y="472"/>
                  </a:cxn>
                  <a:cxn ang="0">
                    <a:pos x="550" y="432"/>
                  </a:cxn>
                  <a:cxn ang="0">
                    <a:pos x="668" y="402"/>
                  </a:cxn>
                  <a:cxn ang="0">
                    <a:pos x="684" y="372"/>
                  </a:cxn>
                  <a:cxn ang="0">
                    <a:pos x="686" y="348"/>
                  </a:cxn>
                  <a:cxn ang="0">
                    <a:pos x="658" y="326"/>
                  </a:cxn>
                  <a:cxn ang="0">
                    <a:pos x="588" y="318"/>
                  </a:cxn>
                  <a:cxn ang="0">
                    <a:pos x="752" y="284"/>
                  </a:cxn>
                  <a:cxn ang="0">
                    <a:pos x="832" y="278"/>
                  </a:cxn>
                  <a:cxn ang="0">
                    <a:pos x="1076" y="154"/>
                  </a:cxn>
                  <a:cxn ang="0">
                    <a:pos x="1000" y="142"/>
                  </a:cxn>
                  <a:cxn ang="0">
                    <a:pos x="1232" y="76"/>
                  </a:cxn>
                  <a:cxn ang="0">
                    <a:pos x="1168" y="54"/>
                  </a:cxn>
                  <a:cxn ang="0">
                    <a:pos x="1094" y="20"/>
                  </a:cxn>
                  <a:cxn ang="0">
                    <a:pos x="962" y="40"/>
                  </a:cxn>
                  <a:cxn ang="0">
                    <a:pos x="1006" y="20"/>
                  </a:cxn>
                  <a:cxn ang="0">
                    <a:pos x="858" y="2"/>
                  </a:cxn>
                  <a:cxn ang="0">
                    <a:pos x="690" y="10"/>
                  </a:cxn>
                  <a:cxn ang="0">
                    <a:pos x="500" y="14"/>
                  </a:cxn>
                  <a:cxn ang="0">
                    <a:pos x="412" y="24"/>
                  </a:cxn>
                  <a:cxn ang="0">
                    <a:pos x="392" y="42"/>
                  </a:cxn>
                  <a:cxn ang="0">
                    <a:pos x="340" y="70"/>
                  </a:cxn>
                  <a:cxn ang="0">
                    <a:pos x="264" y="52"/>
                  </a:cxn>
                  <a:cxn ang="0">
                    <a:pos x="224" y="76"/>
                  </a:cxn>
                  <a:cxn ang="0">
                    <a:pos x="248" y="98"/>
                  </a:cxn>
                  <a:cxn ang="0">
                    <a:pos x="130" y="92"/>
                  </a:cxn>
                  <a:cxn ang="0">
                    <a:pos x="50" y="104"/>
                  </a:cxn>
                  <a:cxn ang="0">
                    <a:pos x="12" y="144"/>
                  </a:cxn>
                </a:cxnLst>
                <a:rect l="0" t="0" r="r" b="b"/>
                <a:pathLst>
                  <a:path w="1236" h="578">
                    <a:moveTo>
                      <a:pt x="44" y="148"/>
                    </a:moveTo>
                    <a:lnTo>
                      <a:pt x="44" y="148"/>
                    </a:lnTo>
                    <a:lnTo>
                      <a:pt x="50" y="150"/>
                    </a:lnTo>
                    <a:lnTo>
                      <a:pt x="58" y="152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4" y="156"/>
                    </a:lnTo>
                    <a:lnTo>
                      <a:pt x="68" y="162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62" y="178"/>
                    </a:lnTo>
                    <a:lnTo>
                      <a:pt x="66" y="182"/>
                    </a:lnTo>
                    <a:lnTo>
                      <a:pt x="72" y="186"/>
                    </a:lnTo>
                    <a:lnTo>
                      <a:pt x="82" y="190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108" y="200"/>
                    </a:lnTo>
                    <a:lnTo>
                      <a:pt x="122" y="204"/>
                    </a:lnTo>
                    <a:lnTo>
                      <a:pt x="144" y="212"/>
                    </a:lnTo>
                    <a:lnTo>
                      <a:pt x="156" y="216"/>
                    </a:lnTo>
                    <a:lnTo>
                      <a:pt x="166" y="214"/>
                    </a:lnTo>
                    <a:lnTo>
                      <a:pt x="178" y="212"/>
                    </a:lnTo>
                    <a:lnTo>
                      <a:pt x="192" y="204"/>
                    </a:lnTo>
                    <a:lnTo>
                      <a:pt x="192" y="204"/>
                    </a:lnTo>
                    <a:lnTo>
                      <a:pt x="206" y="194"/>
                    </a:lnTo>
                    <a:lnTo>
                      <a:pt x="222" y="188"/>
                    </a:lnTo>
                    <a:lnTo>
                      <a:pt x="234" y="184"/>
                    </a:lnTo>
                    <a:lnTo>
                      <a:pt x="246" y="182"/>
                    </a:lnTo>
                    <a:lnTo>
                      <a:pt x="254" y="182"/>
                    </a:lnTo>
                    <a:lnTo>
                      <a:pt x="258" y="182"/>
                    </a:lnTo>
                    <a:lnTo>
                      <a:pt x="256" y="184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24" y="194"/>
                    </a:lnTo>
                    <a:lnTo>
                      <a:pt x="212" y="200"/>
                    </a:lnTo>
                    <a:lnTo>
                      <a:pt x="204" y="206"/>
                    </a:lnTo>
                    <a:lnTo>
                      <a:pt x="202" y="208"/>
                    </a:lnTo>
                    <a:lnTo>
                      <a:pt x="202" y="210"/>
                    </a:lnTo>
                    <a:lnTo>
                      <a:pt x="204" y="214"/>
                    </a:lnTo>
                    <a:lnTo>
                      <a:pt x="208" y="216"/>
                    </a:lnTo>
                    <a:lnTo>
                      <a:pt x="224" y="220"/>
                    </a:lnTo>
                    <a:lnTo>
                      <a:pt x="254" y="224"/>
                    </a:lnTo>
                    <a:lnTo>
                      <a:pt x="254" y="224"/>
                    </a:lnTo>
                    <a:lnTo>
                      <a:pt x="284" y="224"/>
                    </a:lnTo>
                    <a:lnTo>
                      <a:pt x="304" y="224"/>
                    </a:lnTo>
                    <a:lnTo>
                      <a:pt x="318" y="220"/>
                    </a:lnTo>
                    <a:lnTo>
                      <a:pt x="326" y="216"/>
                    </a:lnTo>
                    <a:lnTo>
                      <a:pt x="334" y="210"/>
                    </a:lnTo>
                    <a:lnTo>
                      <a:pt x="338" y="210"/>
                    </a:lnTo>
                    <a:lnTo>
                      <a:pt x="346" y="214"/>
                    </a:lnTo>
                    <a:lnTo>
                      <a:pt x="346" y="214"/>
                    </a:lnTo>
                    <a:lnTo>
                      <a:pt x="358" y="218"/>
                    </a:lnTo>
                    <a:lnTo>
                      <a:pt x="374" y="218"/>
                    </a:lnTo>
                    <a:lnTo>
                      <a:pt x="394" y="216"/>
                    </a:lnTo>
                    <a:lnTo>
                      <a:pt x="418" y="212"/>
                    </a:lnTo>
                    <a:lnTo>
                      <a:pt x="442" y="206"/>
                    </a:lnTo>
                    <a:lnTo>
                      <a:pt x="468" y="196"/>
                    </a:lnTo>
                    <a:lnTo>
                      <a:pt x="494" y="186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46" y="160"/>
                    </a:lnTo>
                    <a:lnTo>
                      <a:pt x="544" y="162"/>
                    </a:lnTo>
                    <a:lnTo>
                      <a:pt x="540" y="168"/>
                    </a:lnTo>
                    <a:lnTo>
                      <a:pt x="536" y="176"/>
                    </a:lnTo>
                    <a:lnTo>
                      <a:pt x="534" y="180"/>
                    </a:lnTo>
                    <a:lnTo>
                      <a:pt x="534" y="184"/>
                    </a:lnTo>
                    <a:lnTo>
                      <a:pt x="536" y="186"/>
                    </a:lnTo>
                    <a:lnTo>
                      <a:pt x="540" y="190"/>
                    </a:lnTo>
                    <a:lnTo>
                      <a:pt x="548" y="192"/>
                    </a:lnTo>
                    <a:lnTo>
                      <a:pt x="558" y="192"/>
                    </a:lnTo>
                    <a:lnTo>
                      <a:pt x="558" y="192"/>
                    </a:lnTo>
                    <a:lnTo>
                      <a:pt x="576" y="194"/>
                    </a:lnTo>
                    <a:lnTo>
                      <a:pt x="584" y="196"/>
                    </a:lnTo>
                    <a:lnTo>
                      <a:pt x="584" y="196"/>
                    </a:lnTo>
                    <a:lnTo>
                      <a:pt x="580" y="198"/>
                    </a:lnTo>
                    <a:lnTo>
                      <a:pt x="570" y="200"/>
                    </a:lnTo>
                    <a:lnTo>
                      <a:pt x="524" y="208"/>
                    </a:lnTo>
                    <a:lnTo>
                      <a:pt x="450" y="222"/>
                    </a:lnTo>
                    <a:lnTo>
                      <a:pt x="450" y="222"/>
                    </a:lnTo>
                    <a:lnTo>
                      <a:pt x="388" y="236"/>
                    </a:lnTo>
                    <a:lnTo>
                      <a:pt x="370" y="238"/>
                    </a:lnTo>
                    <a:lnTo>
                      <a:pt x="360" y="242"/>
                    </a:lnTo>
                    <a:lnTo>
                      <a:pt x="358" y="242"/>
                    </a:lnTo>
                    <a:lnTo>
                      <a:pt x="358" y="244"/>
                    </a:lnTo>
                    <a:lnTo>
                      <a:pt x="362" y="248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402" y="274"/>
                    </a:lnTo>
                    <a:lnTo>
                      <a:pt x="418" y="282"/>
                    </a:lnTo>
                    <a:lnTo>
                      <a:pt x="442" y="292"/>
                    </a:lnTo>
                    <a:lnTo>
                      <a:pt x="450" y="296"/>
                    </a:lnTo>
                    <a:lnTo>
                      <a:pt x="452" y="298"/>
                    </a:lnTo>
                    <a:lnTo>
                      <a:pt x="448" y="302"/>
                    </a:lnTo>
                    <a:lnTo>
                      <a:pt x="436" y="304"/>
                    </a:lnTo>
                    <a:lnTo>
                      <a:pt x="436" y="304"/>
                    </a:lnTo>
                    <a:lnTo>
                      <a:pt x="422" y="304"/>
                    </a:lnTo>
                    <a:lnTo>
                      <a:pt x="410" y="302"/>
                    </a:lnTo>
                    <a:lnTo>
                      <a:pt x="402" y="298"/>
                    </a:lnTo>
                    <a:lnTo>
                      <a:pt x="394" y="292"/>
                    </a:lnTo>
                    <a:lnTo>
                      <a:pt x="378" y="276"/>
                    </a:lnTo>
                    <a:lnTo>
                      <a:pt x="368" y="268"/>
                    </a:lnTo>
                    <a:lnTo>
                      <a:pt x="356" y="260"/>
                    </a:lnTo>
                    <a:lnTo>
                      <a:pt x="356" y="260"/>
                    </a:lnTo>
                    <a:lnTo>
                      <a:pt x="338" y="254"/>
                    </a:lnTo>
                    <a:lnTo>
                      <a:pt x="316" y="248"/>
                    </a:lnTo>
                    <a:lnTo>
                      <a:pt x="292" y="244"/>
                    </a:lnTo>
                    <a:lnTo>
                      <a:pt x="268" y="242"/>
                    </a:lnTo>
                    <a:lnTo>
                      <a:pt x="246" y="240"/>
                    </a:lnTo>
                    <a:lnTo>
                      <a:pt x="228" y="242"/>
                    </a:lnTo>
                    <a:lnTo>
                      <a:pt x="220" y="244"/>
                    </a:lnTo>
                    <a:lnTo>
                      <a:pt x="216" y="246"/>
                    </a:lnTo>
                    <a:lnTo>
                      <a:pt x="212" y="250"/>
                    </a:lnTo>
                    <a:lnTo>
                      <a:pt x="210" y="254"/>
                    </a:lnTo>
                    <a:lnTo>
                      <a:pt x="210" y="254"/>
                    </a:lnTo>
                    <a:lnTo>
                      <a:pt x="210" y="270"/>
                    </a:lnTo>
                    <a:lnTo>
                      <a:pt x="212" y="274"/>
                    </a:lnTo>
                    <a:lnTo>
                      <a:pt x="214" y="278"/>
                    </a:lnTo>
                    <a:lnTo>
                      <a:pt x="226" y="284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62" y="298"/>
                    </a:lnTo>
                    <a:lnTo>
                      <a:pt x="276" y="304"/>
                    </a:lnTo>
                    <a:lnTo>
                      <a:pt x="294" y="318"/>
                    </a:lnTo>
                    <a:lnTo>
                      <a:pt x="300" y="326"/>
                    </a:lnTo>
                    <a:lnTo>
                      <a:pt x="302" y="330"/>
                    </a:lnTo>
                    <a:lnTo>
                      <a:pt x="302" y="334"/>
                    </a:lnTo>
                    <a:lnTo>
                      <a:pt x="296" y="336"/>
                    </a:lnTo>
                    <a:lnTo>
                      <a:pt x="296" y="336"/>
                    </a:lnTo>
                    <a:lnTo>
                      <a:pt x="290" y="338"/>
                    </a:lnTo>
                    <a:lnTo>
                      <a:pt x="286" y="340"/>
                    </a:lnTo>
                    <a:lnTo>
                      <a:pt x="284" y="344"/>
                    </a:lnTo>
                    <a:lnTo>
                      <a:pt x="286" y="346"/>
                    </a:lnTo>
                    <a:lnTo>
                      <a:pt x="290" y="348"/>
                    </a:lnTo>
                    <a:lnTo>
                      <a:pt x="296" y="352"/>
                    </a:lnTo>
                    <a:lnTo>
                      <a:pt x="308" y="354"/>
                    </a:lnTo>
                    <a:lnTo>
                      <a:pt x="320" y="356"/>
                    </a:lnTo>
                    <a:lnTo>
                      <a:pt x="320" y="356"/>
                    </a:lnTo>
                    <a:lnTo>
                      <a:pt x="336" y="356"/>
                    </a:lnTo>
                    <a:lnTo>
                      <a:pt x="348" y="360"/>
                    </a:lnTo>
                    <a:lnTo>
                      <a:pt x="356" y="362"/>
                    </a:lnTo>
                    <a:lnTo>
                      <a:pt x="362" y="366"/>
                    </a:lnTo>
                    <a:lnTo>
                      <a:pt x="364" y="368"/>
                    </a:lnTo>
                    <a:lnTo>
                      <a:pt x="360" y="368"/>
                    </a:lnTo>
                    <a:lnTo>
                      <a:pt x="352" y="368"/>
                    </a:lnTo>
                    <a:lnTo>
                      <a:pt x="340" y="368"/>
                    </a:lnTo>
                    <a:lnTo>
                      <a:pt x="340" y="368"/>
                    </a:lnTo>
                    <a:lnTo>
                      <a:pt x="320" y="366"/>
                    </a:lnTo>
                    <a:lnTo>
                      <a:pt x="298" y="364"/>
                    </a:lnTo>
                    <a:lnTo>
                      <a:pt x="250" y="366"/>
                    </a:lnTo>
                    <a:lnTo>
                      <a:pt x="228" y="368"/>
                    </a:lnTo>
                    <a:lnTo>
                      <a:pt x="208" y="372"/>
                    </a:lnTo>
                    <a:lnTo>
                      <a:pt x="192" y="376"/>
                    </a:lnTo>
                    <a:lnTo>
                      <a:pt x="182" y="382"/>
                    </a:lnTo>
                    <a:lnTo>
                      <a:pt x="182" y="382"/>
                    </a:lnTo>
                    <a:lnTo>
                      <a:pt x="176" y="388"/>
                    </a:lnTo>
                    <a:lnTo>
                      <a:pt x="172" y="394"/>
                    </a:lnTo>
                    <a:lnTo>
                      <a:pt x="170" y="402"/>
                    </a:lnTo>
                    <a:lnTo>
                      <a:pt x="168" y="410"/>
                    </a:lnTo>
                    <a:lnTo>
                      <a:pt x="170" y="416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6" y="420"/>
                    </a:lnTo>
                    <a:lnTo>
                      <a:pt x="196" y="420"/>
                    </a:lnTo>
                    <a:lnTo>
                      <a:pt x="208" y="418"/>
                    </a:lnTo>
                    <a:lnTo>
                      <a:pt x="216" y="418"/>
                    </a:lnTo>
                    <a:lnTo>
                      <a:pt x="220" y="418"/>
                    </a:lnTo>
                    <a:lnTo>
                      <a:pt x="224" y="420"/>
                    </a:lnTo>
                    <a:lnTo>
                      <a:pt x="226" y="422"/>
                    </a:lnTo>
                    <a:lnTo>
                      <a:pt x="230" y="424"/>
                    </a:lnTo>
                    <a:lnTo>
                      <a:pt x="236" y="424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56" y="422"/>
                    </a:lnTo>
                    <a:lnTo>
                      <a:pt x="260" y="422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58" y="434"/>
                    </a:lnTo>
                    <a:lnTo>
                      <a:pt x="256" y="440"/>
                    </a:lnTo>
                    <a:lnTo>
                      <a:pt x="258" y="450"/>
                    </a:lnTo>
                    <a:lnTo>
                      <a:pt x="266" y="460"/>
                    </a:lnTo>
                    <a:lnTo>
                      <a:pt x="266" y="460"/>
                    </a:lnTo>
                    <a:lnTo>
                      <a:pt x="270" y="464"/>
                    </a:lnTo>
                    <a:lnTo>
                      <a:pt x="276" y="468"/>
                    </a:lnTo>
                    <a:lnTo>
                      <a:pt x="282" y="470"/>
                    </a:lnTo>
                    <a:lnTo>
                      <a:pt x="288" y="472"/>
                    </a:lnTo>
                    <a:lnTo>
                      <a:pt x="302" y="470"/>
                    </a:lnTo>
                    <a:lnTo>
                      <a:pt x="316" y="466"/>
                    </a:lnTo>
                    <a:lnTo>
                      <a:pt x="330" y="460"/>
                    </a:lnTo>
                    <a:lnTo>
                      <a:pt x="342" y="450"/>
                    </a:lnTo>
                    <a:lnTo>
                      <a:pt x="354" y="442"/>
                    </a:lnTo>
                    <a:lnTo>
                      <a:pt x="366" y="432"/>
                    </a:lnTo>
                    <a:lnTo>
                      <a:pt x="366" y="432"/>
                    </a:lnTo>
                    <a:lnTo>
                      <a:pt x="372" y="426"/>
                    </a:lnTo>
                    <a:lnTo>
                      <a:pt x="372" y="428"/>
                    </a:lnTo>
                    <a:lnTo>
                      <a:pt x="372" y="430"/>
                    </a:lnTo>
                    <a:lnTo>
                      <a:pt x="366" y="440"/>
                    </a:lnTo>
                    <a:lnTo>
                      <a:pt x="356" y="452"/>
                    </a:lnTo>
                    <a:lnTo>
                      <a:pt x="342" y="464"/>
                    </a:lnTo>
                    <a:lnTo>
                      <a:pt x="326" y="476"/>
                    </a:lnTo>
                    <a:lnTo>
                      <a:pt x="316" y="482"/>
                    </a:lnTo>
                    <a:lnTo>
                      <a:pt x="306" y="484"/>
                    </a:lnTo>
                    <a:lnTo>
                      <a:pt x="296" y="486"/>
                    </a:lnTo>
                    <a:lnTo>
                      <a:pt x="286" y="486"/>
                    </a:lnTo>
                    <a:lnTo>
                      <a:pt x="286" y="486"/>
                    </a:lnTo>
                    <a:lnTo>
                      <a:pt x="270" y="482"/>
                    </a:lnTo>
                    <a:lnTo>
                      <a:pt x="256" y="476"/>
                    </a:lnTo>
                    <a:lnTo>
                      <a:pt x="246" y="468"/>
                    </a:lnTo>
                    <a:lnTo>
                      <a:pt x="238" y="460"/>
                    </a:lnTo>
                    <a:lnTo>
                      <a:pt x="228" y="452"/>
                    </a:lnTo>
                    <a:lnTo>
                      <a:pt x="218" y="446"/>
                    </a:lnTo>
                    <a:lnTo>
                      <a:pt x="206" y="440"/>
                    </a:lnTo>
                    <a:lnTo>
                      <a:pt x="190" y="438"/>
                    </a:lnTo>
                    <a:lnTo>
                      <a:pt x="190" y="438"/>
                    </a:lnTo>
                    <a:lnTo>
                      <a:pt x="160" y="440"/>
                    </a:lnTo>
                    <a:lnTo>
                      <a:pt x="150" y="440"/>
                    </a:lnTo>
                    <a:lnTo>
                      <a:pt x="144" y="444"/>
                    </a:lnTo>
                    <a:lnTo>
                      <a:pt x="140" y="446"/>
                    </a:lnTo>
                    <a:lnTo>
                      <a:pt x="140" y="450"/>
                    </a:lnTo>
                    <a:lnTo>
                      <a:pt x="144" y="456"/>
                    </a:lnTo>
                    <a:lnTo>
                      <a:pt x="150" y="462"/>
                    </a:lnTo>
                    <a:lnTo>
                      <a:pt x="150" y="462"/>
                    </a:lnTo>
                    <a:lnTo>
                      <a:pt x="166" y="476"/>
                    </a:lnTo>
                    <a:lnTo>
                      <a:pt x="182" y="490"/>
                    </a:lnTo>
                    <a:lnTo>
                      <a:pt x="184" y="494"/>
                    </a:lnTo>
                    <a:lnTo>
                      <a:pt x="184" y="496"/>
                    </a:lnTo>
                    <a:lnTo>
                      <a:pt x="182" y="498"/>
                    </a:lnTo>
                    <a:lnTo>
                      <a:pt x="174" y="500"/>
                    </a:lnTo>
                    <a:lnTo>
                      <a:pt x="160" y="502"/>
                    </a:lnTo>
                    <a:lnTo>
                      <a:pt x="160" y="502"/>
                    </a:lnTo>
                    <a:lnTo>
                      <a:pt x="142" y="502"/>
                    </a:lnTo>
                    <a:lnTo>
                      <a:pt x="124" y="506"/>
                    </a:lnTo>
                    <a:lnTo>
                      <a:pt x="110" y="512"/>
                    </a:lnTo>
                    <a:lnTo>
                      <a:pt x="98" y="518"/>
                    </a:lnTo>
                    <a:lnTo>
                      <a:pt x="90" y="526"/>
                    </a:lnTo>
                    <a:lnTo>
                      <a:pt x="88" y="534"/>
                    </a:lnTo>
                    <a:lnTo>
                      <a:pt x="88" y="538"/>
                    </a:lnTo>
                    <a:lnTo>
                      <a:pt x="88" y="542"/>
                    </a:lnTo>
                    <a:lnTo>
                      <a:pt x="92" y="546"/>
                    </a:lnTo>
                    <a:lnTo>
                      <a:pt x="96" y="550"/>
                    </a:lnTo>
                    <a:lnTo>
                      <a:pt x="96" y="550"/>
                    </a:lnTo>
                    <a:lnTo>
                      <a:pt x="100" y="552"/>
                    </a:lnTo>
                    <a:lnTo>
                      <a:pt x="104" y="552"/>
                    </a:lnTo>
                    <a:lnTo>
                      <a:pt x="114" y="552"/>
                    </a:lnTo>
                    <a:lnTo>
                      <a:pt x="124" y="552"/>
                    </a:lnTo>
                    <a:lnTo>
                      <a:pt x="130" y="554"/>
                    </a:lnTo>
                    <a:lnTo>
                      <a:pt x="138" y="558"/>
                    </a:lnTo>
                    <a:lnTo>
                      <a:pt x="138" y="558"/>
                    </a:lnTo>
                    <a:lnTo>
                      <a:pt x="146" y="562"/>
                    </a:lnTo>
                    <a:lnTo>
                      <a:pt x="154" y="566"/>
                    </a:lnTo>
                    <a:lnTo>
                      <a:pt x="162" y="566"/>
                    </a:lnTo>
                    <a:lnTo>
                      <a:pt x="170" y="564"/>
                    </a:lnTo>
                    <a:lnTo>
                      <a:pt x="186" y="560"/>
                    </a:lnTo>
                    <a:lnTo>
                      <a:pt x="200" y="552"/>
                    </a:lnTo>
                    <a:lnTo>
                      <a:pt x="200" y="552"/>
                    </a:lnTo>
                    <a:lnTo>
                      <a:pt x="206" y="552"/>
                    </a:lnTo>
                    <a:lnTo>
                      <a:pt x="212" y="552"/>
                    </a:lnTo>
                    <a:lnTo>
                      <a:pt x="226" y="556"/>
                    </a:lnTo>
                    <a:lnTo>
                      <a:pt x="244" y="562"/>
                    </a:lnTo>
                    <a:lnTo>
                      <a:pt x="256" y="566"/>
                    </a:lnTo>
                    <a:lnTo>
                      <a:pt x="272" y="566"/>
                    </a:lnTo>
                    <a:lnTo>
                      <a:pt x="272" y="566"/>
                    </a:lnTo>
                    <a:lnTo>
                      <a:pt x="286" y="566"/>
                    </a:lnTo>
                    <a:lnTo>
                      <a:pt x="294" y="564"/>
                    </a:lnTo>
                    <a:lnTo>
                      <a:pt x="298" y="560"/>
                    </a:lnTo>
                    <a:lnTo>
                      <a:pt x="302" y="556"/>
                    </a:lnTo>
                    <a:lnTo>
                      <a:pt x="306" y="554"/>
                    </a:lnTo>
                    <a:lnTo>
                      <a:pt x="312" y="552"/>
                    </a:lnTo>
                    <a:lnTo>
                      <a:pt x="322" y="552"/>
                    </a:lnTo>
                    <a:lnTo>
                      <a:pt x="336" y="558"/>
                    </a:lnTo>
                    <a:lnTo>
                      <a:pt x="336" y="558"/>
                    </a:lnTo>
                    <a:lnTo>
                      <a:pt x="346" y="560"/>
                    </a:lnTo>
                    <a:lnTo>
                      <a:pt x="356" y="560"/>
                    </a:lnTo>
                    <a:lnTo>
                      <a:pt x="376" y="560"/>
                    </a:lnTo>
                    <a:lnTo>
                      <a:pt x="394" y="556"/>
                    </a:lnTo>
                    <a:lnTo>
                      <a:pt x="412" y="552"/>
                    </a:lnTo>
                    <a:lnTo>
                      <a:pt x="426" y="548"/>
                    </a:lnTo>
                    <a:lnTo>
                      <a:pt x="436" y="548"/>
                    </a:lnTo>
                    <a:lnTo>
                      <a:pt x="438" y="548"/>
                    </a:lnTo>
                    <a:lnTo>
                      <a:pt x="440" y="550"/>
                    </a:lnTo>
                    <a:lnTo>
                      <a:pt x="442" y="554"/>
                    </a:lnTo>
                    <a:lnTo>
                      <a:pt x="440" y="560"/>
                    </a:lnTo>
                    <a:lnTo>
                      <a:pt x="440" y="560"/>
                    </a:lnTo>
                    <a:lnTo>
                      <a:pt x="438" y="564"/>
                    </a:lnTo>
                    <a:lnTo>
                      <a:pt x="438" y="570"/>
                    </a:lnTo>
                    <a:lnTo>
                      <a:pt x="440" y="572"/>
                    </a:lnTo>
                    <a:lnTo>
                      <a:pt x="442" y="576"/>
                    </a:lnTo>
                    <a:lnTo>
                      <a:pt x="450" y="578"/>
                    </a:lnTo>
                    <a:lnTo>
                      <a:pt x="462" y="578"/>
                    </a:lnTo>
                    <a:lnTo>
                      <a:pt x="474" y="574"/>
                    </a:lnTo>
                    <a:lnTo>
                      <a:pt x="486" y="570"/>
                    </a:lnTo>
                    <a:lnTo>
                      <a:pt x="510" y="558"/>
                    </a:lnTo>
                    <a:lnTo>
                      <a:pt x="510" y="558"/>
                    </a:lnTo>
                    <a:lnTo>
                      <a:pt x="518" y="552"/>
                    </a:lnTo>
                    <a:lnTo>
                      <a:pt x="528" y="552"/>
                    </a:lnTo>
                    <a:lnTo>
                      <a:pt x="544" y="550"/>
                    </a:lnTo>
                    <a:lnTo>
                      <a:pt x="550" y="550"/>
                    </a:lnTo>
                    <a:lnTo>
                      <a:pt x="556" y="546"/>
                    </a:lnTo>
                    <a:lnTo>
                      <a:pt x="560" y="538"/>
                    </a:lnTo>
                    <a:lnTo>
                      <a:pt x="562" y="526"/>
                    </a:lnTo>
                    <a:lnTo>
                      <a:pt x="562" y="526"/>
                    </a:lnTo>
                    <a:lnTo>
                      <a:pt x="562" y="520"/>
                    </a:lnTo>
                    <a:lnTo>
                      <a:pt x="560" y="518"/>
                    </a:lnTo>
                    <a:lnTo>
                      <a:pt x="558" y="514"/>
                    </a:lnTo>
                    <a:lnTo>
                      <a:pt x="556" y="514"/>
                    </a:lnTo>
                    <a:lnTo>
                      <a:pt x="546" y="512"/>
                    </a:lnTo>
                    <a:lnTo>
                      <a:pt x="536" y="512"/>
                    </a:lnTo>
                    <a:lnTo>
                      <a:pt x="526" y="514"/>
                    </a:lnTo>
                    <a:lnTo>
                      <a:pt x="518" y="514"/>
                    </a:lnTo>
                    <a:lnTo>
                      <a:pt x="512" y="512"/>
                    </a:lnTo>
                    <a:lnTo>
                      <a:pt x="510" y="510"/>
                    </a:lnTo>
                    <a:lnTo>
                      <a:pt x="508" y="506"/>
                    </a:lnTo>
                    <a:lnTo>
                      <a:pt x="508" y="506"/>
                    </a:lnTo>
                    <a:lnTo>
                      <a:pt x="510" y="500"/>
                    </a:lnTo>
                    <a:lnTo>
                      <a:pt x="512" y="494"/>
                    </a:lnTo>
                    <a:lnTo>
                      <a:pt x="514" y="490"/>
                    </a:lnTo>
                    <a:lnTo>
                      <a:pt x="520" y="488"/>
                    </a:lnTo>
                    <a:lnTo>
                      <a:pt x="532" y="482"/>
                    </a:lnTo>
                    <a:lnTo>
                      <a:pt x="550" y="472"/>
                    </a:lnTo>
                    <a:lnTo>
                      <a:pt x="550" y="472"/>
                    </a:lnTo>
                    <a:lnTo>
                      <a:pt x="554" y="468"/>
                    </a:lnTo>
                    <a:lnTo>
                      <a:pt x="556" y="464"/>
                    </a:lnTo>
                    <a:lnTo>
                      <a:pt x="556" y="460"/>
                    </a:lnTo>
                    <a:lnTo>
                      <a:pt x="556" y="456"/>
                    </a:lnTo>
                    <a:lnTo>
                      <a:pt x="552" y="448"/>
                    </a:lnTo>
                    <a:lnTo>
                      <a:pt x="548" y="442"/>
                    </a:lnTo>
                    <a:lnTo>
                      <a:pt x="546" y="436"/>
                    </a:lnTo>
                    <a:lnTo>
                      <a:pt x="548" y="434"/>
                    </a:lnTo>
                    <a:lnTo>
                      <a:pt x="550" y="432"/>
                    </a:lnTo>
                    <a:lnTo>
                      <a:pt x="560" y="430"/>
                    </a:lnTo>
                    <a:lnTo>
                      <a:pt x="582" y="434"/>
                    </a:lnTo>
                    <a:lnTo>
                      <a:pt x="582" y="434"/>
                    </a:lnTo>
                    <a:lnTo>
                      <a:pt x="602" y="436"/>
                    </a:lnTo>
                    <a:lnTo>
                      <a:pt x="620" y="434"/>
                    </a:lnTo>
                    <a:lnTo>
                      <a:pt x="636" y="430"/>
                    </a:lnTo>
                    <a:lnTo>
                      <a:pt x="650" y="424"/>
                    </a:lnTo>
                    <a:lnTo>
                      <a:pt x="660" y="418"/>
                    </a:lnTo>
                    <a:lnTo>
                      <a:pt x="666" y="410"/>
                    </a:lnTo>
                    <a:lnTo>
                      <a:pt x="668" y="402"/>
                    </a:lnTo>
                    <a:lnTo>
                      <a:pt x="668" y="400"/>
                    </a:lnTo>
                    <a:lnTo>
                      <a:pt x="666" y="396"/>
                    </a:lnTo>
                    <a:lnTo>
                      <a:pt x="666" y="396"/>
                    </a:lnTo>
                    <a:lnTo>
                      <a:pt x="664" y="394"/>
                    </a:lnTo>
                    <a:lnTo>
                      <a:pt x="664" y="392"/>
                    </a:lnTo>
                    <a:lnTo>
                      <a:pt x="666" y="388"/>
                    </a:lnTo>
                    <a:lnTo>
                      <a:pt x="680" y="382"/>
                    </a:lnTo>
                    <a:lnTo>
                      <a:pt x="684" y="378"/>
                    </a:lnTo>
                    <a:lnTo>
                      <a:pt x="684" y="376"/>
                    </a:lnTo>
                    <a:lnTo>
                      <a:pt x="684" y="372"/>
                    </a:lnTo>
                    <a:lnTo>
                      <a:pt x="678" y="36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48" y="350"/>
                    </a:lnTo>
                    <a:lnTo>
                      <a:pt x="644" y="348"/>
                    </a:lnTo>
                    <a:lnTo>
                      <a:pt x="644" y="346"/>
                    </a:lnTo>
                    <a:lnTo>
                      <a:pt x="650" y="346"/>
                    </a:lnTo>
                    <a:lnTo>
                      <a:pt x="662" y="348"/>
                    </a:lnTo>
                    <a:lnTo>
                      <a:pt x="674" y="348"/>
                    </a:lnTo>
                    <a:lnTo>
                      <a:pt x="686" y="348"/>
                    </a:lnTo>
                    <a:lnTo>
                      <a:pt x="690" y="348"/>
                    </a:lnTo>
                    <a:lnTo>
                      <a:pt x="694" y="346"/>
                    </a:lnTo>
                    <a:lnTo>
                      <a:pt x="696" y="344"/>
                    </a:lnTo>
                    <a:lnTo>
                      <a:pt x="694" y="340"/>
                    </a:lnTo>
                    <a:lnTo>
                      <a:pt x="694" y="340"/>
                    </a:lnTo>
                    <a:lnTo>
                      <a:pt x="690" y="332"/>
                    </a:lnTo>
                    <a:lnTo>
                      <a:pt x="684" y="328"/>
                    </a:lnTo>
                    <a:lnTo>
                      <a:pt x="680" y="324"/>
                    </a:lnTo>
                    <a:lnTo>
                      <a:pt x="674" y="324"/>
                    </a:lnTo>
                    <a:lnTo>
                      <a:pt x="658" y="326"/>
                    </a:lnTo>
                    <a:lnTo>
                      <a:pt x="638" y="328"/>
                    </a:lnTo>
                    <a:lnTo>
                      <a:pt x="638" y="328"/>
                    </a:lnTo>
                    <a:lnTo>
                      <a:pt x="614" y="328"/>
                    </a:lnTo>
                    <a:lnTo>
                      <a:pt x="592" y="328"/>
                    </a:lnTo>
                    <a:lnTo>
                      <a:pt x="584" y="328"/>
                    </a:lnTo>
                    <a:lnTo>
                      <a:pt x="578" y="326"/>
                    </a:lnTo>
                    <a:lnTo>
                      <a:pt x="576" y="324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8" y="318"/>
                    </a:lnTo>
                    <a:lnTo>
                      <a:pt x="602" y="314"/>
                    </a:lnTo>
                    <a:lnTo>
                      <a:pt x="644" y="312"/>
                    </a:lnTo>
                    <a:lnTo>
                      <a:pt x="692" y="310"/>
                    </a:lnTo>
                    <a:lnTo>
                      <a:pt x="730" y="306"/>
                    </a:lnTo>
                    <a:lnTo>
                      <a:pt x="730" y="306"/>
                    </a:lnTo>
                    <a:lnTo>
                      <a:pt x="742" y="304"/>
                    </a:lnTo>
                    <a:lnTo>
                      <a:pt x="750" y="300"/>
                    </a:lnTo>
                    <a:lnTo>
                      <a:pt x="752" y="296"/>
                    </a:lnTo>
                    <a:lnTo>
                      <a:pt x="752" y="290"/>
                    </a:lnTo>
                    <a:lnTo>
                      <a:pt x="752" y="284"/>
                    </a:lnTo>
                    <a:lnTo>
                      <a:pt x="754" y="284"/>
                    </a:lnTo>
                    <a:lnTo>
                      <a:pt x="762" y="286"/>
                    </a:lnTo>
                    <a:lnTo>
                      <a:pt x="762" y="286"/>
                    </a:lnTo>
                    <a:lnTo>
                      <a:pt x="770" y="290"/>
                    </a:lnTo>
                    <a:lnTo>
                      <a:pt x="780" y="292"/>
                    </a:lnTo>
                    <a:lnTo>
                      <a:pt x="790" y="294"/>
                    </a:lnTo>
                    <a:lnTo>
                      <a:pt x="800" y="292"/>
                    </a:lnTo>
                    <a:lnTo>
                      <a:pt x="812" y="290"/>
                    </a:lnTo>
                    <a:lnTo>
                      <a:pt x="822" y="286"/>
                    </a:lnTo>
                    <a:lnTo>
                      <a:pt x="832" y="278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52" y="260"/>
                    </a:lnTo>
                    <a:lnTo>
                      <a:pt x="866" y="248"/>
                    </a:lnTo>
                    <a:lnTo>
                      <a:pt x="882" y="238"/>
                    </a:lnTo>
                    <a:lnTo>
                      <a:pt x="902" y="228"/>
                    </a:lnTo>
                    <a:lnTo>
                      <a:pt x="954" y="204"/>
                    </a:lnTo>
                    <a:lnTo>
                      <a:pt x="1020" y="178"/>
                    </a:lnTo>
                    <a:lnTo>
                      <a:pt x="1020" y="178"/>
                    </a:lnTo>
                    <a:lnTo>
                      <a:pt x="1076" y="154"/>
                    </a:lnTo>
                    <a:lnTo>
                      <a:pt x="1092" y="146"/>
                    </a:lnTo>
                    <a:lnTo>
                      <a:pt x="1098" y="142"/>
                    </a:lnTo>
                    <a:lnTo>
                      <a:pt x="1098" y="140"/>
                    </a:lnTo>
                    <a:lnTo>
                      <a:pt x="1094" y="140"/>
                    </a:lnTo>
                    <a:lnTo>
                      <a:pt x="1084" y="140"/>
                    </a:lnTo>
                    <a:lnTo>
                      <a:pt x="1038" y="142"/>
                    </a:lnTo>
                    <a:lnTo>
                      <a:pt x="1038" y="142"/>
                    </a:lnTo>
                    <a:lnTo>
                      <a:pt x="1014" y="144"/>
                    </a:lnTo>
                    <a:lnTo>
                      <a:pt x="1002" y="144"/>
                    </a:lnTo>
                    <a:lnTo>
                      <a:pt x="1000" y="142"/>
                    </a:lnTo>
                    <a:lnTo>
                      <a:pt x="1000" y="142"/>
                    </a:lnTo>
                    <a:lnTo>
                      <a:pt x="1006" y="138"/>
                    </a:lnTo>
                    <a:lnTo>
                      <a:pt x="1034" y="130"/>
                    </a:lnTo>
                    <a:lnTo>
                      <a:pt x="1072" y="122"/>
                    </a:lnTo>
                    <a:lnTo>
                      <a:pt x="1072" y="122"/>
                    </a:lnTo>
                    <a:lnTo>
                      <a:pt x="1118" y="112"/>
                    </a:lnTo>
                    <a:lnTo>
                      <a:pt x="1172" y="100"/>
                    </a:lnTo>
                    <a:lnTo>
                      <a:pt x="1198" y="92"/>
                    </a:lnTo>
                    <a:lnTo>
                      <a:pt x="1218" y="84"/>
                    </a:lnTo>
                    <a:lnTo>
                      <a:pt x="1232" y="76"/>
                    </a:lnTo>
                    <a:lnTo>
                      <a:pt x="1236" y="72"/>
                    </a:lnTo>
                    <a:lnTo>
                      <a:pt x="1236" y="68"/>
                    </a:lnTo>
                    <a:lnTo>
                      <a:pt x="1236" y="68"/>
                    </a:lnTo>
                    <a:lnTo>
                      <a:pt x="1236" y="64"/>
                    </a:lnTo>
                    <a:lnTo>
                      <a:pt x="1234" y="62"/>
                    </a:lnTo>
                    <a:lnTo>
                      <a:pt x="1224" y="58"/>
                    </a:lnTo>
                    <a:lnTo>
                      <a:pt x="1210" y="58"/>
                    </a:lnTo>
                    <a:lnTo>
                      <a:pt x="1196" y="56"/>
                    </a:lnTo>
                    <a:lnTo>
                      <a:pt x="1182" y="56"/>
                    </a:lnTo>
                    <a:lnTo>
                      <a:pt x="1168" y="54"/>
                    </a:lnTo>
                    <a:lnTo>
                      <a:pt x="1160" y="50"/>
                    </a:lnTo>
                    <a:lnTo>
                      <a:pt x="1158" y="48"/>
                    </a:lnTo>
                    <a:lnTo>
                      <a:pt x="1156" y="44"/>
                    </a:lnTo>
                    <a:lnTo>
                      <a:pt x="1156" y="44"/>
                    </a:lnTo>
                    <a:lnTo>
                      <a:pt x="1156" y="40"/>
                    </a:lnTo>
                    <a:lnTo>
                      <a:pt x="1154" y="36"/>
                    </a:lnTo>
                    <a:lnTo>
                      <a:pt x="1146" y="30"/>
                    </a:lnTo>
                    <a:lnTo>
                      <a:pt x="1136" y="26"/>
                    </a:lnTo>
                    <a:lnTo>
                      <a:pt x="1122" y="24"/>
                    </a:lnTo>
                    <a:lnTo>
                      <a:pt x="1094" y="20"/>
                    </a:lnTo>
                    <a:lnTo>
                      <a:pt x="1078" y="20"/>
                    </a:lnTo>
                    <a:lnTo>
                      <a:pt x="1078" y="20"/>
                    </a:lnTo>
                    <a:lnTo>
                      <a:pt x="1062" y="22"/>
                    </a:lnTo>
                    <a:lnTo>
                      <a:pt x="1050" y="22"/>
                    </a:lnTo>
                    <a:lnTo>
                      <a:pt x="1038" y="22"/>
                    </a:lnTo>
                    <a:lnTo>
                      <a:pt x="1018" y="30"/>
                    </a:lnTo>
                    <a:lnTo>
                      <a:pt x="1018" y="30"/>
                    </a:lnTo>
                    <a:lnTo>
                      <a:pt x="1004" y="34"/>
                    </a:lnTo>
                    <a:lnTo>
                      <a:pt x="990" y="38"/>
                    </a:lnTo>
                    <a:lnTo>
                      <a:pt x="962" y="40"/>
                    </a:lnTo>
                    <a:lnTo>
                      <a:pt x="948" y="40"/>
                    </a:lnTo>
                    <a:lnTo>
                      <a:pt x="948" y="40"/>
                    </a:lnTo>
                    <a:lnTo>
                      <a:pt x="948" y="38"/>
                    </a:lnTo>
                    <a:lnTo>
                      <a:pt x="958" y="36"/>
                    </a:lnTo>
                    <a:lnTo>
                      <a:pt x="958" y="36"/>
                    </a:lnTo>
                    <a:lnTo>
                      <a:pt x="986" y="30"/>
                    </a:lnTo>
                    <a:lnTo>
                      <a:pt x="1004" y="24"/>
                    </a:lnTo>
                    <a:lnTo>
                      <a:pt x="1008" y="22"/>
                    </a:lnTo>
                    <a:lnTo>
                      <a:pt x="1008" y="20"/>
                    </a:lnTo>
                    <a:lnTo>
                      <a:pt x="1006" y="20"/>
                    </a:lnTo>
                    <a:lnTo>
                      <a:pt x="998" y="18"/>
                    </a:lnTo>
                    <a:lnTo>
                      <a:pt x="980" y="16"/>
                    </a:lnTo>
                    <a:lnTo>
                      <a:pt x="980" y="16"/>
                    </a:lnTo>
                    <a:lnTo>
                      <a:pt x="958" y="16"/>
                    </a:lnTo>
                    <a:lnTo>
                      <a:pt x="942" y="14"/>
                    </a:lnTo>
                    <a:lnTo>
                      <a:pt x="912" y="6"/>
                    </a:lnTo>
                    <a:lnTo>
                      <a:pt x="900" y="2"/>
                    </a:lnTo>
                    <a:lnTo>
                      <a:pt x="888" y="0"/>
                    </a:lnTo>
                    <a:lnTo>
                      <a:pt x="874" y="0"/>
                    </a:lnTo>
                    <a:lnTo>
                      <a:pt x="858" y="2"/>
                    </a:lnTo>
                    <a:lnTo>
                      <a:pt x="858" y="2"/>
                    </a:lnTo>
                    <a:lnTo>
                      <a:pt x="830" y="4"/>
                    </a:lnTo>
                    <a:lnTo>
                      <a:pt x="808" y="4"/>
                    </a:lnTo>
                    <a:lnTo>
                      <a:pt x="788" y="4"/>
                    </a:lnTo>
                    <a:lnTo>
                      <a:pt x="776" y="6"/>
                    </a:lnTo>
                    <a:lnTo>
                      <a:pt x="762" y="10"/>
                    </a:lnTo>
                    <a:lnTo>
                      <a:pt x="762" y="10"/>
                    </a:lnTo>
                    <a:lnTo>
                      <a:pt x="746" y="14"/>
                    </a:lnTo>
                    <a:lnTo>
                      <a:pt x="728" y="14"/>
                    </a:lnTo>
                    <a:lnTo>
                      <a:pt x="690" y="10"/>
                    </a:lnTo>
                    <a:lnTo>
                      <a:pt x="666" y="10"/>
                    </a:lnTo>
                    <a:lnTo>
                      <a:pt x="640" y="10"/>
                    </a:lnTo>
                    <a:lnTo>
                      <a:pt x="608" y="12"/>
                    </a:lnTo>
                    <a:lnTo>
                      <a:pt x="574" y="20"/>
                    </a:lnTo>
                    <a:lnTo>
                      <a:pt x="574" y="20"/>
                    </a:lnTo>
                    <a:lnTo>
                      <a:pt x="556" y="22"/>
                    </a:lnTo>
                    <a:lnTo>
                      <a:pt x="540" y="22"/>
                    </a:lnTo>
                    <a:lnTo>
                      <a:pt x="526" y="20"/>
                    </a:lnTo>
                    <a:lnTo>
                      <a:pt x="514" y="16"/>
                    </a:lnTo>
                    <a:lnTo>
                      <a:pt x="500" y="14"/>
                    </a:lnTo>
                    <a:lnTo>
                      <a:pt x="490" y="12"/>
                    </a:lnTo>
                    <a:lnTo>
                      <a:pt x="478" y="14"/>
                    </a:lnTo>
                    <a:lnTo>
                      <a:pt x="466" y="18"/>
                    </a:lnTo>
                    <a:lnTo>
                      <a:pt x="466" y="18"/>
                    </a:lnTo>
                    <a:lnTo>
                      <a:pt x="454" y="22"/>
                    </a:lnTo>
                    <a:lnTo>
                      <a:pt x="442" y="24"/>
                    </a:lnTo>
                    <a:lnTo>
                      <a:pt x="432" y="24"/>
                    </a:lnTo>
                    <a:lnTo>
                      <a:pt x="422" y="24"/>
                    </a:lnTo>
                    <a:lnTo>
                      <a:pt x="416" y="22"/>
                    </a:lnTo>
                    <a:lnTo>
                      <a:pt x="412" y="24"/>
                    </a:lnTo>
                    <a:lnTo>
                      <a:pt x="416" y="28"/>
                    </a:lnTo>
                    <a:lnTo>
                      <a:pt x="424" y="36"/>
                    </a:lnTo>
                    <a:lnTo>
                      <a:pt x="424" y="36"/>
                    </a:lnTo>
                    <a:lnTo>
                      <a:pt x="430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24" y="48"/>
                    </a:lnTo>
                    <a:lnTo>
                      <a:pt x="414" y="46"/>
                    </a:lnTo>
                    <a:lnTo>
                      <a:pt x="404" y="44"/>
                    </a:lnTo>
                    <a:lnTo>
                      <a:pt x="392" y="42"/>
                    </a:lnTo>
                    <a:lnTo>
                      <a:pt x="384" y="44"/>
                    </a:lnTo>
                    <a:lnTo>
                      <a:pt x="380" y="46"/>
                    </a:lnTo>
                    <a:lnTo>
                      <a:pt x="378" y="50"/>
                    </a:lnTo>
                    <a:lnTo>
                      <a:pt x="378" y="50"/>
                    </a:lnTo>
                    <a:lnTo>
                      <a:pt x="376" y="58"/>
                    </a:lnTo>
                    <a:lnTo>
                      <a:pt x="372" y="62"/>
                    </a:lnTo>
                    <a:lnTo>
                      <a:pt x="366" y="66"/>
                    </a:lnTo>
                    <a:lnTo>
                      <a:pt x="360" y="68"/>
                    </a:lnTo>
                    <a:lnTo>
                      <a:pt x="352" y="70"/>
                    </a:lnTo>
                    <a:lnTo>
                      <a:pt x="340" y="70"/>
                    </a:lnTo>
                    <a:lnTo>
                      <a:pt x="312" y="68"/>
                    </a:lnTo>
                    <a:lnTo>
                      <a:pt x="312" y="68"/>
                    </a:lnTo>
                    <a:lnTo>
                      <a:pt x="300" y="66"/>
                    </a:lnTo>
                    <a:lnTo>
                      <a:pt x="292" y="64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6"/>
                    </a:lnTo>
                    <a:lnTo>
                      <a:pt x="288" y="54"/>
                    </a:lnTo>
                    <a:lnTo>
                      <a:pt x="280" y="52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50" y="52"/>
                    </a:lnTo>
                    <a:lnTo>
                      <a:pt x="244" y="52"/>
                    </a:lnTo>
                    <a:lnTo>
                      <a:pt x="244" y="56"/>
                    </a:lnTo>
                    <a:lnTo>
                      <a:pt x="246" y="60"/>
                    </a:lnTo>
                    <a:lnTo>
                      <a:pt x="248" y="64"/>
                    </a:lnTo>
                    <a:lnTo>
                      <a:pt x="248" y="66"/>
                    </a:lnTo>
                    <a:lnTo>
                      <a:pt x="248" y="68"/>
                    </a:lnTo>
                    <a:lnTo>
                      <a:pt x="240" y="72"/>
                    </a:lnTo>
                    <a:lnTo>
                      <a:pt x="224" y="76"/>
                    </a:lnTo>
                    <a:lnTo>
                      <a:pt x="224" y="76"/>
                    </a:lnTo>
                    <a:lnTo>
                      <a:pt x="208" y="78"/>
                    </a:lnTo>
                    <a:lnTo>
                      <a:pt x="206" y="78"/>
                    </a:lnTo>
                    <a:lnTo>
                      <a:pt x="206" y="80"/>
                    </a:lnTo>
                    <a:lnTo>
                      <a:pt x="212" y="82"/>
                    </a:lnTo>
                    <a:lnTo>
                      <a:pt x="224" y="86"/>
                    </a:lnTo>
                    <a:lnTo>
                      <a:pt x="248" y="92"/>
                    </a:lnTo>
                    <a:lnTo>
                      <a:pt x="254" y="94"/>
                    </a:lnTo>
                    <a:lnTo>
                      <a:pt x="252" y="96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38" y="98"/>
                    </a:lnTo>
                    <a:lnTo>
                      <a:pt x="228" y="98"/>
                    </a:lnTo>
                    <a:lnTo>
                      <a:pt x="206" y="92"/>
                    </a:lnTo>
                    <a:lnTo>
                      <a:pt x="194" y="90"/>
                    </a:lnTo>
                    <a:lnTo>
                      <a:pt x="180" y="88"/>
                    </a:lnTo>
                    <a:lnTo>
                      <a:pt x="166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30" y="92"/>
                    </a:lnTo>
                    <a:lnTo>
                      <a:pt x="120" y="94"/>
                    </a:lnTo>
                    <a:lnTo>
                      <a:pt x="112" y="98"/>
                    </a:lnTo>
                    <a:lnTo>
                      <a:pt x="108" y="102"/>
                    </a:lnTo>
                    <a:lnTo>
                      <a:pt x="104" y="106"/>
                    </a:lnTo>
                    <a:lnTo>
                      <a:pt x="100" y="106"/>
                    </a:lnTo>
                    <a:lnTo>
                      <a:pt x="92" y="108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66" y="104"/>
                    </a:lnTo>
                    <a:lnTo>
                      <a:pt x="50" y="104"/>
                    </a:lnTo>
                    <a:lnTo>
                      <a:pt x="36" y="108"/>
                    </a:lnTo>
                    <a:lnTo>
                      <a:pt x="22" y="112"/>
                    </a:lnTo>
                    <a:lnTo>
                      <a:pt x="12" y="118"/>
                    </a:lnTo>
                    <a:lnTo>
                      <a:pt x="4" y="124"/>
                    </a:lnTo>
                    <a:lnTo>
                      <a:pt x="0" y="130"/>
                    </a:lnTo>
                    <a:lnTo>
                      <a:pt x="2" y="134"/>
                    </a:lnTo>
                    <a:lnTo>
                      <a:pt x="4" y="138"/>
                    </a:lnTo>
                    <a:lnTo>
                      <a:pt x="4" y="138"/>
                    </a:lnTo>
                    <a:lnTo>
                      <a:pt x="8" y="142"/>
                    </a:lnTo>
                    <a:lnTo>
                      <a:pt x="12" y="144"/>
                    </a:lnTo>
                    <a:lnTo>
                      <a:pt x="16" y="144"/>
                    </a:lnTo>
                    <a:lnTo>
                      <a:pt x="2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44" y="148"/>
                    </a:lnTo>
                    <a:lnTo>
                      <a:pt x="44" y="1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8" name="Freeform 6107">
                <a:extLst>
                  <a:ext uri="{FF2B5EF4-FFF2-40B4-BE49-F238E27FC236}">
                    <a16:creationId xmlns:a16="http://schemas.microsoft.com/office/drawing/2014/main" id="{E1C13B64-1C9B-4BD0-8269-FC7C0FA8BC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9" name="Freeform 6108">
                <a:extLst>
                  <a:ext uri="{FF2B5EF4-FFF2-40B4-BE49-F238E27FC236}">
                    <a16:creationId xmlns:a16="http://schemas.microsoft.com/office/drawing/2014/main" id="{AE34FBDD-7042-44AC-90B3-EC37B5E76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760" y="1103313"/>
                <a:ext cx="29210" cy="1143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8"/>
                  </a:cxn>
                  <a:cxn ang="0">
                    <a:pos x="14" y="18"/>
                  </a:cxn>
                  <a:cxn ang="0">
                    <a:pos x="30" y="12"/>
                  </a:cxn>
                  <a:cxn ang="0">
                    <a:pos x="42" y="4"/>
                  </a:cxn>
                  <a:cxn ang="0">
                    <a:pos x="46" y="2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16" y="6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2" y="18"/>
                  </a:cxn>
                </a:cxnLst>
                <a:rect l="0" t="0" r="r" b="b"/>
                <a:pathLst>
                  <a:path w="46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30" y="12"/>
                    </a:lnTo>
                    <a:lnTo>
                      <a:pt x="42" y="4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2" y="2"/>
                    </a:lnTo>
                    <a:lnTo>
                      <a:pt x="16" y="6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0" name="Freeform 6109">
                <a:extLst>
                  <a:ext uri="{FF2B5EF4-FFF2-40B4-BE49-F238E27FC236}">
                    <a16:creationId xmlns:a16="http://schemas.microsoft.com/office/drawing/2014/main" id="{AFECA511-DE09-4AA9-A967-99AA19EE6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1" name="Freeform 6110">
                <a:extLst>
                  <a:ext uri="{FF2B5EF4-FFF2-40B4-BE49-F238E27FC236}">
                    <a16:creationId xmlns:a16="http://schemas.microsoft.com/office/drawing/2014/main" id="{0788F913-6E7F-46F5-9610-270AD1D9A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2" name="Freeform 6111">
                <a:extLst>
                  <a:ext uri="{FF2B5EF4-FFF2-40B4-BE49-F238E27FC236}">
                    <a16:creationId xmlns:a16="http://schemas.microsoft.com/office/drawing/2014/main" id="{E5AC1360-3AA8-422E-BD82-4007E4B57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3" name="Freeform 6112">
                <a:extLst>
                  <a:ext uri="{FF2B5EF4-FFF2-40B4-BE49-F238E27FC236}">
                    <a16:creationId xmlns:a16="http://schemas.microsoft.com/office/drawing/2014/main" id="{77AA563D-B745-4E32-ADF8-FDB9FD1559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4" name="Freeform 6113">
                <a:extLst>
                  <a:ext uri="{FF2B5EF4-FFF2-40B4-BE49-F238E27FC236}">
                    <a16:creationId xmlns:a16="http://schemas.microsoft.com/office/drawing/2014/main" id="{DB188D03-458F-426A-9F60-B7980D343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630" y="1230313"/>
                <a:ext cx="467360" cy="227330"/>
              </a:xfrm>
              <a:custGeom>
                <a:avLst/>
                <a:gdLst/>
                <a:ahLst/>
                <a:cxnLst>
                  <a:cxn ang="0">
                    <a:pos x="700" y="272"/>
                  </a:cxn>
                  <a:cxn ang="0">
                    <a:pos x="720" y="274"/>
                  </a:cxn>
                  <a:cxn ang="0">
                    <a:pos x="736" y="254"/>
                  </a:cxn>
                  <a:cxn ang="0">
                    <a:pos x="708" y="238"/>
                  </a:cxn>
                  <a:cxn ang="0">
                    <a:pos x="684" y="224"/>
                  </a:cxn>
                  <a:cxn ang="0">
                    <a:pos x="646" y="206"/>
                  </a:cxn>
                  <a:cxn ang="0">
                    <a:pos x="608" y="190"/>
                  </a:cxn>
                  <a:cxn ang="0">
                    <a:pos x="586" y="166"/>
                  </a:cxn>
                  <a:cxn ang="0">
                    <a:pos x="592" y="128"/>
                  </a:cxn>
                  <a:cxn ang="0">
                    <a:pos x="560" y="58"/>
                  </a:cxn>
                  <a:cxn ang="0">
                    <a:pos x="506" y="10"/>
                  </a:cxn>
                  <a:cxn ang="0">
                    <a:pos x="482" y="10"/>
                  </a:cxn>
                  <a:cxn ang="0">
                    <a:pos x="438" y="8"/>
                  </a:cxn>
                  <a:cxn ang="0">
                    <a:pos x="450" y="68"/>
                  </a:cxn>
                  <a:cxn ang="0">
                    <a:pos x="478" y="114"/>
                  </a:cxn>
                  <a:cxn ang="0">
                    <a:pos x="456" y="132"/>
                  </a:cxn>
                  <a:cxn ang="0">
                    <a:pos x="420" y="68"/>
                  </a:cxn>
                  <a:cxn ang="0">
                    <a:pos x="382" y="40"/>
                  </a:cxn>
                  <a:cxn ang="0">
                    <a:pos x="354" y="26"/>
                  </a:cxn>
                  <a:cxn ang="0">
                    <a:pos x="352" y="40"/>
                  </a:cxn>
                  <a:cxn ang="0">
                    <a:pos x="372" y="58"/>
                  </a:cxn>
                  <a:cxn ang="0">
                    <a:pos x="336" y="62"/>
                  </a:cxn>
                  <a:cxn ang="0">
                    <a:pos x="318" y="74"/>
                  </a:cxn>
                  <a:cxn ang="0">
                    <a:pos x="296" y="40"/>
                  </a:cxn>
                  <a:cxn ang="0">
                    <a:pos x="224" y="38"/>
                  </a:cxn>
                  <a:cxn ang="0">
                    <a:pos x="190" y="60"/>
                  </a:cxn>
                  <a:cxn ang="0">
                    <a:pos x="206" y="32"/>
                  </a:cxn>
                  <a:cxn ang="0">
                    <a:pos x="196" y="2"/>
                  </a:cxn>
                  <a:cxn ang="0">
                    <a:pos x="100" y="26"/>
                  </a:cxn>
                  <a:cxn ang="0">
                    <a:pos x="22" y="72"/>
                  </a:cxn>
                  <a:cxn ang="0">
                    <a:pos x="40" y="86"/>
                  </a:cxn>
                  <a:cxn ang="0">
                    <a:pos x="2" y="116"/>
                  </a:cxn>
                  <a:cxn ang="0">
                    <a:pos x="14" y="130"/>
                  </a:cxn>
                  <a:cxn ang="0">
                    <a:pos x="34" y="146"/>
                  </a:cxn>
                  <a:cxn ang="0">
                    <a:pos x="116" y="140"/>
                  </a:cxn>
                  <a:cxn ang="0">
                    <a:pos x="76" y="160"/>
                  </a:cxn>
                  <a:cxn ang="0">
                    <a:pos x="44" y="192"/>
                  </a:cxn>
                  <a:cxn ang="0">
                    <a:pos x="110" y="204"/>
                  </a:cxn>
                  <a:cxn ang="0">
                    <a:pos x="210" y="202"/>
                  </a:cxn>
                  <a:cxn ang="0">
                    <a:pos x="276" y="214"/>
                  </a:cxn>
                  <a:cxn ang="0">
                    <a:pos x="294" y="230"/>
                  </a:cxn>
                  <a:cxn ang="0">
                    <a:pos x="168" y="230"/>
                  </a:cxn>
                  <a:cxn ang="0">
                    <a:pos x="70" y="254"/>
                  </a:cxn>
                  <a:cxn ang="0">
                    <a:pos x="122" y="300"/>
                  </a:cxn>
                  <a:cxn ang="0">
                    <a:pos x="222" y="308"/>
                  </a:cxn>
                  <a:cxn ang="0">
                    <a:pos x="232" y="350"/>
                  </a:cxn>
                  <a:cxn ang="0">
                    <a:pos x="314" y="358"/>
                  </a:cxn>
                  <a:cxn ang="0">
                    <a:pos x="420" y="332"/>
                  </a:cxn>
                  <a:cxn ang="0">
                    <a:pos x="478" y="318"/>
                  </a:cxn>
                  <a:cxn ang="0">
                    <a:pos x="490" y="296"/>
                  </a:cxn>
                  <a:cxn ang="0">
                    <a:pos x="516" y="294"/>
                  </a:cxn>
                  <a:cxn ang="0">
                    <a:pos x="540" y="312"/>
                  </a:cxn>
                  <a:cxn ang="0">
                    <a:pos x="560" y="324"/>
                  </a:cxn>
                  <a:cxn ang="0">
                    <a:pos x="592" y="328"/>
                  </a:cxn>
                  <a:cxn ang="0">
                    <a:pos x="640" y="334"/>
                  </a:cxn>
                  <a:cxn ang="0">
                    <a:pos x="680" y="324"/>
                  </a:cxn>
                  <a:cxn ang="0">
                    <a:pos x="700" y="306"/>
                  </a:cxn>
                  <a:cxn ang="0">
                    <a:pos x="692" y="288"/>
                  </a:cxn>
                  <a:cxn ang="0">
                    <a:pos x="648" y="300"/>
                  </a:cxn>
                  <a:cxn ang="0">
                    <a:pos x="632" y="278"/>
                  </a:cxn>
                  <a:cxn ang="0">
                    <a:pos x="660" y="282"/>
                  </a:cxn>
                  <a:cxn ang="0">
                    <a:pos x="668" y="272"/>
                  </a:cxn>
                </a:cxnLst>
                <a:rect l="0" t="0" r="r" b="b"/>
                <a:pathLst>
                  <a:path w="736" h="358">
                    <a:moveTo>
                      <a:pt x="674" y="264"/>
                    </a:moveTo>
                    <a:lnTo>
                      <a:pt x="674" y="264"/>
                    </a:lnTo>
                    <a:lnTo>
                      <a:pt x="682" y="262"/>
                    </a:lnTo>
                    <a:lnTo>
                      <a:pt x="686" y="262"/>
                    </a:lnTo>
                    <a:lnTo>
                      <a:pt x="690" y="264"/>
                    </a:lnTo>
                    <a:lnTo>
                      <a:pt x="694" y="268"/>
                    </a:lnTo>
                    <a:lnTo>
                      <a:pt x="700" y="272"/>
                    </a:lnTo>
                    <a:lnTo>
                      <a:pt x="702" y="274"/>
                    </a:lnTo>
                    <a:lnTo>
                      <a:pt x="704" y="272"/>
                    </a:lnTo>
                    <a:lnTo>
                      <a:pt x="704" y="272"/>
                    </a:lnTo>
                    <a:lnTo>
                      <a:pt x="710" y="268"/>
                    </a:lnTo>
                    <a:lnTo>
                      <a:pt x="714" y="268"/>
                    </a:lnTo>
                    <a:lnTo>
                      <a:pt x="718" y="272"/>
                    </a:lnTo>
                    <a:lnTo>
                      <a:pt x="720" y="274"/>
                    </a:lnTo>
                    <a:lnTo>
                      <a:pt x="726" y="274"/>
                    </a:lnTo>
                    <a:lnTo>
                      <a:pt x="726" y="274"/>
                    </a:lnTo>
                    <a:lnTo>
                      <a:pt x="730" y="274"/>
                    </a:lnTo>
                    <a:lnTo>
                      <a:pt x="734" y="272"/>
                    </a:lnTo>
                    <a:lnTo>
                      <a:pt x="736" y="268"/>
                    </a:lnTo>
                    <a:lnTo>
                      <a:pt x="736" y="264"/>
                    </a:lnTo>
                    <a:lnTo>
                      <a:pt x="736" y="254"/>
                    </a:lnTo>
                    <a:lnTo>
                      <a:pt x="734" y="244"/>
                    </a:lnTo>
                    <a:lnTo>
                      <a:pt x="734" y="244"/>
                    </a:lnTo>
                    <a:lnTo>
                      <a:pt x="732" y="240"/>
                    </a:lnTo>
                    <a:lnTo>
                      <a:pt x="728" y="238"/>
                    </a:lnTo>
                    <a:lnTo>
                      <a:pt x="720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8" y="234"/>
                    </a:lnTo>
                    <a:lnTo>
                      <a:pt x="708" y="234"/>
                    </a:lnTo>
                    <a:lnTo>
                      <a:pt x="706" y="230"/>
                    </a:lnTo>
                    <a:lnTo>
                      <a:pt x="704" y="230"/>
                    </a:lnTo>
                    <a:lnTo>
                      <a:pt x="698" y="228"/>
                    </a:lnTo>
                    <a:lnTo>
                      <a:pt x="692" y="228"/>
                    </a:lnTo>
                    <a:lnTo>
                      <a:pt x="684" y="224"/>
                    </a:lnTo>
                    <a:lnTo>
                      <a:pt x="674" y="218"/>
                    </a:lnTo>
                    <a:lnTo>
                      <a:pt x="660" y="210"/>
                    </a:lnTo>
                    <a:lnTo>
                      <a:pt x="660" y="210"/>
                    </a:lnTo>
                    <a:lnTo>
                      <a:pt x="652" y="204"/>
                    </a:lnTo>
                    <a:lnTo>
                      <a:pt x="648" y="200"/>
                    </a:lnTo>
                    <a:lnTo>
                      <a:pt x="644" y="202"/>
                    </a:lnTo>
                    <a:lnTo>
                      <a:pt x="646" y="206"/>
                    </a:lnTo>
                    <a:lnTo>
                      <a:pt x="646" y="206"/>
                    </a:lnTo>
                    <a:lnTo>
                      <a:pt x="646" y="208"/>
                    </a:lnTo>
                    <a:lnTo>
                      <a:pt x="642" y="210"/>
                    </a:lnTo>
                    <a:lnTo>
                      <a:pt x="632" y="208"/>
                    </a:lnTo>
                    <a:lnTo>
                      <a:pt x="618" y="200"/>
                    </a:lnTo>
                    <a:lnTo>
                      <a:pt x="612" y="196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2" y="184"/>
                    </a:lnTo>
                    <a:lnTo>
                      <a:pt x="598" y="180"/>
                    </a:lnTo>
                    <a:lnTo>
                      <a:pt x="590" y="174"/>
                    </a:lnTo>
                    <a:lnTo>
                      <a:pt x="586" y="172"/>
                    </a:lnTo>
                    <a:lnTo>
                      <a:pt x="584" y="168"/>
                    </a:lnTo>
                    <a:lnTo>
                      <a:pt x="586" y="166"/>
                    </a:lnTo>
                    <a:lnTo>
                      <a:pt x="588" y="162"/>
                    </a:lnTo>
                    <a:lnTo>
                      <a:pt x="588" y="162"/>
                    </a:lnTo>
                    <a:lnTo>
                      <a:pt x="594" y="152"/>
                    </a:lnTo>
                    <a:lnTo>
                      <a:pt x="596" y="146"/>
                    </a:lnTo>
                    <a:lnTo>
                      <a:pt x="596" y="140"/>
                    </a:lnTo>
                    <a:lnTo>
                      <a:pt x="594" y="134"/>
                    </a:lnTo>
                    <a:lnTo>
                      <a:pt x="592" y="128"/>
                    </a:lnTo>
                    <a:lnTo>
                      <a:pt x="588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76" y="112"/>
                    </a:lnTo>
                    <a:lnTo>
                      <a:pt x="572" y="102"/>
                    </a:lnTo>
                    <a:lnTo>
                      <a:pt x="566" y="82"/>
                    </a:lnTo>
                    <a:lnTo>
                      <a:pt x="560" y="58"/>
                    </a:lnTo>
                    <a:lnTo>
                      <a:pt x="554" y="48"/>
                    </a:lnTo>
                    <a:lnTo>
                      <a:pt x="548" y="38"/>
                    </a:lnTo>
                    <a:lnTo>
                      <a:pt x="548" y="38"/>
                    </a:lnTo>
                    <a:lnTo>
                      <a:pt x="540" y="28"/>
                    </a:lnTo>
                    <a:lnTo>
                      <a:pt x="532" y="24"/>
                    </a:lnTo>
                    <a:lnTo>
                      <a:pt x="522" y="20"/>
                    </a:lnTo>
                    <a:lnTo>
                      <a:pt x="506" y="10"/>
                    </a:lnTo>
                    <a:lnTo>
                      <a:pt x="506" y="10"/>
                    </a:lnTo>
                    <a:lnTo>
                      <a:pt x="498" y="6"/>
                    </a:lnTo>
                    <a:lnTo>
                      <a:pt x="492" y="4"/>
                    </a:lnTo>
                    <a:lnTo>
                      <a:pt x="490" y="4"/>
                    </a:lnTo>
                    <a:lnTo>
                      <a:pt x="488" y="6"/>
                    </a:lnTo>
                    <a:lnTo>
                      <a:pt x="486" y="8"/>
                    </a:lnTo>
                    <a:lnTo>
                      <a:pt x="482" y="10"/>
                    </a:lnTo>
                    <a:lnTo>
                      <a:pt x="476" y="10"/>
                    </a:lnTo>
                    <a:lnTo>
                      <a:pt x="464" y="6"/>
                    </a:lnTo>
                    <a:lnTo>
                      <a:pt x="464" y="6"/>
                    </a:lnTo>
                    <a:lnTo>
                      <a:pt x="450" y="2"/>
                    </a:lnTo>
                    <a:lnTo>
                      <a:pt x="446" y="2"/>
                    </a:lnTo>
                    <a:lnTo>
                      <a:pt x="440" y="4"/>
                    </a:lnTo>
                    <a:lnTo>
                      <a:pt x="438" y="8"/>
                    </a:lnTo>
                    <a:lnTo>
                      <a:pt x="436" y="12"/>
                    </a:lnTo>
                    <a:lnTo>
                      <a:pt x="436" y="20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44" y="38"/>
                    </a:lnTo>
                    <a:lnTo>
                      <a:pt x="446" y="48"/>
                    </a:lnTo>
                    <a:lnTo>
                      <a:pt x="450" y="68"/>
                    </a:lnTo>
                    <a:lnTo>
                      <a:pt x="454" y="78"/>
                    </a:lnTo>
                    <a:lnTo>
                      <a:pt x="458" y="88"/>
                    </a:lnTo>
                    <a:lnTo>
                      <a:pt x="464" y="98"/>
                    </a:lnTo>
                    <a:lnTo>
                      <a:pt x="472" y="106"/>
                    </a:lnTo>
                    <a:lnTo>
                      <a:pt x="472" y="106"/>
                    </a:lnTo>
                    <a:lnTo>
                      <a:pt x="476" y="110"/>
                    </a:lnTo>
                    <a:lnTo>
                      <a:pt x="478" y="114"/>
                    </a:lnTo>
                    <a:lnTo>
                      <a:pt x="478" y="116"/>
                    </a:lnTo>
                    <a:lnTo>
                      <a:pt x="474" y="118"/>
                    </a:lnTo>
                    <a:lnTo>
                      <a:pt x="468" y="122"/>
                    </a:lnTo>
                    <a:lnTo>
                      <a:pt x="462" y="128"/>
                    </a:lnTo>
                    <a:lnTo>
                      <a:pt x="462" y="128"/>
                    </a:lnTo>
                    <a:lnTo>
                      <a:pt x="458" y="130"/>
                    </a:lnTo>
                    <a:lnTo>
                      <a:pt x="456" y="132"/>
                    </a:lnTo>
                    <a:lnTo>
                      <a:pt x="452" y="130"/>
                    </a:lnTo>
                    <a:lnTo>
                      <a:pt x="446" y="122"/>
                    </a:lnTo>
                    <a:lnTo>
                      <a:pt x="434" y="104"/>
                    </a:lnTo>
                    <a:lnTo>
                      <a:pt x="434" y="104"/>
                    </a:lnTo>
                    <a:lnTo>
                      <a:pt x="430" y="94"/>
                    </a:lnTo>
                    <a:lnTo>
                      <a:pt x="426" y="84"/>
                    </a:lnTo>
                    <a:lnTo>
                      <a:pt x="420" y="68"/>
                    </a:lnTo>
                    <a:lnTo>
                      <a:pt x="418" y="62"/>
                    </a:lnTo>
                    <a:lnTo>
                      <a:pt x="412" y="56"/>
                    </a:lnTo>
                    <a:lnTo>
                      <a:pt x="406" y="50"/>
                    </a:lnTo>
                    <a:lnTo>
                      <a:pt x="396" y="46"/>
                    </a:lnTo>
                    <a:lnTo>
                      <a:pt x="396" y="46"/>
                    </a:lnTo>
                    <a:lnTo>
                      <a:pt x="384" y="42"/>
                    </a:lnTo>
                    <a:lnTo>
                      <a:pt x="382" y="40"/>
                    </a:lnTo>
                    <a:lnTo>
                      <a:pt x="384" y="38"/>
                    </a:lnTo>
                    <a:lnTo>
                      <a:pt x="384" y="36"/>
                    </a:lnTo>
                    <a:lnTo>
                      <a:pt x="384" y="34"/>
                    </a:lnTo>
                    <a:lnTo>
                      <a:pt x="380" y="32"/>
                    </a:lnTo>
                    <a:lnTo>
                      <a:pt x="372" y="30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40" y="26"/>
                    </a:lnTo>
                    <a:lnTo>
                      <a:pt x="338" y="28"/>
                    </a:lnTo>
                    <a:lnTo>
                      <a:pt x="338" y="30"/>
                    </a:lnTo>
                    <a:lnTo>
                      <a:pt x="340" y="32"/>
                    </a:lnTo>
                    <a:lnTo>
                      <a:pt x="346" y="36"/>
                    </a:lnTo>
                    <a:lnTo>
                      <a:pt x="346" y="36"/>
                    </a:lnTo>
                    <a:lnTo>
                      <a:pt x="352" y="40"/>
                    </a:lnTo>
                    <a:lnTo>
                      <a:pt x="356" y="44"/>
                    </a:lnTo>
                    <a:lnTo>
                      <a:pt x="358" y="46"/>
                    </a:lnTo>
                    <a:lnTo>
                      <a:pt x="356" y="48"/>
                    </a:lnTo>
                    <a:lnTo>
                      <a:pt x="356" y="52"/>
                    </a:lnTo>
                    <a:lnTo>
                      <a:pt x="362" y="54"/>
                    </a:lnTo>
                    <a:lnTo>
                      <a:pt x="362" y="54"/>
                    </a:lnTo>
                    <a:lnTo>
                      <a:pt x="372" y="58"/>
                    </a:lnTo>
                    <a:lnTo>
                      <a:pt x="376" y="62"/>
                    </a:lnTo>
                    <a:lnTo>
                      <a:pt x="376" y="64"/>
                    </a:lnTo>
                    <a:lnTo>
                      <a:pt x="372" y="64"/>
                    </a:lnTo>
                    <a:lnTo>
                      <a:pt x="354" y="60"/>
                    </a:lnTo>
                    <a:lnTo>
                      <a:pt x="354" y="60"/>
                    </a:lnTo>
                    <a:lnTo>
                      <a:pt x="344" y="60"/>
                    </a:lnTo>
                    <a:lnTo>
                      <a:pt x="336" y="62"/>
                    </a:lnTo>
                    <a:lnTo>
                      <a:pt x="332" y="66"/>
                    </a:lnTo>
                    <a:lnTo>
                      <a:pt x="330" y="70"/>
                    </a:lnTo>
                    <a:lnTo>
                      <a:pt x="328" y="76"/>
                    </a:lnTo>
                    <a:lnTo>
                      <a:pt x="326" y="78"/>
                    </a:lnTo>
                    <a:lnTo>
                      <a:pt x="322" y="7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4" y="68"/>
                    </a:lnTo>
                    <a:lnTo>
                      <a:pt x="314" y="64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16" y="48"/>
                    </a:lnTo>
                    <a:lnTo>
                      <a:pt x="310" y="44"/>
                    </a:lnTo>
                    <a:lnTo>
                      <a:pt x="296" y="40"/>
                    </a:lnTo>
                    <a:lnTo>
                      <a:pt x="296" y="40"/>
                    </a:lnTo>
                    <a:lnTo>
                      <a:pt x="268" y="34"/>
                    </a:lnTo>
                    <a:lnTo>
                      <a:pt x="250" y="30"/>
                    </a:lnTo>
                    <a:lnTo>
                      <a:pt x="238" y="32"/>
                    </a:lnTo>
                    <a:lnTo>
                      <a:pt x="230" y="36"/>
                    </a:lnTo>
                    <a:lnTo>
                      <a:pt x="230" y="36"/>
                    </a:lnTo>
                    <a:lnTo>
                      <a:pt x="224" y="38"/>
                    </a:lnTo>
                    <a:lnTo>
                      <a:pt x="224" y="42"/>
                    </a:lnTo>
                    <a:lnTo>
                      <a:pt x="226" y="46"/>
                    </a:lnTo>
                    <a:lnTo>
                      <a:pt x="224" y="48"/>
                    </a:lnTo>
                    <a:lnTo>
                      <a:pt x="220" y="50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0" y="60"/>
                    </a:lnTo>
                    <a:lnTo>
                      <a:pt x="186" y="60"/>
                    </a:lnTo>
                    <a:lnTo>
                      <a:pt x="192" y="54"/>
                    </a:lnTo>
                    <a:lnTo>
                      <a:pt x="204" y="44"/>
                    </a:lnTo>
                    <a:lnTo>
                      <a:pt x="206" y="40"/>
                    </a:lnTo>
                    <a:lnTo>
                      <a:pt x="206" y="36"/>
                    </a:lnTo>
                    <a:lnTo>
                      <a:pt x="206" y="36"/>
                    </a:lnTo>
                    <a:lnTo>
                      <a:pt x="206" y="32"/>
                    </a:lnTo>
                    <a:lnTo>
                      <a:pt x="206" y="28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2"/>
                    </a:lnTo>
                    <a:lnTo>
                      <a:pt x="204" y="8"/>
                    </a:lnTo>
                    <a:lnTo>
                      <a:pt x="196" y="2"/>
                    </a:lnTo>
                    <a:lnTo>
                      <a:pt x="196" y="2"/>
                    </a:lnTo>
                    <a:lnTo>
                      <a:pt x="186" y="0"/>
                    </a:lnTo>
                    <a:lnTo>
                      <a:pt x="176" y="0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82" y="32"/>
                    </a:lnTo>
                    <a:lnTo>
                      <a:pt x="66" y="4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4" y="66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6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32" y="90"/>
                    </a:lnTo>
                    <a:lnTo>
                      <a:pt x="20" y="94"/>
                    </a:lnTo>
                    <a:lnTo>
                      <a:pt x="16" y="98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4" y="110"/>
                    </a:lnTo>
                    <a:lnTo>
                      <a:pt x="2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2" y="130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20" y="128"/>
                    </a:lnTo>
                    <a:lnTo>
                      <a:pt x="24" y="126"/>
                    </a:lnTo>
                    <a:lnTo>
                      <a:pt x="26" y="128"/>
                    </a:lnTo>
                    <a:lnTo>
                      <a:pt x="28" y="130"/>
                    </a:lnTo>
                    <a:lnTo>
                      <a:pt x="30" y="13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50"/>
                    </a:lnTo>
                    <a:lnTo>
                      <a:pt x="44" y="150"/>
                    </a:lnTo>
                    <a:lnTo>
                      <a:pt x="64" y="150"/>
                    </a:lnTo>
                    <a:lnTo>
                      <a:pt x="88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16" y="140"/>
                    </a:lnTo>
                    <a:lnTo>
                      <a:pt x="120" y="142"/>
                    </a:lnTo>
                    <a:lnTo>
                      <a:pt x="122" y="144"/>
                    </a:lnTo>
                    <a:lnTo>
                      <a:pt x="120" y="146"/>
                    </a:lnTo>
                    <a:lnTo>
                      <a:pt x="114" y="150"/>
                    </a:lnTo>
                    <a:lnTo>
                      <a:pt x="98" y="156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46" y="168"/>
                    </a:lnTo>
                    <a:lnTo>
                      <a:pt x="38" y="170"/>
                    </a:lnTo>
                    <a:lnTo>
                      <a:pt x="34" y="174"/>
                    </a:lnTo>
                    <a:lnTo>
                      <a:pt x="32" y="178"/>
                    </a:lnTo>
                    <a:lnTo>
                      <a:pt x="34" y="182"/>
                    </a:lnTo>
                    <a:lnTo>
                      <a:pt x="38" y="188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56" y="202"/>
                    </a:lnTo>
                    <a:lnTo>
                      <a:pt x="66" y="206"/>
                    </a:lnTo>
                    <a:lnTo>
                      <a:pt x="76" y="206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110" y="204"/>
                    </a:lnTo>
                    <a:lnTo>
                      <a:pt x="120" y="206"/>
                    </a:lnTo>
                    <a:lnTo>
                      <a:pt x="132" y="208"/>
                    </a:lnTo>
                    <a:lnTo>
                      <a:pt x="152" y="208"/>
                    </a:lnTo>
                    <a:lnTo>
                      <a:pt x="152" y="208"/>
                    </a:lnTo>
                    <a:lnTo>
                      <a:pt x="176" y="206"/>
                    </a:lnTo>
                    <a:lnTo>
                      <a:pt x="194" y="202"/>
                    </a:lnTo>
                    <a:lnTo>
                      <a:pt x="210" y="202"/>
                    </a:lnTo>
                    <a:lnTo>
                      <a:pt x="220" y="202"/>
                    </a:lnTo>
                    <a:lnTo>
                      <a:pt x="232" y="204"/>
                    </a:lnTo>
                    <a:lnTo>
                      <a:pt x="232" y="204"/>
                    </a:lnTo>
                    <a:lnTo>
                      <a:pt x="250" y="208"/>
                    </a:lnTo>
                    <a:lnTo>
                      <a:pt x="262" y="210"/>
                    </a:lnTo>
                    <a:lnTo>
                      <a:pt x="268" y="210"/>
                    </a:lnTo>
                    <a:lnTo>
                      <a:pt x="276" y="214"/>
                    </a:lnTo>
                    <a:lnTo>
                      <a:pt x="276" y="214"/>
                    </a:lnTo>
                    <a:lnTo>
                      <a:pt x="290" y="220"/>
                    </a:lnTo>
                    <a:lnTo>
                      <a:pt x="302" y="226"/>
                    </a:lnTo>
                    <a:lnTo>
                      <a:pt x="306" y="228"/>
                    </a:lnTo>
                    <a:lnTo>
                      <a:pt x="306" y="230"/>
                    </a:lnTo>
                    <a:lnTo>
                      <a:pt x="294" y="230"/>
                    </a:lnTo>
                    <a:lnTo>
                      <a:pt x="294" y="230"/>
                    </a:lnTo>
                    <a:lnTo>
                      <a:pt x="280" y="230"/>
                    </a:lnTo>
                    <a:lnTo>
                      <a:pt x="276" y="232"/>
                    </a:lnTo>
                    <a:lnTo>
                      <a:pt x="268" y="232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10" y="228"/>
                    </a:lnTo>
                    <a:lnTo>
                      <a:pt x="168" y="230"/>
                    </a:lnTo>
                    <a:lnTo>
                      <a:pt x="126" y="234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76" y="244"/>
                    </a:lnTo>
                    <a:lnTo>
                      <a:pt x="70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72" y="262"/>
                    </a:lnTo>
                    <a:lnTo>
                      <a:pt x="78" y="268"/>
                    </a:lnTo>
                    <a:lnTo>
                      <a:pt x="86" y="274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10" y="296"/>
                    </a:lnTo>
                    <a:lnTo>
                      <a:pt x="122" y="300"/>
                    </a:lnTo>
                    <a:lnTo>
                      <a:pt x="138" y="302"/>
                    </a:lnTo>
                    <a:lnTo>
                      <a:pt x="156" y="304"/>
                    </a:lnTo>
                    <a:lnTo>
                      <a:pt x="190" y="304"/>
                    </a:lnTo>
                    <a:lnTo>
                      <a:pt x="214" y="304"/>
                    </a:lnTo>
                    <a:lnTo>
                      <a:pt x="214" y="304"/>
                    </a:lnTo>
                    <a:lnTo>
                      <a:pt x="220" y="306"/>
                    </a:lnTo>
                    <a:lnTo>
                      <a:pt x="222" y="308"/>
                    </a:lnTo>
                    <a:lnTo>
                      <a:pt x="224" y="314"/>
                    </a:lnTo>
                    <a:lnTo>
                      <a:pt x="224" y="320"/>
                    </a:lnTo>
                    <a:lnTo>
                      <a:pt x="222" y="332"/>
                    </a:lnTo>
                    <a:lnTo>
                      <a:pt x="222" y="338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32" y="350"/>
                    </a:lnTo>
                    <a:lnTo>
                      <a:pt x="238" y="356"/>
                    </a:lnTo>
                    <a:lnTo>
                      <a:pt x="246" y="358"/>
                    </a:lnTo>
                    <a:lnTo>
                      <a:pt x="260" y="358"/>
                    </a:lnTo>
                    <a:lnTo>
                      <a:pt x="260" y="358"/>
                    </a:lnTo>
                    <a:lnTo>
                      <a:pt x="282" y="358"/>
                    </a:lnTo>
                    <a:lnTo>
                      <a:pt x="300" y="358"/>
                    </a:lnTo>
                    <a:lnTo>
                      <a:pt x="314" y="358"/>
                    </a:lnTo>
                    <a:lnTo>
                      <a:pt x="324" y="356"/>
                    </a:lnTo>
                    <a:lnTo>
                      <a:pt x="324" y="356"/>
                    </a:lnTo>
                    <a:lnTo>
                      <a:pt x="342" y="352"/>
                    </a:lnTo>
                    <a:lnTo>
                      <a:pt x="370" y="348"/>
                    </a:lnTo>
                    <a:lnTo>
                      <a:pt x="398" y="342"/>
                    </a:lnTo>
                    <a:lnTo>
                      <a:pt x="412" y="338"/>
                    </a:lnTo>
                    <a:lnTo>
                      <a:pt x="420" y="332"/>
                    </a:lnTo>
                    <a:lnTo>
                      <a:pt x="420" y="332"/>
                    </a:lnTo>
                    <a:lnTo>
                      <a:pt x="428" y="328"/>
                    </a:lnTo>
                    <a:lnTo>
                      <a:pt x="436" y="326"/>
                    </a:lnTo>
                    <a:lnTo>
                      <a:pt x="450" y="326"/>
                    </a:lnTo>
                    <a:lnTo>
                      <a:pt x="462" y="324"/>
                    </a:lnTo>
                    <a:lnTo>
                      <a:pt x="470" y="322"/>
                    </a:lnTo>
                    <a:lnTo>
                      <a:pt x="478" y="318"/>
                    </a:lnTo>
                    <a:lnTo>
                      <a:pt x="478" y="318"/>
                    </a:lnTo>
                    <a:lnTo>
                      <a:pt x="486" y="312"/>
                    </a:lnTo>
                    <a:lnTo>
                      <a:pt x="488" y="308"/>
                    </a:lnTo>
                    <a:lnTo>
                      <a:pt x="490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90" y="296"/>
                    </a:lnTo>
                    <a:lnTo>
                      <a:pt x="494" y="294"/>
                    </a:lnTo>
                    <a:lnTo>
                      <a:pt x="500" y="290"/>
                    </a:lnTo>
                    <a:lnTo>
                      <a:pt x="500" y="290"/>
                    </a:lnTo>
                    <a:lnTo>
                      <a:pt x="506" y="288"/>
                    </a:lnTo>
                    <a:lnTo>
                      <a:pt x="512" y="290"/>
                    </a:lnTo>
                    <a:lnTo>
                      <a:pt x="514" y="292"/>
                    </a:lnTo>
                    <a:lnTo>
                      <a:pt x="516" y="294"/>
                    </a:lnTo>
                    <a:lnTo>
                      <a:pt x="514" y="304"/>
                    </a:lnTo>
                    <a:lnTo>
                      <a:pt x="514" y="304"/>
                    </a:lnTo>
                    <a:lnTo>
                      <a:pt x="514" y="312"/>
                    </a:lnTo>
                    <a:lnTo>
                      <a:pt x="514" y="312"/>
                    </a:lnTo>
                    <a:lnTo>
                      <a:pt x="518" y="312"/>
                    </a:lnTo>
                    <a:lnTo>
                      <a:pt x="530" y="310"/>
                    </a:lnTo>
                    <a:lnTo>
                      <a:pt x="540" y="312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64" y="318"/>
                    </a:lnTo>
                    <a:lnTo>
                      <a:pt x="568" y="320"/>
                    </a:lnTo>
                    <a:lnTo>
                      <a:pt x="568" y="322"/>
                    </a:lnTo>
                    <a:lnTo>
                      <a:pt x="566" y="322"/>
                    </a:lnTo>
                    <a:lnTo>
                      <a:pt x="560" y="324"/>
                    </a:lnTo>
                    <a:lnTo>
                      <a:pt x="562" y="326"/>
                    </a:lnTo>
                    <a:lnTo>
                      <a:pt x="568" y="330"/>
                    </a:lnTo>
                    <a:lnTo>
                      <a:pt x="568" y="330"/>
                    </a:lnTo>
                    <a:lnTo>
                      <a:pt x="576" y="332"/>
                    </a:lnTo>
                    <a:lnTo>
                      <a:pt x="582" y="332"/>
                    </a:lnTo>
                    <a:lnTo>
                      <a:pt x="588" y="330"/>
                    </a:lnTo>
                    <a:lnTo>
                      <a:pt x="592" y="328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28" y="336"/>
                    </a:lnTo>
                    <a:lnTo>
                      <a:pt x="636" y="336"/>
                    </a:lnTo>
                    <a:lnTo>
                      <a:pt x="640" y="334"/>
                    </a:lnTo>
                    <a:lnTo>
                      <a:pt x="648" y="336"/>
                    </a:lnTo>
                    <a:lnTo>
                      <a:pt x="648" y="336"/>
                    </a:lnTo>
                    <a:lnTo>
                      <a:pt x="654" y="336"/>
                    </a:lnTo>
                    <a:lnTo>
                      <a:pt x="658" y="336"/>
                    </a:lnTo>
                    <a:lnTo>
                      <a:pt x="668" y="332"/>
                    </a:lnTo>
                    <a:lnTo>
                      <a:pt x="676" y="326"/>
                    </a:lnTo>
                    <a:lnTo>
                      <a:pt x="680" y="324"/>
                    </a:lnTo>
                    <a:lnTo>
                      <a:pt x="686" y="324"/>
                    </a:lnTo>
                    <a:lnTo>
                      <a:pt x="686" y="324"/>
                    </a:lnTo>
                    <a:lnTo>
                      <a:pt x="694" y="322"/>
                    </a:lnTo>
                    <a:lnTo>
                      <a:pt x="700" y="316"/>
                    </a:lnTo>
                    <a:lnTo>
                      <a:pt x="702" y="314"/>
                    </a:lnTo>
                    <a:lnTo>
                      <a:pt x="702" y="310"/>
                    </a:lnTo>
                    <a:lnTo>
                      <a:pt x="700" y="306"/>
                    </a:lnTo>
                    <a:lnTo>
                      <a:pt x="696" y="304"/>
                    </a:lnTo>
                    <a:lnTo>
                      <a:pt x="696" y="304"/>
                    </a:lnTo>
                    <a:lnTo>
                      <a:pt x="692" y="300"/>
                    </a:lnTo>
                    <a:lnTo>
                      <a:pt x="690" y="298"/>
                    </a:lnTo>
                    <a:lnTo>
                      <a:pt x="692" y="294"/>
                    </a:lnTo>
                    <a:lnTo>
                      <a:pt x="694" y="290"/>
                    </a:lnTo>
                    <a:lnTo>
                      <a:pt x="692" y="288"/>
                    </a:lnTo>
                    <a:lnTo>
                      <a:pt x="688" y="286"/>
                    </a:lnTo>
                    <a:lnTo>
                      <a:pt x="688" y="286"/>
                    </a:lnTo>
                    <a:lnTo>
                      <a:pt x="682" y="286"/>
                    </a:lnTo>
                    <a:lnTo>
                      <a:pt x="674" y="288"/>
                    </a:lnTo>
                    <a:lnTo>
                      <a:pt x="660" y="296"/>
                    </a:lnTo>
                    <a:lnTo>
                      <a:pt x="648" y="300"/>
                    </a:lnTo>
                    <a:lnTo>
                      <a:pt x="648" y="300"/>
                    </a:lnTo>
                    <a:lnTo>
                      <a:pt x="650" y="296"/>
                    </a:lnTo>
                    <a:lnTo>
                      <a:pt x="650" y="296"/>
                    </a:lnTo>
                    <a:lnTo>
                      <a:pt x="652" y="290"/>
                    </a:lnTo>
                    <a:lnTo>
                      <a:pt x="650" y="286"/>
                    </a:lnTo>
                    <a:lnTo>
                      <a:pt x="646" y="284"/>
                    </a:lnTo>
                    <a:lnTo>
                      <a:pt x="642" y="280"/>
                    </a:lnTo>
                    <a:lnTo>
                      <a:pt x="632" y="278"/>
                    </a:lnTo>
                    <a:lnTo>
                      <a:pt x="630" y="276"/>
                    </a:lnTo>
                    <a:lnTo>
                      <a:pt x="632" y="274"/>
                    </a:lnTo>
                    <a:lnTo>
                      <a:pt x="632" y="274"/>
                    </a:lnTo>
                    <a:lnTo>
                      <a:pt x="634" y="272"/>
                    </a:lnTo>
                    <a:lnTo>
                      <a:pt x="638" y="272"/>
                    </a:lnTo>
                    <a:lnTo>
                      <a:pt x="650" y="278"/>
                    </a:lnTo>
                    <a:lnTo>
                      <a:pt x="660" y="282"/>
                    </a:lnTo>
                    <a:lnTo>
                      <a:pt x="666" y="282"/>
                    </a:lnTo>
                    <a:lnTo>
                      <a:pt x="670" y="280"/>
                    </a:lnTo>
                    <a:lnTo>
                      <a:pt x="670" y="280"/>
                    </a:lnTo>
                    <a:lnTo>
                      <a:pt x="672" y="278"/>
                    </a:lnTo>
                    <a:lnTo>
                      <a:pt x="672" y="276"/>
                    </a:lnTo>
                    <a:lnTo>
                      <a:pt x="670" y="272"/>
                    </a:lnTo>
                    <a:lnTo>
                      <a:pt x="668" y="272"/>
                    </a:lnTo>
                    <a:lnTo>
                      <a:pt x="668" y="270"/>
                    </a:lnTo>
                    <a:lnTo>
                      <a:pt x="670" y="266"/>
                    </a:lnTo>
                    <a:lnTo>
                      <a:pt x="674" y="264"/>
                    </a:lnTo>
                    <a:lnTo>
                      <a:pt x="674" y="2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5" name="Freeform 6115">
                <a:extLst>
                  <a:ext uri="{FF2B5EF4-FFF2-40B4-BE49-F238E27FC236}">
                    <a16:creationId xmlns:a16="http://schemas.microsoft.com/office/drawing/2014/main" id="{0457B61A-AA8F-40A5-8265-23C1EB770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6" name="Freeform 6116">
                <a:extLst>
                  <a:ext uri="{FF2B5EF4-FFF2-40B4-BE49-F238E27FC236}">
                    <a16:creationId xmlns:a16="http://schemas.microsoft.com/office/drawing/2014/main" id="{8D1B792B-43DA-4C64-AC08-DDAE254F2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7" name="Freeform 6117">
                <a:extLst>
                  <a:ext uri="{FF2B5EF4-FFF2-40B4-BE49-F238E27FC236}">
                    <a16:creationId xmlns:a16="http://schemas.microsoft.com/office/drawing/2014/main" id="{1EA95E40-F922-4A86-8EAD-D1AC2D7B8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8" name="Freeform 6118">
                <a:extLst>
                  <a:ext uri="{FF2B5EF4-FFF2-40B4-BE49-F238E27FC236}">
                    <a16:creationId xmlns:a16="http://schemas.microsoft.com/office/drawing/2014/main" id="{A7E7DB1B-D6C9-47C6-8A67-E2D8BD8E8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9839" y="699453"/>
                <a:ext cx="1550670" cy="1127760"/>
              </a:xfrm>
              <a:custGeom>
                <a:avLst/>
                <a:gdLst/>
                <a:ahLst/>
                <a:cxnLst>
                  <a:cxn ang="0">
                    <a:pos x="220" y="296"/>
                  </a:cxn>
                  <a:cxn ang="0">
                    <a:pos x="150" y="400"/>
                  </a:cxn>
                  <a:cxn ang="0">
                    <a:pos x="96" y="502"/>
                  </a:cxn>
                  <a:cxn ang="0">
                    <a:pos x="62" y="558"/>
                  </a:cxn>
                  <a:cxn ang="0">
                    <a:pos x="228" y="618"/>
                  </a:cxn>
                  <a:cxn ang="0">
                    <a:pos x="350" y="620"/>
                  </a:cxn>
                  <a:cxn ang="0">
                    <a:pos x="584" y="666"/>
                  </a:cxn>
                  <a:cxn ang="0">
                    <a:pos x="674" y="786"/>
                  </a:cxn>
                  <a:cxn ang="0">
                    <a:pos x="706" y="902"/>
                  </a:cxn>
                  <a:cxn ang="0">
                    <a:pos x="744" y="990"/>
                  </a:cxn>
                  <a:cxn ang="0">
                    <a:pos x="836" y="1010"/>
                  </a:cxn>
                  <a:cxn ang="0">
                    <a:pos x="750" y="1050"/>
                  </a:cxn>
                  <a:cxn ang="0">
                    <a:pos x="890" y="1110"/>
                  </a:cxn>
                  <a:cxn ang="0">
                    <a:pos x="788" y="1212"/>
                  </a:cxn>
                  <a:cxn ang="0">
                    <a:pos x="782" y="1328"/>
                  </a:cxn>
                  <a:cxn ang="0">
                    <a:pos x="834" y="1452"/>
                  </a:cxn>
                  <a:cxn ang="0">
                    <a:pos x="922" y="1474"/>
                  </a:cxn>
                  <a:cxn ang="0">
                    <a:pos x="860" y="1502"/>
                  </a:cxn>
                  <a:cxn ang="0">
                    <a:pos x="908" y="1598"/>
                  </a:cxn>
                  <a:cxn ang="0">
                    <a:pos x="966" y="1678"/>
                  </a:cxn>
                  <a:cxn ang="0">
                    <a:pos x="1032" y="1712"/>
                  </a:cxn>
                  <a:cxn ang="0">
                    <a:pos x="1090" y="1738"/>
                  </a:cxn>
                  <a:cxn ang="0">
                    <a:pos x="1196" y="1768"/>
                  </a:cxn>
                  <a:cxn ang="0">
                    <a:pos x="1232" y="1622"/>
                  </a:cxn>
                  <a:cxn ang="0">
                    <a:pos x="1262" y="1566"/>
                  </a:cxn>
                  <a:cxn ang="0">
                    <a:pos x="1262" y="1486"/>
                  </a:cxn>
                  <a:cxn ang="0">
                    <a:pos x="1332" y="1420"/>
                  </a:cxn>
                  <a:cxn ang="0">
                    <a:pos x="1402" y="1376"/>
                  </a:cxn>
                  <a:cxn ang="0">
                    <a:pos x="1412" y="1372"/>
                  </a:cxn>
                  <a:cxn ang="0">
                    <a:pos x="1468" y="1372"/>
                  </a:cxn>
                  <a:cxn ang="0">
                    <a:pos x="1628" y="1238"/>
                  </a:cxn>
                  <a:cxn ang="0">
                    <a:pos x="1748" y="1208"/>
                  </a:cxn>
                  <a:cxn ang="0">
                    <a:pos x="2012" y="1102"/>
                  </a:cxn>
                  <a:cxn ang="0">
                    <a:pos x="1846" y="1076"/>
                  </a:cxn>
                  <a:cxn ang="0">
                    <a:pos x="1800" y="1058"/>
                  </a:cxn>
                  <a:cxn ang="0">
                    <a:pos x="1842" y="970"/>
                  </a:cxn>
                  <a:cxn ang="0">
                    <a:pos x="2060" y="1056"/>
                  </a:cxn>
                  <a:cxn ang="0">
                    <a:pos x="2054" y="956"/>
                  </a:cxn>
                  <a:cxn ang="0">
                    <a:pos x="1916" y="858"/>
                  </a:cxn>
                  <a:cxn ang="0">
                    <a:pos x="2100" y="830"/>
                  </a:cxn>
                  <a:cxn ang="0">
                    <a:pos x="2142" y="768"/>
                  </a:cxn>
                  <a:cxn ang="0">
                    <a:pos x="2154" y="698"/>
                  </a:cxn>
                  <a:cxn ang="0">
                    <a:pos x="2066" y="608"/>
                  </a:cxn>
                  <a:cxn ang="0">
                    <a:pos x="2144" y="562"/>
                  </a:cxn>
                  <a:cxn ang="0">
                    <a:pos x="2144" y="504"/>
                  </a:cxn>
                  <a:cxn ang="0">
                    <a:pos x="2096" y="408"/>
                  </a:cxn>
                  <a:cxn ang="0">
                    <a:pos x="2228" y="310"/>
                  </a:cxn>
                  <a:cxn ang="0">
                    <a:pos x="2278" y="276"/>
                  </a:cxn>
                  <a:cxn ang="0">
                    <a:pos x="2298" y="244"/>
                  </a:cxn>
                  <a:cxn ang="0">
                    <a:pos x="2322" y="150"/>
                  </a:cxn>
                  <a:cxn ang="0">
                    <a:pos x="2050" y="210"/>
                  </a:cxn>
                  <a:cxn ang="0">
                    <a:pos x="1962" y="152"/>
                  </a:cxn>
                  <a:cxn ang="0">
                    <a:pos x="1616" y="174"/>
                  </a:cxn>
                  <a:cxn ang="0">
                    <a:pos x="2034" y="78"/>
                  </a:cxn>
                  <a:cxn ang="0">
                    <a:pos x="1724" y="52"/>
                  </a:cxn>
                  <a:cxn ang="0">
                    <a:pos x="1618" y="2"/>
                  </a:cxn>
                  <a:cxn ang="0">
                    <a:pos x="1402" y="44"/>
                  </a:cxn>
                  <a:cxn ang="0">
                    <a:pos x="1048" y="56"/>
                  </a:cxn>
                  <a:cxn ang="0">
                    <a:pos x="1110" y="74"/>
                  </a:cxn>
                  <a:cxn ang="0">
                    <a:pos x="1108" y="158"/>
                  </a:cxn>
                  <a:cxn ang="0">
                    <a:pos x="900" y="148"/>
                  </a:cxn>
                  <a:cxn ang="0">
                    <a:pos x="756" y="114"/>
                  </a:cxn>
                </a:cxnLst>
                <a:rect l="0" t="0" r="r" b="b"/>
                <a:pathLst>
                  <a:path w="2442" h="1776">
                    <a:moveTo>
                      <a:pt x="470" y="176"/>
                    </a:moveTo>
                    <a:lnTo>
                      <a:pt x="470" y="176"/>
                    </a:lnTo>
                    <a:lnTo>
                      <a:pt x="476" y="186"/>
                    </a:lnTo>
                    <a:lnTo>
                      <a:pt x="478" y="194"/>
                    </a:lnTo>
                    <a:lnTo>
                      <a:pt x="480" y="202"/>
                    </a:lnTo>
                    <a:lnTo>
                      <a:pt x="478" y="210"/>
                    </a:lnTo>
                    <a:lnTo>
                      <a:pt x="474" y="216"/>
                    </a:lnTo>
                    <a:lnTo>
                      <a:pt x="466" y="218"/>
                    </a:lnTo>
                    <a:lnTo>
                      <a:pt x="458" y="220"/>
                    </a:lnTo>
                    <a:lnTo>
                      <a:pt x="446" y="218"/>
                    </a:lnTo>
                    <a:lnTo>
                      <a:pt x="446" y="218"/>
                    </a:lnTo>
                    <a:lnTo>
                      <a:pt x="426" y="212"/>
                    </a:lnTo>
                    <a:lnTo>
                      <a:pt x="406" y="210"/>
                    </a:lnTo>
                    <a:lnTo>
                      <a:pt x="386" y="210"/>
                    </a:lnTo>
                    <a:lnTo>
                      <a:pt x="368" y="212"/>
                    </a:lnTo>
                    <a:lnTo>
                      <a:pt x="350" y="216"/>
                    </a:lnTo>
                    <a:lnTo>
                      <a:pt x="334" y="222"/>
                    </a:lnTo>
                    <a:lnTo>
                      <a:pt x="318" y="230"/>
                    </a:lnTo>
                    <a:lnTo>
                      <a:pt x="304" y="238"/>
                    </a:lnTo>
                    <a:lnTo>
                      <a:pt x="304" y="238"/>
                    </a:lnTo>
                    <a:lnTo>
                      <a:pt x="272" y="256"/>
                    </a:lnTo>
                    <a:lnTo>
                      <a:pt x="244" y="270"/>
                    </a:lnTo>
                    <a:lnTo>
                      <a:pt x="232" y="276"/>
                    </a:lnTo>
                    <a:lnTo>
                      <a:pt x="222" y="284"/>
                    </a:lnTo>
                    <a:lnTo>
                      <a:pt x="218" y="290"/>
                    </a:lnTo>
                    <a:lnTo>
                      <a:pt x="218" y="292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6" y="300"/>
                    </a:lnTo>
                    <a:lnTo>
                      <a:pt x="234" y="304"/>
                    </a:lnTo>
                    <a:lnTo>
                      <a:pt x="244" y="308"/>
                    </a:lnTo>
                    <a:lnTo>
                      <a:pt x="256" y="308"/>
                    </a:lnTo>
                    <a:lnTo>
                      <a:pt x="280" y="308"/>
                    </a:lnTo>
                    <a:lnTo>
                      <a:pt x="302" y="306"/>
                    </a:lnTo>
                    <a:lnTo>
                      <a:pt x="302" y="306"/>
                    </a:lnTo>
                    <a:lnTo>
                      <a:pt x="310" y="306"/>
                    </a:lnTo>
                    <a:lnTo>
                      <a:pt x="316" y="310"/>
                    </a:lnTo>
                    <a:lnTo>
                      <a:pt x="318" y="318"/>
                    </a:lnTo>
                    <a:lnTo>
                      <a:pt x="320" y="326"/>
                    </a:lnTo>
                    <a:lnTo>
                      <a:pt x="318" y="338"/>
                    </a:lnTo>
                    <a:lnTo>
                      <a:pt x="314" y="348"/>
                    </a:lnTo>
                    <a:lnTo>
                      <a:pt x="308" y="360"/>
                    </a:lnTo>
                    <a:lnTo>
                      <a:pt x="300" y="370"/>
                    </a:lnTo>
                    <a:lnTo>
                      <a:pt x="300" y="370"/>
                    </a:lnTo>
                    <a:lnTo>
                      <a:pt x="290" y="380"/>
                    </a:lnTo>
                    <a:lnTo>
                      <a:pt x="280" y="384"/>
                    </a:lnTo>
                    <a:lnTo>
                      <a:pt x="268" y="386"/>
                    </a:lnTo>
                    <a:lnTo>
                      <a:pt x="254" y="386"/>
                    </a:lnTo>
                    <a:lnTo>
                      <a:pt x="224" y="382"/>
                    </a:lnTo>
                    <a:lnTo>
                      <a:pt x="206" y="382"/>
                    </a:lnTo>
                    <a:lnTo>
                      <a:pt x="188" y="384"/>
                    </a:lnTo>
                    <a:lnTo>
                      <a:pt x="188" y="384"/>
                    </a:lnTo>
                    <a:lnTo>
                      <a:pt x="172" y="388"/>
                    </a:lnTo>
                    <a:lnTo>
                      <a:pt x="162" y="392"/>
                    </a:lnTo>
                    <a:lnTo>
                      <a:pt x="154" y="396"/>
                    </a:lnTo>
                    <a:lnTo>
                      <a:pt x="150" y="400"/>
                    </a:lnTo>
                    <a:lnTo>
                      <a:pt x="142" y="404"/>
                    </a:lnTo>
                    <a:lnTo>
                      <a:pt x="130" y="408"/>
                    </a:lnTo>
                    <a:lnTo>
                      <a:pt x="112" y="412"/>
                    </a:lnTo>
                    <a:lnTo>
                      <a:pt x="84" y="418"/>
                    </a:lnTo>
                    <a:lnTo>
                      <a:pt x="84" y="418"/>
                    </a:lnTo>
                    <a:lnTo>
                      <a:pt x="54" y="422"/>
                    </a:lnTo>
                    <a:lnTo>
                      <a:pt x="32" y="428"/>
                    </a:lnTo>
                    <a:lnTo>
                      <a:pt x="16" y="434"/>
                    </a:lnTo>
                    <a:lnTo>
                      <a:pt x="4" y="440"/>
                    </a:lnTo>
                    <a:lnTo>
                      <a:pt x="0" y="448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12" y="472"/>
                    </a:lnTo>
                    <a:lnTo>
                      <a:pt x="12" y="472"/>
                    </a:lnTo>
                    <a:lnTo>
                      <a:pt x="20" y="478"/>
                    </a:lnTo>
                    <a:lnTo>
                      <a:pt x="28" y="482"/>
                    </a:lnTo>
                    <a:lnTo>
                      <a:pt x="38" y="484"/>
                    </a:lnTo>
                    <a:lnTo>
                      <a:pt x="48" y="484"/>
                    </a:lnTo>
                    <a:lnTo>
                      <a:pt x="52" y="486"/>
                    </a:lnTo>
                    <a:lnTo>
                      <a:pt x="56" y="490"/>
                    </a:lnTo>
                    <a:lnTo>
                      <a:pt x="56" y="490"/>
                    </a:lnTo>
                    <a:lnTo>
                      <a:pt x="62" y="494"/>
                    </a:lnTo>
                    <a:lnTo>
                      <a:pt x="68" y="496"/>
                    </a:lnTo>
                    <a:lnTo>
                      <a:pt x="78" y="496"/>
                    </a:lnTo>
                    <a:lnTo>
                      <a:pt x="88" y="496"/>
                    </a:lnTo>
                    <a:lnTo>
                      <a:pt x="92" y="498"/>
                    </a:lnTo>
                    <a:lnTo>
                      <a:pt x="96" y="502"/>
                    </a:lnTo>
                    <a:lnTo>
                      <a:pt x="96" y="502"/>
                    </a:lnTo>
                    <a:lnTo>
                      <a:pt x="102" y="506"/>
                    </a:lnTo>
                    <a:lnTo>
                      <a:pt x="108" y="510"/>
                    </a:lnTo>
                    <a:lnTo>
                      <a:pt x="116" y="514"/>
                    </a:lnTo>
                    <a:lnTo>
                      <a:pt x="124" y="514"/>
                    </a:lnTo>
                    <a:lnTo>
                      <a:pt x="144" y="516"/>
                    </a:lnTo>
                    <a:lnTo>
                      <a:pt x="174" y="516"/>
                    </a:lnTo>
                    <a:lnTo>
                      <a:pt x="174" y="516"/>
                    </a:lnTo>
                    <a:lnTo>
                      <a:pt x="192" y="516"/>
                    </a:lnTo>
                    <a:lnTo>
                      <a:pt x="208" y="514"/>
                    </a:lnTo>
                    <a:lnTo>
                      <a:pt x="238" y="508"/>
                    </a:lnTo>
                    <a:lnTo>
                      <a:pt x="250" y="506"/>
                    </a:lnTo>
                    <a:lnTo>
                      <a:pt x="260" y="506"/>
                    </a:lnTo>
                    <a:lnTo>
                      <a:pt x="268" y="50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6"/>
                    </a:lnTo>
                    <a:lnTo>
                      <a:pt x="268" y="520"/>
                    </a:lnTo>
                    <a:lnTo>
                      <a:pt x="260" y="524"/>
                    </a:lnTo>
                    <a:lnTo>
                      <a:pt x="248" y="524"/>
                    </a:lnTo>
                    <a:lnTo>
                      <a:pt x="174" y="528"/>
                    </a:lnTo>
                    <a:lnTo>
                      <a:pt x="174" y="528"/>
                    </a:lnTo>
                    <a:lnTo>
                      <a:pt x="128" y="534"/>
                    </a:lnTo>
                    <a:lnTo>
                      <a:pt x="106" y="538"/>
                    </a:lnTo>
                    <a:lnTo>
                      <a:pt x="86" y="542"/>
                    </a:lnTo>
                    <a:lnTo>
                      <a:pt x="72" y="546"/>
                    </a:lnTo>
                    <a:lnTo>
                      <a:pt x="62" y="552"/>
                    </a:lnTo>
                    <a:lnTo>
                      <a:pt x="60" y="554"/>
                    </a:lnTo>
                    <a:lnTo>
                      <a:pt x="62" y="558"/>
                    </a:lnTo>
                    <a:lnTo>
                      <a:pt x="64" y="562"/>
                    </a:lnTo>
                    <a:lnTo>
                      <a:pt x="68" y="564"/>
                    </a:lnTo>
                    <a:lnTo>
                      <a:pt x="68" y="564"/>
                    </a:lnTo>
                    <a:lnTo>
                      <a:pt x="84" y="570"/>
                    </a:lnTo>
                    <a:lnTo>
                      <a:pt x="102" y="574"/>
                    </a:lnTo>
                    <a:lnTo>
                      <a:pt x="140" y="580"/>
                    </a:lnTo>
                    <a:lnTo>
                      <a:pt x="154" y="584"/>
                    </a:lnTo>
                    <a:lnTo>
                      <a:pt x="162" y="586"/>
                    </a:lnTo>
                    <a:lnTo>
                      <a:pt x="162" y="588"/>
                    </a:lnTo>
                    <a:lnTo>
                      <a:pt x="160" y="590"/>
                    </a:lnTo>
                    <a:lnTo>
                      <a:pt x="148" y="594"/>
                    </a:lnTo>
                    <a:lnTo>
                      <a:pt x="148" y="594"/>
                    </a:lnTo>
                    <a:lnTo>
                      <a:pt x="136" y="598"/>
                    </a:lnTo>
                    <a:lnTo>
                      <a:pt x="132" y="602"/>
                    </a:lnTo>
                    <a:lnTo>
                      <a:pt x="132" y="604"/>
                    </a:lnTo>
                    <a:lnTo>
                      <a:pt x="132" y="606"/>
                    </a:lnTo>
                    <a:lnTo>
                      <a:pt x="136" y="608"/>
                    </a:lnTo>
                    <a:lnTo>
                      <a:pt x="146" y="614"/>
                    </a:lnTo>
                    <a:lnTo>
                      <a:pt x="182" y="624"/>
                    </a:lnTo>
                    <a:lnTo>
                      <a:pt x="224" y="636"/>
                    </a:lnTo>
                    <a:lnTo>
                      <a:pt x="224" y="636"/>
                    </a:lnTo>
                    <a:lnTo>
                      <a:pt x="242" y="642"/>
                    </a:lnTo>
                    <a:lnTo>
                      <a:pt x="248" y="642"/>
                    </a:lnTo>
                    <a:lnTo>
                      <a:pt x="248" y="642"/>
                    </a:lnTo>
                    <a:lnTo>
                      <a:pt x="248" y="640"/>
                    </a:lnTo>
                    <a:lnTo>
                      <a:pt x="242" y="634"/>
                    </a:lnTo>
                    <a:lnTo>
                      <a:pt x="230" y="622"/>
                    </a:lnTo>
                    <a:lnTo>
                      <a:pt x="228" y="618"/>
                    </a:lnTo>
                    <a:lnTo>
                      <a:pt x="228" y="616"/>
                    </a:lnTo>
                    <a:lnTo>
                      <a:pt x="232" y="614"/>
                    </a:lnTo>
                    <a:lnTo>
                      <a:pt x="232" y="614"/>
                    </a:lnTo>
                    <a:lnTo>
                      <a:pt x="238" y="612"/>
                    </a:lnTo>
                    <a:lnTo>
                      <a:pt x="242" y="614"/>
                    </a:lnTo>
                    <a:lnTo>
                      <a:pt x="246" y="620"/>
                    </a:lnTo>
                    <a:lnTo>
                      <a:pt x="250" y="622"/>
                    </a:lnTo>
                    <a:lnTo>
                      <a:pt x="254" y="622"/>
                    </a:lnTo>
                    <a:lnTo>
                      <a:pt x="262" y="622"/>
                    </a:lnTo>
                    <a:lnTo>
                      <a:pt x="272" y="618"/>
                    </a:lnTo>
                    <a:lnTo>
                      <a:pt x="272" y="618"/>
                    </a:lnTo>
                    <a:lnTo>
                      <a:pt x="282" y="614"/>
                    </a:lnTo>
                    <a:lnTo>
                      <a:pt x="286" y="614"/>
                    </a:lnTo>
                    <a:lnTo>
                      <a:pt x="286" y="616"/>
                    </a:lnTo>
                    <a:lnTo>
                      <a:pt x="286" y="618"/>
                    </a:lnTo>
                    <a:lnTo>
                      <a:pt x="284" y="622"/>
                    </a:lnTo>
                    <a:lnTo>
                      <a:pt x="286" y="626"/>
                    </a:lnTo>
                    <a:lnTo>
                      <a:pt x="290" y="630"/>
                    </a:lnTo>
                    <a:lnTo>
                      <a:pt x="300" y="630"/>
                    </a:lnTo>
                    <a:lnTo>
                      <a:pt x="300" y="630"/>
                    </a:lnTo>
                    <a:lnTo>
                      <a:pt x="312" y="630"/>
                    </a:lnTo>
                    <a:lnTo>
                      <a:pt x="320" y="626"/>
                    </a:lnTo>
                    <a:lnTo>
                      <a:pt x="326" y="622"/>
                    </a:lnTo>
                    <a:lnTo>
                      <a:pt x="330" y="618"/>
                    </a:lnTo>
                    <a:lnTo>
                      <a:pt x="334" y="616"/>
                    </a:lnTo>
                    <a:lnTo>
                      <a:pt x="338" y="614"/>
                    </a:lnTo>
                    <a:lnTo>
                      <a:pt x="344" y="614"/>
                    </a:lnTo>
                    <a:lnTo>
                      <a:pt x="350" y="620"/>
                    </a:lnTo>
                    <a:lnTo>
                      <a:pt x="350" y="620"/>
                    </a:lnTo>
                    <a:lnTo>
                      <a:pt x="358" y="624"/>
                    </a:lnTo>
                    <a:lnTo>
                      <a:pt x="364" y="624"/>
                    </a:lnTo>
                    <a:lnTo>
                      <a:pt x="368" y="622"/>
                    </a:lnTo>
                    <a:lnTo>
                      <a:pt x="370" y="618"/>
                    </a:lnTo>
                    <a:lnTo>
                      <a:pt x="374" y="614"/>
                    </a:lnTo>
                    <a:lnTo>
                      <a:pt x="380" y="610"/>
                    </a:lnTo>
                    <a:lnTo>
                      <a:pt x="386" y="610"/>
                    </a:lnTo>
                    <a:lnTo>
                      <a:pt x="396" y="612"/>
                    </a:lnTo>
                    <a:lnTo>
                      <a:pt x="396" y="612"/>
                    </a:lnTo>
                    <a:lnTo>
                      <a:pt x="408" y="616"/>
                    </a:lnTo>
                    <a:lnTo>
                      <a:pt x="420" y="618"/>
                    </a:lnTo>
                    <a:lnTo>
                      <a:pt x="446" y="618"/>
                    </a:lnTo>
                    <a:lnTo>
                      <a:pt x="468" y="620"/>
                    </a:lnTo>
                    <a:lnTo>
                      <a:pt x="476" y="622"/>
                    </a:lnTo>
                    <a:lnTo>
                      <a:pt x="484" y="628"/>
                    </a:lnTo>
                    <a:lnTo>
                      <a:pt x="484" y="628"/>
                    </a:lnTo>
                    <a:lnTo>
                      <a:pt x="488" y="632"/>
                    </a:lnTo>
                    <a:lnTo>
                      <a:pt x="492" y="634"/>
                    </a:lnTo>
                    <a:lnTo>
                      <a:pt x="500" y="634"/>
                    </a:lnTo>
                    <a:lnTo>
                      <a:pt x="506" y="634"/>
                    </a:lnTo>
                    <a:lnTo>
                      <a:pt x="512" y="634"/>
                    </a:lnTo>
                    <a:lnTo>
                      <a:pt x="522" y="638"/>
                    </a:lnTo>
                    <a:lnTo>
                      <a:pt x="534" y="642"/>
                    </a:lnTo>
                    <a:lnTo>
                      <a:pt x="534" y="642"/>
                    </a:lnTo>
                    <a:lnTo>
                      <a:pt x="560" y="654"/>
                    </a:lnTo>
                    <a:lnTo>
                      <a:pt x="578" y="664"/>
                    </a:lnTo>
                    <a:lnTo>
                      <a:pt x="584" y="666"/>
                    </a:lnTo>
                    <a:lnTo>
                      <a:pt x="584" y="670"/>
                    </a:lnTo>
                    <a:lnTo>
                      <a:pt x="584" y="674"/>
                    </a:lnTo>
                    <a:lnTo>
                      <a:pt x="578" y="680"/>
                    </a:lnTo>
                    <a:lnTo>
                      <a:pt x="578" y="680"/>
                    </a:lnTo>
                    <a:lnTo>
                      <a:pt x="576" y="684"/>
                    </a:lnTo>
                    <a:lnTo>
                      <a:pt x="576" y="688"/>
                    </a:lnTo>
                    <a:lnTo>
                      <a:pt x="578" y="692"/>
                    </a:lnTo>
                    <a:lnTo>
                      <a:pt x="582" y="696"/>
                    </a:lnTo>
                    <a:lnTo>
                      <a:pt x="596" y="704"/>
                    </a:lnTo>
                    <a:lnTo>
                      <a:pt x="612" y="714"/>
                    </a:lnTo>
                    <a:lnTo>
                      <a:pt x="642" y="734"/>
                    </a:lnTo>
                    <a:lnTo>
                      <a:pt x="652" y="742"/>
                    </a:lnTo>
                    <a:lnTo>
                      <a:pt x="654" y="746"/>
                    </a:lnTo>
                    <a:lnTo>
                      <a:pt x="654" y="750"/>
                    </a:lnTo>
                    <a:lnTo>
                      <a:pt x="654" y="750"/>
                    </a:lnTo>
                    <a:lnTo>
                      <a:pt x="650" y="756"/>
                    </a:lnTo>
                    <a:lnTo>
                      <a:pt x="644" y="764"/>
                    </a:lnTo>
                    <a:lnTo>
                      <a:pt x="632" y="776"/>
                    </a:lnTo>
                    <a:lnTo>
                      <a:pt x="628" y="780"/>
                    </a:lnTo>
                    <a:lnTo>
                      <a:pt x="628" y="782"/>
                    </a:lnTo>
                    <a:lnTo>
                      <a:pt x="632" y="784"/>
                    </a:lnTo>
                    <a:lnTo>
                      <a:pt x="642" y="780"/>
                    </a:lnTo>
                    <a:lnTo>
                      <a:pt x="642" y="780"/>
                    </a:lnTo>
                    <a:lnTo>
                      <a:pt x="660" y="776"/>
                    </a:lnTo>
                    <a:lnTo>
                      <a:pt x="666" y="776"/>
                    </a:lnTo>
                    <a:lnTo>
                      <a:pt x="668" y="776"/>
                    </a:lnTo>
                    <a:lnTo>
                      <a:pt x="670" y="782"/>
                    </a:lnTo>
                    <a:lnTo>
                      <a:pt x="674" y="786"/>
                    </a:lnTo>
                    <a:lnTo>
                      <a:pt x="678" y="790"/>
                    </a:lnTo>
                    <a:lnTo>
                      <a:pt x="678" y="790"/>
                    </a:lnTo>
                    <a:lnTo>
                      <a:pt x="684" y="794"/>
                    </a:lnTo>
                    <a:lnTo>
                      <a:pt x="686" y="798"/>
                    </a:lnTo>
                    <a:lnTo>
                      <a:pt x="684" y="802"/>
                    </a:lnTo>
                    <a:lnTo>
                      <a:pt x="682" y="806"/>
                    </a:lnTo>
                    <a:lnTo>
                      <a:pt x="680" y="810"/>
                    </a:lnTo>
                    <a:lnTo>
                      <a:pt x="680" y="814"/>
                    </a:lnTo>
                    <a:lnTo>
                      <a:pt x="686" y="818"/>
                    </a:lnTo>
                    <a:lnTo>
                      <a:pt x="696" y="824"/>
                    </a:lnTo>
                    <a:lnTo>
                      <a:pt x="696" y="824"/>
                    </a:lnTo>
                    <a:lnTo>
                      <a:pt x="704" y="828"/>
                    </a:lnTo>
                    <a:lnTo>
                      <a:pt x="708" y="834"/>
                    </a:lnTo>
                    <a:lnTo>
                      <a:pt x="706" y="838"/>
                    </a:lnTo>
                    <a:lnTo>
                      <a:pt x="702" y="844"/>
                    </a:lnTo>
                    <a:lnTo>
                      <a:pt x="700" y="850"/>
                    </a:lnTo>
                    <a:lnTo>
                      <a:pt x="698" y="854"/>
                    </a:lnTo>
                    <a:lnTo>
                      <a:pt x="702" y="858"/>
                    </a:lnTo>
                    <a:lnTo>
                      <a:pt x="710" y="862"/>
                    </a:lnTo>
                    <a:lnTo>
                      <a:pt x="710" y="862"/>
                    </a:lnTo>
                    <a:lnTo>
                      <a:pt x="720" y="864"/>
                    </a:lnTo>
                    <a:lnTo>
                      <a:pt x="726" y="870"/>
                    </a:lnTo>
                    <a:lnTo>
                      <a:pt x="730" y="876"/>
                    </a:lnTo>
                    <a:lnTo>
                      <a:pt x="730" y="882"/>
                    </a:lnTo>
                    <a:lnTo>
                      <a:pt x="728" y="888"/>
                    </a:lnTo>
                    <a:lnTo>
                      <a:pt x="722" y="894"/>
                    </a:lnTo>
                    <a:lnTo>
                      <a:pt x="716" y="898"/>
                    </a:lnTo>
                    <a:lnTo>
                      <a:pt x="706" y="902"/>
                    </a:lnTo>
                    <a:lnTo>
                      <a:pt x="706" y="902"/>
                    </a:lnTo>
                    <a:lnTo>
                      <a:pt x="698" y="904"/>
                    </a:lnTo>
                    <a:lnTo>
                      <a:pt x="694" y="906"/>
                    </a:lnTo>
                    <a:lnTo>
                      <a:pt x="690" y="910"/>
                    </a:lnTo>
                    <a:lnTo>
                      <a:pt x="690" y="916"/>
                    </a:lnTo>
                    <a:lnTo>
                      <a:pt x="690" y="922"/>
                    </a:lnTo>
                    <a:lnTo>
                      <a:pt x="694" y="928"/>
                    </a:lnTo>
                    <a:lnTo>
                      <a:pt x="704" y="942"/>
                    </a:lnTo>
                    <a:lnTo>
                      <a:pt x="704" y="942"/>
                    </a:lnTo>
                    <a:lnTo>
                      <a:pt x="708" y="948"/>
                    </a:lnTo>
                    <a:lnTo>
                      <a:pt x="708" y="952"/>
                    </a:lnTo>
                    <a:lnTo>
                      <a:pt x="704" y="956"/>
                    </a:lnTo>
                    <a:lnTo>
                      <a:pt x="698" y="956"/>
                    </a:lnTo>
                    <a:lnTo>
                      <a:pt x="686" y="960"/>
                    </a:lnTo>
                    <a:lnTo>
                      <a:pt x="682" y="960"/>
                    </a:lnTo>
                    <a:lnTo>
                      <a:pt x="684" y="964"/>
                    </a:lnTo>
                    <a:lnTo>
                      <a:pt x="684" y="964"/>
                    </a:lnTo>
                    <a:lnTo>
                      <a:pt x="690" y="972"/>
                    </a:lnTo>
                    <a:lnTo>
                      <a:pt x="696" y="980"/>
                    </a:lnTo>
                    <a:lnTo>
                      <a:pt x="698" y="984"/>
                    </a:lnTo>
                    <a:lnTo>
                      <a:pt x="702" y="986"/>
                    </a:lnTo>
                    <a:lnTo>
                      <a:pt x="706" y="986"/>
                    </a:lnTo>
                    <a:lnTo>
                      <a:pt x="710" y="984"/>
                    </a:lnTo>
                    <a:lnTo>
                      <a:pt x="710" y="984"/>
                    </a:lnTo>
                    <a:lnTo>
                      <a:pt x="716" y="984"/>
                    </a:lnTo>
                    <a:lnTo>
                      <a:pt x="722" y="984"/>
                    </a:lnTo>
                    <a:lnTo>
                      <a:pt x="738" y="988"/>
                    </a:lnTo>
                    <a:lnTo>
                      <a:pt x="744" y="990"/>
                    </a:lnTo>
                    <a:lnTo>
                      <a:pt x="752" y="988"/>
                    </a:lnTo>
                    <a:lnTo>
                      <a:pt x="758" y="984"/>
                    </a:lnTo>
                    <a:lnTo>
                      <a:pt x="764" y="974"/>
                    </a:lnTo>
                    <a:lnTo>
                      <a:pt x="764" y="974"/>
                    </a:lnTo>
                    <a:lnTo>
                      <a:pt x="768" y="970"/>
                    </a:lnTo>
                    <a:lnTo>
                      <a:pt x="770" y="966"/>
                    </a:lnTo>
                    <a:lnTo>
                      <a:pt x="780" y="960"/>
                    </a:lnTo>
                    <a:lnTo>
                      <a:pt x="790" y="960"/>
                    </a:lnTo>
                    <a:lnTo>
                      <a:pt x="800" y="960"/>
                    </a:lnTo>
                    <a:lnTo>
                      <a:pt x="808" y="962"/>
                    </a:lnTo>
                    <a:lnTo>
                      <a:pt x="816" y="966"/>
                    </a:lnTo>
                    <a:lnTo>
                      <a:pt x="818" y="970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2" y="978"/>
                    </a:lnTo>
                    <a:lnTo>
                      <a:pt x="810" y="980"/>
                    </a:lnTo>
                    <a:lnTo>
                      <a:pt x="812" y="982"/>
                    </a:lnTo>
                    <a:lnTo>
                      <a:pt x="818" y="982"/>
                    </a:lnTo>
                    <a:lnTo>
                      <a:pt x="822" y="984"/>
                    </a:lnTo>
                    <a:lnTo>
                      <a:pt x="828" y="986"/>
                    </a:lnTo>
                    <a:lnTo>
                      <a:pt x="828" y="990"/>
                    </a:lnTo>
                    <a:lnTo>
                      <a:pt x="826" y="994"/>
                    </a:lnTo>
                    <a:lnTo>
                      <a:pt x="826" y="994"/>
                    </a:lnTo>
                    <a:lnTo>
                      <a:pt x="824" y="998"/>
                    </a:lnTo>
                    <a:lnTo>
                      <a:pt x="824" y="1000"/>
                    </a:lnTo>
                    <a:lnTo>
                      <a:pt x="828" y="1006"/>
                    </a:lnTo>
                    <a:lnTo>
                      <a:pt x="836" y="1010"/>
                    </a:lnTo>
                    <a:lnTo>
                      <a:pt x="846" y="1014"/>
                    </a:lnTo>
                    <a:lnTo>
                      <a:pt x="866" y="1020"/>
                    </a:lnTo>
                    <a:lnTo>
                      <a:pt x="872" y="1022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68" y="1034"/>
                    </a:lnTo>
                    <a:lnTo>
                      <a:pt x="866" y="1040"/>
                    </a:lnTo>
                    <a:lnTo>
                      <a:pt x="868" y="1044"/>
                    </a:lnTo>
                    <a:lnTo>
                      <a:pt x="874" y="1050"/>
                    </a:lnTo>
                    <a:lnTo>
                      <a:pt x="874" y="1050"/>
                    </a:lnTo>
                    <a:lnTo>
                      <a:pt x="874" y="1052"/>
                    </a:lnTo>
                    <a:lnTo>
                      <a:pt x="872" y="1054"/>
                    </a:lnTo>
                    <a:lnTo>
                      <a:pt x="862" y="1052"/>
                    </a:lnTo>
                    <a:lnTo>
                      <a:pt x="848" y="1048"/>
                    </a:lnTo>
                    <a:lnTo>
                      <a:pt x="832" y="1040"/>
                    </a:lnTo>
                    <a:lnTo>
                      <a:pt x="832" y="1040"/>
                    </a:lnTo>
                    <a:lnTo>
                      <a:pt x="822" y="1036"/>
                    </a:lnTo>
                    <a:lnTo>
                      <a:pt x="810" y="1032"/>
                    </a:lnTo>
                    <a:lnTo>
                      <a:pt x="784" y="1028"/>
                    </a:lnTo>
                    <a:lnTo>
                      <a:pt x="758" y="1028"/>
                    </a:lnTo>
                    <a:lnTo>
                      <a:pt x="748" y="1030"/>
                    </a:lnTo>
                    <a:lnTo>
                      <a:pt x="742" y="1032"/>
                    </a:lnTo>
                    <a:lnTo>
                      <a:pt x="742" y="1032"/>
                    </a:lnTo>
                    <a:lnTo>
                      <a:pt x="738" y="1036"/>
                    </a:lnTo>
                    <a:lnTo>
                      <a:pt x="740" y="1042"/>
                    </a:lnTo>
                    <a:lnTo>
                      <a:pt x="744" y="1046"/>
                    </a:lnTo>
                    <a:lnTo>
                      <a:pt x="750" y="1050"/>
                    </a:lnTo>
                    <a:lnTo>
                      <a:pt x="764" y="1056"/>
                    </a:lnTo>
                    <a:lnTo>
                      <a:pt x="782" y="1060"/>
                    </a:lnTo>
                    <a:lnTo>
                      <a:pt x="782" y="1060"/>
                    </a:lnTo>
                    <a:lnTo>
                      <a:pt x="796" y="1060"/>
                    </a:lnTo>
                    <a:lnTo>
                      <a:pt x="804" y="1064"/>
                    </a:lnTo>
                    <a:lnTo>
                      <a:pt x="810" y="1068"/>
                    </a:lnTo>
                    <a:lnTo>
                      <a:pt x="816" y="1072"/>
                    </a:lnTo>
                    <a:lnTo>
                      <a:pt x="820" y="1078"/>
                    </a:lnTo>
                    <a:lnTo>
                      <a:pt x="824" y="1082"/>
                    </a:lnTo>
                    <a:lnTo>
                      <a:pt x="832" y="1086"/>
                    </a:lnTo>
                    <a:lnTo>
                      <a:pt x="844" y="1088"/>
                    </a:lnTo>
                    <a:lnTo>
                      <a:pt x="844" y="1088"/>
                    </a:lnTo>
                    <a:lnTo>
                      <a:pt x="856" y="1090"/>
                    </a:lnTo>
                    <a:lnTo>
                      <a:pt x="864" y="1092"/>
                    </a:lnTo>
                    <a:lnTo>
                      <a:pt x="868" y="1096"/>
                    </a:lnTo>
                    <a:lnTo>
                      <a:pt x="870" y="1098"/>
                    </a:lnTo>
                    <a:lnTo>
                      <a:pt x="866" y="1108"/>
                    </a:lnTo>
                    <a:lnTo>
                      <a:pt x="866" y="1112"/>
                    </a:lnTo>
                    <a:lnTo>
                      <a:pt x="868" y="1118"/>
                    </a:lnTo>
                    <a:lnTo>
                      <a:pt x="868" y="1118"/>
                    </a:lnTo>
                    <a:lnTo>
                      <a:pt x="872" y="1122"/>
                    </a:lnTo>
                    <a:lnTo>
                      <a:pt x="876" y="1120"/>
                    </a:lnTo>
                    <a:lnTo>
                      <a:pt x="880" y="1118"/>
                    </a:lnTo>
                    <a:lnTo>
                      <a:pt x="882" y="1114"/>
                    </a:lnTo>
                    <a:lnTo>
                      <a:pt x="888" y="1106"/>
                    </a:lnTo>
                    <a:lnTo>
                      <a:pt x="888" y="1106"/>
                    </a:lnTo>
                    <a:lnTo>
                      <a:pt x="890" y="1110"/>
                    </a:lnTo>
                    <a:lnTo>
                      <a:pt x="890" y="1110"/>
                    </a:lnTo>
                    <a:lnTo>
                      <a:pt x="888" y="1116"/>
                    </a:lnTo>
                    <a:lnTo>
                      <a:pt x="888" y="1122"/>
                    </a:lnTo>
                    <a:lnTo>
                      <a:pt x="882" y="1134"/>
                    </a:lnTo>
                    <a:lnTo>
                      <a:pt x="876" y="1148"/>
                    </a:lnTo>
                    <a:lnTo>
                      <a:pt x="872" y="1164"/>
                    </a:lnTo>
                    <a:lnTo>
                      <a:pt x="872" y="1164"/>
                    </a:lnTo>
                    <a:lnTo>
                      <a:pt x="870" y="1170"/>
                    </a:lnTo>
                    <a:lnTo>
                      <a:pt x="872" y="1176"/>
                    </a:lnTo>
                    <a:lnTo>
                      <a:pt x="876" y="1182"/>
                    </a:lnTo>
                    <a:lnTo>
                      <a:pt x="876" y="1184"/>
                    </a:lnTo>
                    <a:lnTo>
                      <a:pt x="876" y="1186"/>
                    </a:lnTo>
                    <a:lnTo>
                      <a:pt x="866" y="1192"/>
                    </a:lnTo>
                    <a:lnTo>
                      <a:pt x="866" y="1192"/>
                    </a:lnTo>
                    <a:lnTo>
                      <a:pt x="858" y="1194"/>
                    </a:lnTo>
                    <a:lnTo>
                      <a:pt x="850" y="1196"/>
                    </a:lnTo>
                    <a:lnTo>
                      <a:pt x="838" y="1192"/>
                    </a:lnTo>
                    <a:lnTo>
                      <a:pt x="828" y="1190"/>
                    </a:lnTo>
                    <a:lnTo>
                      <a:pt x="822" y="1190"/>
                    </a:lnTo>
                    <a:lnTo>
                      <a:pt x="818" y="1194"/>
                    </a:lnTo>
                    <a:lnTo>
                      <a:pt x="818" y="1194"/>
                    </a:lnTo>
                    <a:lnTo>
                      <a:pt x="812" y="1196"/>
                    </a:lnTo>
                    <a:lnTo>
                      <a:pt x="806" y="1198"/>
                    </a:lnTo>
                    <a:lnTo>
                      <a:pt x="796" y="1202"/>
                    </a:lnTo>
                    <a:lnTo>
                      <a:pt x="788" y="1204"/>
                    </a:lnTo>
                    <a:lnTo>
                      <a:pt x="786" y="1206"/>
                    </a:lnTo>
                    <a:lnTo>
                      <a:pt x="788" y="1210"/>
                    </a:lnTo>
                    <a:lnTo>
                      <a:pt x="788" y="1210"/>
                    </a:lnTo>
                    <a:lnTo>
                      <a:pt x="788" y="1212"/>
                    </a:lnTo>
                    <a:lnTo>
                      <a:pt x="788" y="1214"/>
                    </a:lnTo>
                    <a:lnTo>
                      <a:pt x="784" y="1214"/>
                    </a:lnTo>
                    <a:lnTo>
                      <a:pt x="784" y="1216"/>
                    </a:lnTo>
                    <a:lnTo>
                      <a:pt x="784" y="1216"/>
                    </a:lnTo>
                    <a:lnTo>
                      <a:pt x="790" y="1222"/>
                    </a:lnTo>
                    <a:lnTo>
                      <a:pt x="790" y="1222"/>
                    </a:lnTo>
                    <a:lnTo>
                      <a:pt x="794" y="1226"/>
                    </a:lnTo>
                    <a:lnTo>
                      <a:pt x="794" y="1228"/>
                    </a:lnTo>
                    <a:lnTo>
                      <a:pt x="792" y="1232"/>
                    </a:lnTo>
                    <a:lnTo>
                      <a:pt x="788" y="1234"/>
                    </a:lnTo>
                    <a:lnTo>
                      <a:pt x="778" y="1240"/>
                    </a:lnTo>
                    <a:lnTo>
                      <a:pt x="774" y="1242"/>
                    </a:lnTo>
                    <a:lnTo>
                      <a:pt x="774" y="1246"/>
                    </a:lnTo>
                    <a:lnTo>
                      <a:pt x="774" y="1246"/>
                    </a:lnTo>
                    <a:lnTo>
                      <a:pt x="774" y="1252"/>
                    </a:lnTo>
                    <a:lnTo>
                      <a:pt x="772" y="1260"/>
                    </a:lnTo>
                    <a:lnTo>
                      <a:pt x="762" y="1284"/>
                    </a:lnTo>
                    <a:lnTo>
                      <a:pt x="762" y="1284"/>
                    </a:lnTo>
                    <a:lnTo>
                      <a:pt x="762" y="1292"/>
                    </a:lnTo>
                    <a:lnTo>
                      <a:pt x="762" y="1296"/>
                    </a:lnTo>
                    <a:lnTo>
                      <a:pt x="766" y="1300"/>
                    </a:lnTo>
                    <a:lnTo>
                      <a:pt x="772" y="1302"/>
                    </a:lnTo>
                    <a:lnTo>
                      <a:pt x="788" y="1306"/>
                    </a:lnTo>
                    <a:lnTo>
                      <a:pt x="810" y="1306"/>
                    </a:lnTo>
                    <a:lnTo>
                      <a:pt x="810" y="1306"/>
                    </a:lnTo>
                    <a:lnTo>
                      <a:pt x="800" y="1312"/>
                    </a:lnTo>
                    <a:lnTo>
                      <a:pt x="790" y="1320"/>
                    </a:lnTo>
                    <a:lnTo>
                      <a:pt x="782" y="1328"/>
                    </a:lnTo>
                    <a:lnTo>
                      <a:pt x="776" y="1338"/>
                    </a:lnTo>
                    <a:lnTo>
                      <a:pt x="772" y="1346"/>
                    </a:lnTo>
                    <a:lnTo>
                      <a:pt x="772" y="1354"/>
                    </a:lnTo>
                    <a:lnTo>
                      <a:pt x="774" y="1362"/>
                    </a:lnTo>
                    <a:lnTo>
                      <a:pt x="780" y="1368"/>
                    </a:lnTo>
                    <a:lnTo>
                      <a:pt x="780" y="1368"/>
                    </a:lnTo>
                    <a:lnTo>
                      <a:pt x="786" y="1374"/>
                    </a:lnTo>
                    <a:lnTo>
                      <a:pt x="790" y="1378"/>
                    </a:lnTo>
                    <a:lnTo>
                      <a:pt x="792" y="1384"/>
                    </a:lnTo>
                    <a:lnTo>
                      <a:pt x="792" y="1390"/>
                    </a:lnTo>
                    <a:lnTo>
                      <a:pt x="792" y="1392"/>
                    </a:lnTo>
                    <a:lnTo>
                      <a:pt x="796" y="1392"/>
                    </a:lnTo>
                    <a:lnTo>
                      <a:pt x="796" y="1392"/>
                    </a:lnTo>
                    <a:lnTo>
                      <a:pt x="806" y="1394"/>
                    </a:lnTo>
                    <a:lnTo>
                      <a:pt x="812" y="1400"/>
                    </a:lnTo>
                    <a:lnTo>
                      <a:pt x="818" y="1406"/>
                    </a:lnTo>
                    <a:lnTo>
                      <a:pt x="818" y="1410"/>
                    </a:lnTo>
                    <a:lnTo>
                      <a:pt x="818" y="1414"/>
                    </a:lnTo>
                    <a:lnTo>
                      <a:pt x="818" y="1414"/>
                    </a:lnTo>
                    <a:lnTo>
                      <a:pt x="818" y="1420"/>
                    </a:lnTo>
                    <a:lnTo>
                      <a:pt x="818" y="1422"/>
                    </a:lnTo>
                    <a:lnTo>
                      <a:pt x="824" y="1426"/>
                    </a:lnTo>
                    <a:lnTo>
                      <a:pt x="828" y="1430"/>
                    </a:lnTo>
                    <a:lnTo>
                      <a:pt x="830" y="1434"/>
                    </a:lnTo>
                    <a:lnTo>
                      <a:pt x="830" y="1440"/>
                    </a:lnTo>
                    <a:lnTo>
                      <a:pt x="830" y="1440"/>
                    </a:lnTo>
                    <a:lnTo>
                      <a:pt x="830" y="1450"/>
                    </a:lnTo>
                    <a:lnTo>
                      <a:pt x="834" y="1452"/>
                    </a:lnTo>
                    <a:lnTo>
                      <a:pt x="836" y="1454"/>
                    </a:lnTo>
                    <a:lnTo>
                      <a:pt x="836" y="1462"/>
                    </a:lnTo>
                    <a:lnTo>
                      <a:pt x="836" y="1462"/>
                    </a:lnTo>
                    <a:lnTo>
                      <a:pt x="836" y="1476"/>
                    </a:lnTo>
                    <a:lnTo>
                      <a:pt x="836" y="1482"/>
                    </a:lnTo>
                    <a:lnTo>
                      <a:pt x="840" y="1488"/>
                    </a:lnTo>
                    <a:lnTo>
                      <a:pt x="842" y="1490"/>
                    </a:lnTo>
                    <a:lnTo>
                      <a:pt x="848" y="1488"/>
                    </a:lnTo>
                    <a:lnTo>
                      <a:pt x="852" y="1482"/>
                    </a:lnTo>
                    <a:lnTo>
                      <a:pt x="860" y="1470"/>
                    </a:lnTo>
                    <a:lnTo>
                      <a:pt x="860" y="1470"/>
                    </a:lnTo>
                    <a:lnTo>
                      <a:pt x="870" y="1454"/>
                    </a:lnTo>
                    <a:lnTo>
                      <a:pt x="872" y="1454"/>
                    </a:lnTo>
                    <a:lnTo>
                      <a:pt x="874" y="1456"/>
                    </a:lnTo>
                    <a:lnTo>
                      <a:pt x="876" y="1462"/>
                    </a:lnTo>
                    <a:lnTo>
                      <a:pt x="878" y="1462"/>
                    </a:lnTo>
                    <a:lnTo>
                      <a:pt x="882" y="1460"/>
                    </a:lnTo>
                    <a:lnTo>
                      <a:pt x="882" y="1460"/>
                    </a:lnTo>
                    <a:lnTo>
                      <a:pt x="888" y="1456"/>
                    </a:lnTo>
                    <a:lnTo>
                      <a:pt x="894" y="1454"/>
                    </a:lnTo>
                    <a:lnTo>
                      <a:pt x="900" y="1452"/>
                    </a:lnTo>
                    <a:lnTo>
                      <a:pt x="906" y="1454"/>
                    </a:lnTo>
                    <a:lnTo>
                      <a:pt x="912" y="1456"/>
                    </a:lnTo>
                    <a:lnTo>
                      <a:pt x="916" y="1458"/>
                    </a:lnTo>
                    <a:lnTo>
                      <a:pt x="918" y="1464"/>
                    </a:lnTo>
                    <a:lnTo>
                      <a:pt x="920" y="1470"/>
                    </a:lnTo>
                    <a:lnTo>
                      <a:pt x="920" y="1470"/>
                    </a:lnTo>
                    <a:lnTo>
                      <a:pt x="922" y="1474"/>
                    </a:lnTo>
                    <a:lnTo>
                      <a:pt x="920" y="1474"/>
                    </a:lnTo>
                    <a:lnTo>
                      <a:pt x="912" y="1470"/>
                    </a:lnTo>
                    <a:lnTo>
                      <a:pt x="902" y="1464"/>
                    </a:lnTo>
                    <a:lnTo>
                      <a:pt x="896" y="1462"/>
                    </a:lnTo>
                    <a:lnTo>
                      <a:pt x="890" y="1464"/>
                    </a:lnTo>
                    <a:lnTo>
                      <a:pt x="890" y="1464"/>
                    </a:lnTo>
                    <a:lnTo>
                      <a:pt x="888" y="1466"/>
                    </a:lnTo>
                    <a:lnTo>
                      <a:pt x="888" y="1468"/>
                    </a:lnTo>
                    <a:lnTo>
                      <a:pt x="894" y="1474"/>
                    </a:lnTo>
                    <a:lnTo>
                      <a:pt x="898" y="1474"/>
                    </a:lnTo>
                    <a:lnTo>
                      <a:pt x="898" y="1476"/>
                    </a:lnTo>
                    <a:lnTo>
                      <a:pt x="896" y="1478"/>
                    </a:lnTo>
                    <a:lnTo>
                      <a:pt x="890" y="1478"/>
                    </a:lnTo>
                    <a:lnTo>
                      <a:pt x="890" y="1478"/>
                    </a:lnTo>
                    <a:lnTo>
                      <a:pt x="884" y="1480"/>
                    </a:lnTo>
                    <a:lnTo>
                      <a:pt x="880" y="1480"/>
                    </a:lnTo>
                    <a:lnTo>
                      <a:pt x="880" y="1484"/>
                    </a:lnTo>
                    <a:lnTo>
                      <a:pt x="880" y="1486"/>
                    </a:lnTo>
                    <a:lnTo>
                      <a:pt x="880" y="1488"/>
                    </a:lnTo>
                    <a:lnTo>
                      <a:pt x="880" y="1490"/>
                    </a:lnTo>
                    <a:lnTo>
                      <a:pt x="876" y="1492"/>
                    </a:lnTo>
                    <a:lnTo>
                      <a:pt x="868" y="1492"/>
                    </a:lnTo>
                    <a:lnTo>
                      <a:pt x="868" y="1492"/>
                    </a:lnTo>
                    <a:lnTo>
                      <a:pt x="856" y="1494"/>
                    </a:lnTo>
                    <a:lnTo>
                      <a:pt x="856" y="1496"/>
                    </a:lnTo>
                    <a:lnTo>
                      <a:pt x="856" y="1496"/>
                    </a:lnTo>
                    <a:lnTo>
                      <a:pt x="860" y="1500"/>
                    </a:lnTo>
                    <a:lnTo>
                      <a:pt x="860" y="1502"/>
                    </a:lnTo>
                    <a:lnTo>
                      <a:pt x="858" y="1504"/>
                    </a:lnTo>
                    <a:lnTo>
                      <a:pt x="858" y="1504"/>
                    </a:lnTo>
                    <a:lnTo>
                      <a:pt x="854" y="1506"/>
                    </a:lnTo>
                    <a:lnTo>
                      <a:pt x="854" y="1506"/>
                    </a:lnTo>
                    <a:lnTo>
                      <a:pt x="856" y="1510"/>
                    </a:lnTo>
                    <a:lnTo>
                      <a:pt x="860" y="1514"/>
                    </a:lnTo>
                    <a:lnTo>
                      <a:pt x="862" y="1516"/>
                    </a:lnTo>
                    <a:lnTo>
                      <a:pt x="860" y="1518"/>
                    </a:lnTo>
                    <a:lnTo>
                      <a:pt x="860" y="1518"/>
                    </a:lnTo>
                    <a:lnTo>
                      <a:pt x="860" y="1522"/>
                    </a:lnTo>
                    <a:lnTo>
                      <a:pt x="860" y="1526"/>
                    </a:lnTo>
                    <a:lnTo>
                      <a:pt x="862" y="1534"/>
                    </a:lnTo>
                    <a:lnTo>
                      <a:pt x="874" y="1554"/>
                    </a:lnTo>
                    <a:lnTo>
                      <a:pt x="874" y="1554"/>
                    </a:lnTo>
                    <a:lnTo>
                      <a:pt x="878" y="1558"/>
                    </a:lnTo>
                    <a:lnTo>
                      <a:pt x="882" y="1560"/>
                    </a:lnTo>
                    <a:lnTo>
                      <a:pt x="890" y="1562"/>
                    </a:lnTo>
                    <a:lnTo>
                      <a:pt x="898" y="1562"/>
                    </a:lnTo>
                    <a:lnTo>
                      <a:pt x="898" y="1564"/>
                    </a:lnTo>
                    <a:lnTo>
                      <a:pt x="898" y="1568"/>
                    </a:lnTo>
                    <a:lnTo>
                      <a:pt x="898" y="1568"/>
                    </a:lnTo>
                    <a:lnTo>
                      <a:pt x="896" y="1572"/>
                    </a:lnTo>
                    <a:lnTo>
                      <a:pt x="898" y="1576"/>
                    </a:lnTo>
                    <a:lnTo>
                      <a:pt x="902" y="1582"/>
                    </a:lnTo>
                    <a:lnTo>
                      <a:pt x="906" y="1590"/>
                    </a:lnTo>
                    <a:lnTo>
                      <a:pt x="908" y="1594"/>
                    </a:lnTo>
                    <a:lnTo>
                      <a:pt x="908" y="1598"/>
                    </a:lnTo>
                    <a:lnTo>
                      <a:pt x="908" y="1598"/>
                    </a:lnTo>
                    <a:lnTo>
                      <a:pt x="908" y="1606"/>
                    </a:lnTo>
                    <a:lnTo>
                      <a:pt x="910" y="1610"/>
                    </a:lnTo>
                    <a:lnTo>
                      <a:pt x="914" y="1614"/>
                    </a:lnTo>
                    <a:lnTo>
                      <a:pt x="926" y="1618"/>
                    </a:lnTo>
                    <a:lnTo>
                      <a:pt x="926" y="1618"/>
                    </a:lnTo>
                    <a:lnTo>
                      <a:pt x="932" y="1622"/>
                    </a:lnTo>
                    <a:lnTo>
                      <a:pt x="934" y="1626"/>
                    </a:lnTo>
                    <a:lnTo>
                      <a:pt x="936" y="1630"/>
                    </a:lnTo>
                    <a:lnTo>
                      <a:pt x="934" y="1634"/>
                    </a:lnTo>
                    <a:lnTo>
                      <a:pt x="934" y="1640"/>
                    </a:lnTo>
                    <a:lnTo>
                      <a:pt x="934" y="1640"/>
                    </a:lnTo>
                    <a:lnTo>
                      <a:pt x="938" y="1640"/>
                    </a:lnTo>
                    <a:lnTo>
                      <a:pt x="938" y="1640"/>
                    </a:lnTo>
                    <a:lnTo>
                      <a:pt x="942" y="1640"/>
                    </a:lnTo>
                    <a:lnTo>
                      <a:pt x="944" y="1640"/>
                    </a:lnTo>
                    <a:lnTo>
                      <a:pt x="946" y="1648"/>
                    </a:lnTo>
                    <a:lnTo>
                      <a:pt x="946" y="1654"/>
                    </a:lnTo>
                    <a:lnTo>
                      <a:pt x="948" y="1656"/>
                    </a:lnTo>
                    <a:lnTo>
                      <a:pt x="950" y="1656"/>
                    </a:lnTo>
                    <a:lnTo>
                      <a:pt x="950" y="1656"/>
                    </a:lnTo>
                    <a:lnTo>
                      <a:pt x="956" y="1656"/>
                    </a:lnTo>
                    <a:lnTo>
                      <a:pt x="958" y="1656"/>
                    </a:lnTo>
                    <a:lnTo>
                      <a:pt x="958" y="1662"/>
                    </a:lnTo>
                    <a:lnTo>
                      <a:pt x="954" y="1672"/>
                    </a:lnTo>
                    <a:lnTo>
                      <a:pt x="954" y="1672"/>
                    </a:lnTo>
                    <a:lnTo>
                      <a:pt x="952" y="1676"/>
                    </a:lnTo>
                    <a:lnTo>
                      <a:pt x="956" y="1678"/>
                    </a:lnTo>
                    <a:lnTo>
                      <a:pt x="966" y="1678"/>
                    </a:lnTo>
                    <a:lnTo>
                      <a:pt x="978" y="1678"/>
                    </a:lnTo>
                    <a:lnTo>
                      <a:pt x="980" y="1680"/>
                    </a:lnTo>
                    <a:lnTo>
                      <a:pt x="980" y="1684"/>
                    </a:lnTo>
                    <a:lnTo>
                      <a:pt x="980" y="1684"/>
                    </a:lnTo>
                    <a:lnTo>
                      <a:pt x="978" y="1690"/>
                    </a:lnTo>
                    <a:lnTo>
                      <a:pt x="978" y="1692"/>
                    </a:lnTo>
                    <a:lnTo>
                      <a:pt x="980" y="1694"/>
                    </a:lnTo>
                    <a:lnTo>
                      <a:pt x="982" y="1694"/>
                    </a:lnTo>
                    <a:lnTo>
                      <a:pt x="990" y="1694"/>
                    </a:lnTo>
                    <a:lnTo>
                      <a:pt x="994" y="1696"/>
                    </a:lnTo>
                    <a:lnTo>
                      <a:pt x="996" y="1698"/>
                    </a:lnTo>
                    <a:lnTo>
                      <a:pt x="996" y="1698"/>
                    </a:lnTo>
                    <a:lnTo>
                      <a:pt x="998" y="1700"/>
                    </a:lnTo>
                    <a:lnTo>
                      <a:pt x="996" y="1702"/>
                    </a:lnTo>
                    <a:lnTo>
                      <a:pt x="994" y="1704"/>
                    </a:lnTo>
                    <a:lnTo>
                      <a:pt x="990" y="1706"/>
                    </a:lnTo>
                    <a:lnTo>
                      <a:pt x="990" y="1708"/>
                    </a:lnTo>
                    <a:lnTo>
                      <a:pt x="990" y="1712"/>
                    </a:lnTo>
                    <a:lnTo>
                      <a:pt x="990" y="1712"/>
                    </a:lnTo>
                    <a:lnTo>
                      <a:pt x="992" y="1722"/>
                    </a:lnTo>
                    <a:lnTo>
                      <a:pt x="996" y="1724"/>
                    </a:lnTo>
                    <a:lnTo>
                      <a:pt x="1000" y="1726"/>
                    </a:lnTo>
                    <a:lnTo>
                      <a:pt x="1004" y="1726"/>
                    </a:lnTo>
                    <a:lnTo>
                      <a:pt x="1010" y="1726"/>
                    </a:lnTo>
                    <a:lnTo>
                      <a:pt x="1016" y="1722"/>
                    </a:lnTo>
                    <a:lnTo>
                      <a:pt x="1024" y="1718"/>
                    </a:lnTo>
                    <a:lnTo>
                      <a:pt x="1024" y="1718"/>
                    </a:lnTo>
                    <a:lnTo>
                      <a:pt x="1032" y="1712"/>
                    </a:lnTo>
                    <a:lnTo>
                      <a:pt x="1038" y="1712"/>
                    </a:lnTo>
                    <a:lnTo>
                      <a:pt x="1040" y="1712"/>
                    </a:lnTo>
                    <a:lnTo>
                      <a:pt x="1044" y="1714"/>
                    </a:lnTo>
                    <a:lnTo>
                      <a:pt x="1048" y="1716"/>
                    </a:lnTo>
                    <a:lnTo>
                      <a:pt x="1050" y="1716"/>
                    </a:lnTo>
                    <a:lnTo>
                      <a:pt x="1054" y="1714"/>
                    </a:lnTo>
                    <a:lnTo>
                      <a:pt x="1054" y="1714"/>
                    </a:lnTo>
                    <a:lnTo>
                      <a:pt x="1064" y="1708"/>
                    </a:lnTo>
                    <a:lnTo>
                      <a:pt x="1072" y="1704"/>
                    </a:lnTo>
                    <a:lnTo>
                      <a:pt x="1080" y="1700"/>
                    </a:lnTo>
                    <a:lnTo>
                      <a:pt x="1080" y="1696"/>
                    </a:lnTo>
                    <a:lnTo>
                      <a:pt x="1080" y="1692"/>
                    </a:lnTo>
                    <a:lnTo>
                      <a:pt x="1080" y="1692"/>
                    </a:lnTo>
                    <a:lnTo>
                      <a:pt x="1080" y="1688"/>
                    </a:lnTo>
                    <a:lnTo>
                      <a:pt x="1082" y="1686"/>
                    </a:lnTo>
                    <a:lnTo>
                      <a:pt x="1084" y="1688"/>
                    </a:lnTo>
                    <a:lnTo>
                      <a:pt x="1086" y="1690"/>
                    </a:lnTo>
                    <a:lnTo>
                      <a:pt x="1088" y="1694"/>
                    </a:lnTo>
                    <a:lnTo>
                      <a:pt x="1090" y="1698"/>
                    </a:lnTo>
                    <a:lnTo>
                      <a:pt x="1090" y="1704"/>
                    </a:lnTo>
                    <a:lnTo>
                      <a:pt x="1086" y="1710"/>
                    </a:lnTo>
                    <a:lnTo>
                      <a:pt x="1086" y="1710"/>
                    </a:lnTo>
                    <a:lnTo>
                      <a:pt x="1078" y="1718"/>
                    </a:lnTo>
                    <a:lnTo>
                      <a:pt x="1076" y="1726"/>
                    </a:lnTo>
                    <a:lnTo>
                      <a:pt x="1076" y="1728"/>
                    </a:lnTo>
                    <a:lnTo>
                      <a:pt x="1078" y="1732"/>
                    </a:lnTo>
                    <a:lnTo>
                      <a:pt x="1090" y="1738"/>
                    </a:lnTo>
                    <a:lnTo>
                      <a:pt x="1090" y="1738"/>
                    </a:lnTo>
                    <a:lnTo>
                      <a:pt x="1098" y="1740"/>
                    </a:lnTo>
                    <a:lnTo>
                      <a:pt x="1106" y="1740"/>
                    </a:lnTo>
                    <a:lnTo>
                      <a:pt x="1120" y="1738"/>
                    </a:lnTo>
                    <a:lnTo>
                      <a:pt x="1124" y="1738"/>
                    </a:lnTo>
                    <a:lnTo>
                      <a:pt x="1126" y="1740"/>
                    </a:lnTo>
                    <a:lnTo>
                      <a:pt x="1126" y="1744"/>
                    </a:lnTo>
                    <a:lnTo>
                      <a:pt x="1120" y="1752"/>
                    </a:lnTo>
                    <a:lnTo>
                      <a:pt x="1120" y="1752"/>
                    </a:lnTo>
                    <a:lnTo>
                      <a:pt x="1116" y="1758"/>
                    </a:lnTo>
                    <a:lnTo>
                      <a:pt x="1116" y="1762"/>
                    </a:lnTo>
                    <a:lnTo>
                      <a:pt x="1118" y="1766"/>
                    </a:lnTo>
                    <a:lnTo>
                      <a:pt x="1122" y="1768"/>
                    </a:lnTo>
                    <a:lnTo>
                      <a:pt x="1126" y="1770"/>
                    </a:lnTo>
                    <a:lnTo>
                      <a:pt x="1132" y="1770"/>
                    </a:lnTo>
                    <a:lnTo>
                      <a:pt x="1136" y="1768"/>
                    </a:lnTo>
                    <a:lnTo>
                      <a:pt x="1140" y="1766"/>
                    </a:lnTo>
                    <a:lnTo>
                      <a:pt x="1140" y="1766"/>
                    </a:lnTo>
                    <a:lnTo>
                      <a:pt x="1150" y="1760"/>
                    </a:lnTo>
                    <a:lnTo>
                      <a:pt x="1154" y="1758"/>
                    </a:lnTo>
                    <a:lnTo>
                      <a:pt x="1156" y="1758"/>
                    </a:lnTo>
                    <a:lnTo>
                      <a:pt x="1162" y="1762"/>
                    </a:lnTo>
                    <a:lnTo>
                      <a:pt x="1170" y="1770"/>
                    </a:lnTo>
                    <a:lnTo>
                      <a:pt x="1170" y="1770"/>
                    </a:lnTo>
                    <a:lnTo>
                      <a:pt x="1182" y="1776"/>
                    </a:lnTo>
                    <a:lnTo>
                      <a:pt x="1186" y="1776"/>
                    </a:lnTo>
                    <a:lnTo>
                      <a:pt x="1190" y="1776"/>
                    </a:lnTo>
                    <a:lnTo>
                      <a:pt x="1194" y="1774"/>
                    </a:lnTo>
                    <a:lnTo>
                      <a:pt x="1196" y="1768"/>
                    </a:lnTo>
                    <a:lnTo>
                      <a:pt x="1198" y="1764"/>
                    </a:lnTo>
                    <a:lnTo>
                      <a:pt x="1200" y="1756"/>
                    </a:lnTo>
                    <a:lnTo>
                      <a:pt x="1200" y="1756"/>
                    </a:lnTo>
                    <a:lnTo>
                      <a:pt x="1200" y="1750"/>
                    </a:lnTo>
                    <a:lnTo>
                      <a:pt x="1198" y="1746"/>
                    </a:lnTo>
                    <a:lnTo>
                      <a:pt x="1194" y="1746"/>
                    </a:lnTo>
                    <a:lnTo>
                      <a:pt x="1192" y="1746"/>
                    </a:lnTo>
                    <a:lnTo>
                      <a:pt x="1186" y="1746"/>
                    </a:lnTo>
                    <a:lnTo>
                      <a:pt x="1186" y="1746"/>
                    </a:lnTo>
                    <a:lnTo>
                      <a:pt x="1186" y="1744"/>
                    </a:lnTo>
                    <a:lnTo>
                      <a:pt x="1186" y="1744"/>
                    </a:lnTo>
                    <a:lnTo>
                      <a:pt x="1190" y="1740"/>
                    </a:lnTo>
                    <a:lnTo>
                      <a:pt x="1194" y="1738"/>
                    </a:lnTo>
                    <a:lnTo>
                      <a:pt x="1204" y="1734"/>
                    </a:lnTo>
                    <a:lnTo>
                      <a:pt x="1208" y="1732"/>
                    </a:lnTo>
                    <a:lnTo>
                      <a:pt x="1210" y="1728"/>
                    </a:lnTo>
                    <a:lnTo>
                      <a:pt x="1212" y="1724"/>
                    </a:lnTo>
                    <a:lnTo>
                      <a:pt x="1212" y="1718"/>
                    </a:lnTo>
                    <a:lnTo>
                      <a:pt x="1212" y="1718"/>
                    </a:lnTo>
                    <a:lnTo>
                      <a:pt x="1210" y="1712"/>
                    </a:lnTo>
                    <a:lnTo>
                      <a:pt x="1214" y="1702"/>
                    </a:lnTo>
                    <a:lnTo>
                      <a:pt x="1224" y="1676"/>
                    </a:lnTo>
                    <a:lnTo>
                      <a:pt x="1234" y="1652"/>
                    </a:lnTo>
                    <a:lnTo>
                      <a:pt x="1236" y="1640"/>
                    </a:lnTo>
                    <a:lnTo>
                      <a:pt x="1236" y="1630"/>
                    </a:lnTo>
                    <a:lnTo>
                      <a:pt x="1236" y="1630"/>
                    </a:lnTo>
                    <a:lnTo>
                      <a:pt x="1234" y="1624"/>
                    </a:lnTo>
                    <a:lnTo>
                      <a:pt x="1232" y="1622"/>
                    </a:lnTo>
                    <a:lnTo>
                      <a:pt x="1230" y="1622"/>
                    </a:lnTo>
                    <a:lnTo>
                      <a:pt x="1228" y="1622"/>
                    </a:lnTo>
                    <a:lnTo>
                      <a:pt x="1226" y="1622"/>
                    </a:lnTo>
                    <a:lnTo>
                      <a:pt x="1222" y="1622"/>
                    </a:lnTo>
                    <a:lnTo>
                      <a:pt x="1220" y="1620"/>
                    </a:lnTo>
                    <a:lnTo>
                      <a:pt x="1214" y="1616"/>
                    </a:lnTo>
                    <a:lnTo>
                      <a:pt x="1214" y="1616"/>
                    </a:lnTo>
                    <a:lnTo>
                      <a:pt x="1212" y="1610"/>
                    </a:lnTo>
                    <a:lnTo>
                      <a:pt x="1212" y="1610"/>
                    </a:lnTo>
                    <a:lnTo>
                      <a:pt x="1222" y="1612"/>
                    </a:lnTo>
                    <a:lnTo>
                      <a:pt x="1232" y="1614"/>
                    </a:lnTo>
                    <a:lnTo>
                      <a:pt x="1236" y="1614"/>
                    </a:lnTo>
                    <a:lnTo>
                      <a:pt x="1236" y="1610"/>
                    </a:lnTo>
                    <a:lnTo>
                      <a:pt x="1236" y="1610"/>
                    </a:lnTo>
                    <a:lnTo>
                      <a:pt x="1234" y="1604"/>
                    </a:lnTo>
                    <a:lnTo>
                      <a:pt x="1232" y="1602"/>
                    </a:lnTo>
                    <a:lnTo>
                      <a:pt x="1226" y="1600"/>
                    </a:lnTo>
                    <a:lnTo>
                      <a:pt x="1220" y="1598"/>
                    </a:lnTo>
                    <a:lnTo>
                      <a:pt x="1220" y="1596"/>
                    </a:lnTo>
                    <a:lnTo>
                      <a:pt x="1222" y="1592"/>
                    </a:lnTo>
                    <a:lnTo>
                      <a:pt x="1222" y="1592"/>
                    </a:lnTo>
                    <a:lnTo>
                      <a:pt x="1226" y="1590"/>
                    </a:lnTo>
                    <a:lnTo>
                      <a:pt x="1230" y="1588"/>
                    </a:lnTo>
                    <a:lnTo>
                      <a:pt x="1244" y="1584"/>
                    </a:lnTo>
                    <a:lnTo>
                      <a:pt x="1250" y="1582"/>
                    </a:lnTo>
                    <a:lnTo>
                      <a:pt x="1256" y="1580"/>
                    </a:lnTo>
                    <a:lnTo>
                      <a:pt x="1260" y="1574"/>
                    </a:lnTo>
                    <a:lnTo>
                      <a:pt x="1262" y="1566"/>
                    </a:lnTo>
                    <a:lnTo>
                      <a:pt x="1262" y="1566"/>
                    </a:lnTo>
                    <a:lnTo>
                      <a:pt x="1264" y="1560"/>
                    </a:lnTo>
                    <a:lnTo>
                      <a:pt x="1266" y="1558"/>
                    </a:lnTo>
                    <a:lnTo>
                      <a:pt x="1268" y="1558"/>
                    </a:lnTo>
                    <a:lnTo>
                      <a:pt x="1272" y="1560"/>
                    </a:lnTo>
                    <a:lnTo>
                      <a:pt x="1278" y="1562"/>
                    </a:lnTo>
                    <a:lnTo>
                      <a:pt x="1280" y="1560"/>
                    </a:lnTo>
                    <a:lnTo>
                      <a:pt x="1280" y="1556"/>
                    </a:lnTo>
                    <a:lnTo>
                      <a:pt x="1280" y="1556"/>
                    </a:lnTo>
                    <a:lnTo>
                      <a:pt x="1282" y="1550"/>
                    </a:lnTo>
                    <a:lnTo>
                      <a:pt x="1284" y="1546"/>
                    </a:lnTo>
                    <a:lnTo>
                      <a:pt x="1294" y="1538"/>
                    </a:lnTo>
                    <a:lnTo>
                      <a:pt x="1300" y="1530"/>
                    </a:lnTo>
                    <a:lnTo>
                      <a:pt x="1302" y="1526"/>
                    </a:lnTo>
                    <a:lnTo>
                      <a:pt x="1302" y="1520"/>
                    </a:lnTo>
                    <a:lnTo>
                      <a:pt x="1302" y="1520"/>
                    </a:lnTo>
                    <a:lnTo>
                      <a:pt x="1300" y="1510"/>
                    </a:lnTo>
                    <a:lnTo>
                      <a:pt x="1300" y="1502"/>
                    </a:lnTo>
                    <a:lnTo>
                      <a:pt x="1300" y="1500"/>
                    </a:lnTo>
                    <a:lnTo>
                      <a:pt x="1298" y="1500"/>
                    </a:lnTo>
                    <a:lnTo>
                      <a:pt x="1286" y="1498"/>
                    </a:lnTo>
                    <a:lnTo>
                      <a:pt x="1286" y="1498"/>
                    </a:lnTo>
                    <a:lnTo>
                      <a:pt x="1278" y="1498"/>
                    </a:lnTo>
                    <a:lnTo>
                      <a:pt x="1270" y="1496"/>
                    </a:lnTo>
                    <a:lnTo>
                      <a:pt x="1266" y="1492"/>
                    </a:lnTo>
                    <a:lnTo>
                      <a:pt x="1262" y="1490"/>
                    </a:lnTo>
                    <a:lnTo>
                      <a:pt x="1260" y="1486"/>
                    </a:lnTo>
                    <a:lnTo>
                      <a:pt x="1262" y="1486"/>
                    </a:lnTo>
                    <a:lnTo>
                      <a:pt x="1264" y="1484"/>
                    </a:lnTo>
                    <a:lnTo>
                      <a:pt x="1270" y="1486"/>
                    </a:lnTo>
                    <a:lnTo>
                      <a:pt x="1270" y="1486"/>
                    </a:lnTo>
                    <a:lnTo>
                      <a:pt x="1276" y="1486"/>
                    </a:lnTo>
                    <a:lnTo>
                      <a:pt x="1280" y="1486"/>
                    </a:lnTo>
                    <a:lnTo>
                      <a:pt x="1288" y="1484"/>
                    </a:lnTo>
                    <a:lnTo>
                      <a:pt x="1294" y="1482"/>
                    </a:lnTo>
                    <a:lnTo>
                      <a:pt x="1300" y="1482"/>
                    </a:lnTo>
                    <a:lnTo>
                      <a:pt x="1300" y="1482"/>
                    </a:lnTo>
                    <a:lnTo>
                      <a:pt x="1308" y="1482"/>
                    </a:lnTo>
                    <a:lnTo>
                      <a:pt x="1308" y="1482"/>
                    </a:lnTo>
                    <a:lnTo>
                      <a:pt x="1308" y="1478"/>
                    </a:lnTo>
                    <a:lnTo>
                      <a:pt x="1302" y="1470"/>
                    </a:lnTo>
                    <a:lnTo>
                      <a:pt x="1290" y="1454"/>
                    </a:lnTo>
                    <a:lnTo>
                      <a:pt x="1290" y="1454"/>
                    </a:lnTo>
                    <a:lnTo>
                      <a:pt x="1282" y="1448"/>
                    </a:lnTo>
                    <a:lnTo>
                      <a:pt x="1280" y="1442"/>
                    </a:lnTo>
                    <a:lnTo>
                      <a:pt x="1280" y="1438"/>
                    </a:lnTo>
                    <a:lnTo>
                      <a:pt x="1284" y="1434"/>
                    </a:lnTo>
                    <a:lnTo>
                      <a:pt x="1288" y="1434"/>
                    </a:lnTo>
                    <a:lnTo>
                      <a:pt x="1296" y="1434"/>
                    </a:lnTo>
                    <a:lnTo>
                      <a:pt x="1310" y="1438"/>
                    </a:lnTo>
                    <a:lnTo>
                      <a:pt x="1310" y="1438"/>
                    </a:lnTo>
                    <a:lnTo>
                      <a:pt x="1316" y="1438"/>
                    </a:lnTo>
                    <a:lnTo>
                      <a:pt x="1320" y="1436"/>
                    </a:lnTo>
                    <a:lnTo>
                      <a:pt x="1324" y="1434"/>
                    </a:lnTo>
                    <a:lnTo>
                      <a:pt x="1326" y="1430"/>
                    </a:lnTo>
                    <a:lnTo>
                      <a:pt x="1332" y="1420"/>
                    </a:lnTo>
                    <a:lnTo>
                      <a:pt x="1334" y="1418"/>
                    </a:lnTo>
                    <a:lnTo>
                      <a:pt x="1338" y="1418"/>
                    </a:lnTo>
                    <a:lnTo>
                      <a:pt x="1338" y="1418"/>
                    </a:lnTo>
                    <a:lnTo>
                      <a:pt x="1344" y="1420"/>
                    </a:lnTo>
                    <a:lnTo>
                      <a:pt x="1346" y="1418"/>
                    </a:lnTo>
                    <a:lnTo>
                      <a:pt x="1344" y="1414"/>
                    </a:lnTo>
                    <a:lnTo>
                      <a:pt x="1334" y="1408"/>
                    </a:lnTo>
                    <a:lnTo>
                      <a:pt x="1334" y="1408"/>
                    </a:lnTo>
                    <a:lnTo>
                      <a:pt x="1326" y="1404"/>
                    </a:lnTo>
                    <a:lnTo>
                      <a:pt x="1324" y="1404"/>
                    </a:lnTo>
                    <a:lnTo>
                      <a:pt x="1326" y="1402"/>
                    </a:lnTo>
                    <a:lnTo>
                      <a:pt x="1330" y="1402"/>
                    </a:lnTo>
                    <a:lnTo>
                      <a:pt x="1338" y="1400"/>
                    </a:lnTo>
                    <a:lnTo>
                      <a:pt x="1338" y="1400"/>
                    </a:lnTo>
                    <a:lnTo>
                      <a:pt x="1344" y="1398"/>
                    </a:lnTo>
                    <a:lnTo>
                      <a:pt x="1352" y="1398"/>
                    </a:lnTo>
                    <a:lnTo>
                      <a:pt x="1360" y="1400"/>
                    </a:lnTo>
                    <a:lnTo>
                      <a:pt x="1370" y="1398"/>
                    </a:lnTo>
                    <a:lnTo>
                      <a:pt x="1370" y="1398"/>
                    </a:lnTo>
                    <a:lnTo>
                      <a:pt x="1380" y="1396"/>
                    </a:lnTo>
                    <a:lnTo>
                      <a:pt x="1388" y="1396"/>
                    </a:lnTo>
                    <a:lnTo>
                      <a:pt x="1394" y="1396"/>
                    </a:lnTo>
                    <a:lnTo>
                      <a:pt x="1398" y="1390"/>
                    </a:lnTo>
                    <a:lnTo>
                      <a:pt x="1398" y="1390"/>
                    </a:lnTo>
                    <a:lnTo>
                      <a:pt x="1400" y="1386"/>
                    </a:lnTo>
                    <a:lnTo>
                      <a:pt x="1398" y="1384"/>
                    </a:lnTo>
                    <a:lnTo>
                      <a:pt x="1396" y="1380"/>
                    </a:lnTo>
                    <a:lnTo>
                      <a:pt x="1402" y="1376"/>
                    </a:lnTo>
                    <a:lnTo>
                      <a:pt x="1402" y="1376"/>
                    </a:lnTo>
                    <a:lnTo>
                      <a:pt x="1404" y="1372"/>
                    </a:lnTo>
                    <a:lnTo>
                      <a:pt x="1404" y="1368"/>
                    </a:lnTo>
                    <a:lnTo>
                      <a:pt x="1404" y="1364"/>
                    </a:lnTo>
                    <a:lnTo>
                      <a:pt x="1410" y="1360"/>
                    </a:lnTo>
                    <a:lnTo>
                      <a:pt x="1410" y="1360"/>
                    </a:lnTo>
                    <a:lnTo>
                      <a:pt x="1414" y="1356"/>
                    </a:lnTo>
                    <a:lnTo>
                      <a:pt x="1416" y="1354"/>
                    </a:lnTo>
                    <a:lnTo>
                      <a:pt x="1414" y="1352"/>
                    </a:lnTo>
                    <a:lnTo>
                      <a:pt x="1412" y="1350"/>
                    </a:lnTo>
                    <a:lnTo>
                      <a:pt x="1406" y="1346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10" y="1342"/>
                    </a:lnTo>
                    <a:lnTo>
                      <a:pt x="1414" y="1344"/>
                    </a:lnTo>
                    <a:lnTo>
                      <a:pt x="1420" y="1344"/>
                    </a:lnTo>
                    <a:lnTo>
                      <a:pt x="1430" y="1344"/>
                    </a:lnTo>
                    <a:lnTo>
                      <a:pt x="1430" y="1344"/>
                    </a:lnTo>
                    <a:lnTo>
                      <a:pt x="1436" y="1344"/>
                    </a:lnTo>
                    <a:lnTo>
                      <a:pt x="1434" y="1348"/>
                    </a:lnTo>
                    <a:lnTo>
                      <a:pt x="1428" y="1352"/>
                    </a:lnTo>
                    <a:lnTo>
                      <a:pt x="1424" y="1358"/>
                    </a:lnTo>
                    <a:lnTo>
                      <a:pt x="1424" y="1358"/>
                    </a:lnTo>
                    <a:lnTo>
                      <a:pt x="1422" y="1362"/>
                    </a:lnTo>
                    <a:lnTo>
                      <a:pt x="1418" y="1364"/>
                    </a:lnTo>
                    <a:lnTo>
                      <a:pt x="1414" y="1368"/>
                    </a:lnTo>
                    <a:lnTo>
                      <a:pt x="1412" y="1372"/>
                    </a:lnTo>
                    <a:lnTo>
                      <a:pt x="1412" y="1372"/>
                    </a:lnTo>
                    <a:lnTo>
                      <a:pt x="1410" y="1378"/>
                    </a:lnTo>
                    <a:lnTo>
                      <a:pt x="1408" y="1386"/>
                    </a:lnTo>
                    <a:lnTo>
                      <a:pt x="1406" y="1392"/>
                    </a:lnTo>
                    <a:lnTo>
                      <a:pt x="1406" y="1394"/>
                    </a:lnTo>
                    <a:lnTo>
                      <a:pt x="1408" y="1396"/>
                    </a:lnTo>
                    <a:lnTo>
                      <a:pt x="1408" y="1396"/>
                    </a:lnTo>
                    <a:lnTo>
                      <a:pt x="1414" y="1398"/>
                    </a:lnTo>
                    <a:lnTo>
                      <a:pt x="1420" y="1398"/>
                    </a:lnTo>
                    <a:lnTo>
                      <a:pt x="1426" y="1396"/>
                    </a:lnTo>
                    <a:lnTo>
                      <a:pt x="1432" y="1390"/>
                    </a:lnTo>
                    <a:lnTo>
                      <a:pt x="1432" y="1390"/>
                    </a:lnTo>
                    <a:lnTo>
                      <a:pt x="1440" y="1380"/>
                    </a:lnTo>
                    <a:lnTo>
                      <a:pt x="1444" y="1380"/>
                    </a:lnTo>
                    <a:lnTo>
                      <a:pt x="1448" y="1384"/>
                    </a:lnTo>
                    <a:lnTo>
                      <a:pt x="1448" y="1384"/>
                    </a:lnTo>
                    <a:lnTo>
                      <a:pt x="1452" y="1386"/>
                    </a:lnTo>
                    <a:lnTo>
                      <a:pt x="1454" y="1384"/>
                    </a:lnTo>
                    <a:lnTo>
                      <a:pt x="1454" y="1382"/>
                    </a:lnTo>
                    <a:lnTo>
                      <a:pt x="1452" y="1378"/>
                    </a:lnTo>
                    <a:lnTo>
                      <a:pt x="1452" y="1378"/>
                    </a:lnTo>
                    <a:lnTo>
                      <a:pt x="1452" y="1376"/>
                    </a:lnTo>
                    <a:lnTo>
                      <a:pt x="1452" y="1374"/>
                    </a:lnTo>
                    <a:lnTo>
                      <a:pt x="1456" y="1372"/>
                    </a:lnTo>
                    <a:lnTo>
                      <a:pt x="1462" y="1370"/>
                    </a:lnTo>
                    <a:lnTo>
                      <a:pt x="1466" y="1370"/>
                    </a:lnTo>
                    <a:lnTo>
                      <a:pt x="1468" y="1372"/>
                    </a:lnTo>
                    <a:lnTo>
                      <a:pt x="1468" y="1372"/>
                    </a:lnTo>
                    <a:lnTo>
                      <a:pt x="1472" y="1372"/>
                    </a:lnTo>
                    <a:lnTo>
                      <a:pt x="1476" y="1372"/>
                    </a:lnTo>
                    <a:lnTo>
                      <a:pt x="1484" y="1370"/>
                    </a:lnTo>
                    <a:lnTo>
                      <a:pt x="1498" y="1362"/>
                    </a:lnTo>
                    <a:lnTo>
                      <a:pt x="1498" y="1362"/>
                    </a:lnTo>
                    <a:lnTo>
                      <a:pt x="1502" y="1360"/>
                    </a:lnTo>
                    <a:lnTo>
                      <a:pt x="1502" y="1354"/>
                    </a:lnTo>
                    <a:lnTo>
                      <a:pt x="1502" y="1350"/>
                    </a:lnTo>
                    <a:lnTo>
                      <a:pt x="1502" y="1350"/>
                    </a:lnTo>
                    <a:lnTo>
                      <a:pt x="1504" y="1350"/>
                    </a:lnTo>
                    <a:lnTo>
                      <a:pt x="1504" y="1350"/>
                    </a:lnTo>
                    <a:lnTo>
                      <a:pt x="1508" y="1350"/>
                    </a:lnTo>
                    <a:lnTo>
                      <a:pt x="1510" y="1352"/>
                    </a:lnTo>
                    <a:lnTo>
                      <a:pt x="1510" y="1354"/>
                    </a:lnTo>
                    <a:lnTo>
                      <a:pt x="1512" y="1354"/>
                    </a:lnTo>
                    <a:lnTo>
                      <a:pt x="1512" y="1354"/>
                    </a:lnTo>
                    <a:lnTo>
                      <a:pt x="1520" y="1350"/>
                    </a:lnTo>
                    <a:lnTo>
                      <a:pt x="1532" y="1344"/>
                    </a:lnTo>
                    <a:lnTo>
                      <a:pt x="1558" y="1324"/>
                    </a:lnTo>
                    <a:lnTo>
                      <a:pt x="1570" y="1314"/>
                    </a:lnTo>
                    <a:lnTo>
                      <a:pt x="1580" y="1302"/>
                    </a:lnTo>
                    <a:lnTo>
                      <a:pt x="1588" y="1290"/>
                    </a:lnTo>
                    <a:lnTo>
                      <a:pt x="1592" y="1280"/>
                    </a:lnTo>
                    <a:lnTo>
                      <a:pt x="1592" y="1280"/>
                    </a:lnTo>
                    <a:lnTo>
                      <a:pt x="1600" y="1264"/>
                    </a:lnTo>
                    <a:lnTo>
                      <a:pt x="1610" y="1250"/>
                    </a:lnTo>
                    <a:lnTo>
                      <a:pt x="1622" y="1242"/>
                    </a:lnTo>
                    <a:lnTo>
                      <a:pt x="1628" y="1238"/>
                    </a:lnTo>
                    <a:lnTo>
                      <a:pt x="1634" y="1238"/>
                    </a:lnTo>
                    <a:lnTo>
                      <a:pt x="1634" y="1238"/>
                    </a:lnTo>
                    <a:lnTo>
                      <a:pt x="1642" y="1236"/>
                    </a:lnTo>
                    <a:lnTo>
                      <a:pt x="1646" y="1234"/>
                    </a:lnTo>
                    <a:lnTo>
                      <a:pt x="1648" y="1232"/>
                    </a:lnTo>
                    <a:lnTo>
                      <a:pt x="1648" y="1228"/>
                    </a:lnTo>
                    <a:lnTo>
                      <a:pt x="1646" y="1222"/>
                    </a:lnTo>
                    <a:lnTo>
                      <a:pt x="1640" y="1214"/>
                    </a:lnTo>
                    <a:lnTo>
                      <a:pt x="1632" y="1204"/>
                    </a:lnTo>
                    <a:lnTo>
                      <a:pt x="1632" y="1204"/>
                    </a:lnTo>
                    <a:lnTo>
                      <a:pt x="1626" y="1198"/>
                    </a:lnTo>
                    <a:lnTo>
                      <a:pt x="1624" y="1194"/>
                    </a:lnTo>
                    <a:lnTo>
                      <a:pt x="1636" y="1200"/>
                    </a:lnTo>
                    <a:lnTo>
                      <a:pt x="1670" y="1222"/>
                    </a:lnTo>
                    <a:lnTo>
                      <a:pt x="1670" y="1222"/>
                    </a:lnTo>
                    <a:lnTo>
                      <a:pt x="1684" y="1226"/>
                    </a:lnTo>
                    <a:lnTo>
                      <a:pt x="1694" y="1228"/>
                    </a:lnTo>
                    <a:lnTo>
                      <a:pt x="1702" y="1228"/>
                    </a:lnTo>
                    <a:lnTo>
                      <a:pt x="1710" y="1226"/>
                    </a:lnTo>
                    <a:lnTo>
                      <a:pt x="1718" y="1224"/>
                    </a:lnTo>
                    <a:lnTo>
                      <a:pt x="1724" y="1218"/>
                    </a:lnTo>
                    <a:lnTo>
                      <a:pt x="1730" y="1212"/>
                    </a:lnTo>
                    <a:lnTo>
                      <a:pt x="1730" y="1212"/>
                    </a:lnTo>
                    <a:lnTo>
                      <a:pt x="1732" y="1206"/>
                    </a:lnTo>
                    <a:lnTo>
                      <a:pt x="1734" y="1204"/>
                    </a:lnTo>
                    <a:lnTo>
                      <a:pt x="1738" y="1204"/>
                    </a:lnTo>
                    <a:lnTo>
                      <a:pt x="1742" y="1206"/>
                    </a:lnTo>
                    <a:lnTo>
                      <a:pt x="1748" y="1208"/>
                    </a:lnTo>
                    <a:lnTo>
                      <a:pt x="1756" y="1208"/>
                    </a:lnTo>
                    <a:lnTo>
                      <a:pt x="1766" y="1208"/>
                    </a:lnTo>
                    <a:lnTo>
                      <a:pt x="1782" y="1202"/>
                    </a:lnTo>
                    <a:lnTo>
                      <a:pt x="1782" y="1202"/>
                    </a:lnTo>
                    <a:lnTo>
                      <a:pt x="1800" y="1196"/>
                    </a:lnTo>
                    <a:lnTo>
                      <a:pt x="1818" y="1190"/>
                    </a:lnTo>
                    <a:lnTo>
                      <a:pt x="1856" y="1184"/>
                    </a:lnTo>
                    <a:lnTo>
                      <a:pt x="1886" y="1178"/>
                    </a:lnTo>
                    <a:lnTo>
                      <a:pt x="1898" y="1172"/>
                    </a:lnTo>
                    <a:lnTo>
                      <a:pt x="1906" y="1166"/>
                    </a:lnTo>
                    <a:lnTo>
                      <a:pt x="1906" y="1166"/>
                    </a:lnTo>
                    <a:lnTo>
                      <a:pt x="1920" y="1154"/>
                    </a:lnTo>
                    <a:lnTo>
                      <a:pt x="1934" y="1142"/>
                    </a:lnTo>
                    <a:lnTo>
                      <a:pt x="1950" y="1132"/>
                    </a:lnTo>
                    <a:lnTo>
                      <a:pt x="1960" y="1128"/>
                    </a:lnTo>
                    <a:lnTo>
                      <a:pt x="1970" y="1128"/>
                    </a:lnTo>
                    <a:lnTo>
                      <a:pt x="1970" y="1128"/>
                    </a:lnTo>
                    <a:lnTo>
                      <a:pt x="1978" y="1126"/>
                    </a:lnTo>
                    <a:lnTo>
                      <a:pt x="1982" y="1122"/>
                    </a:lnTo>
                    <a:lnTo>
                      <a:pt x="1982" y="1120"/>
                    </a:lnTo>
                    <a:lnTo>
                      <a:pt x="1982" y="1116"/>
                    </a:lnTo>
                    <a:lnTo>
                      <a:pt x="1982" y="1112"/>
                    </a:lnTo>
                    <a:lnTo>
                      <a:pt x="1982" y="1108"/>
                    </a:lnTo>
                    <a:lnTo>
                      <a:pt x="1986" y="1106"/>
                    </a:lnTo>
                    <a:lnTo>
                      <a:pt x="1994" y="1106"/>
                    </a:lnTo>
                    <a:lnTo>
                      <a:pt x="1994" y="1106"/>
                    </a:lnTo>
                    <a:lnTo>
                      <a:pt x="2008" y="1104"/>
                    </a:lnTo>
                    <a:lnTo>
                      <a:pt x="2012" y="1102"/>
                    </a:lnTo>
                    <a:lnTo>
                      <a:pt x="2012" y="1102"/>
                    </a:lnTo>
                    <a:lnTo>
                      <a:pt x="2016" y="1096"/>
                    </a:lnTo>
                    <a:lnTo>
                      <a:pt x="2022" y="1092"/>
                    </a:lnTo>
                    <a:lnTo>
                      <a:pt x="2030" y="1088"/>
                    </a:lnTo>
                    <a:lnTo>
                      <a:pt x="2030" y="1088"/>
                    </a:lnTo>
                    <a:lnTo>
                      <a:pt x="2046" y="1080"/>
                    </a:lnTo>
                    <a:lnTo>
                      <a:pt x="2046" y="1078"/>
                    </a:lnTo>
                    <a:lnTo>
                      <a:pt x="2044" y="1076"/>
                    </a:lnTo>
                    <a:lnTo>
                      <a:pt x="2028" y="1076"/>
                    </a:lnTo>
                    <a:lnTo>
                      <a:pt x="2000" y="1080"/>
                    </a:lnTo>
                    <a:lnTo>
                      <a:pt x="2000" y="1080"/>
                    </a:lnTo>
                    <a:lnTo>
                      <a:pt x="1984" y="1080"/>
                    </a:lnTo>
                    <a:lnTo>
                      <a:pt x="1970" y="1076"/>
                    </a:lnTo>
                    <a:lnTo>
                      <a:pt x="1956" y="1070"/>
                    </a:lnTo>
                    <a:lnTo>
                      <a:pt x="1944" y="1064"/>
                    </a:lnTo>
                    <a:lnTo>
                      <a:pt x="1932" y="1058"/>
                    </a:lnTo>
                    <a:lnTo>
                      <a:pt x="1920" y="1056"/>
                    </a:lnTo>
                    <a:lnTo>
                      <a:pt x="1914" y="1056"/>
                    </a:lnTo>
                    <a:lnTo>
                      <a:pt x="1906" y="1058"/>
                    </a:lnTo>
                    <a:lnTo>
                      <a:pt x="1900" y="1060"/>
                    </a:lnTo>
                    <a:lnTo>
                      <a:pt x="1892" y="1064"/>
                    </a:lnTo>
                    <a:lnTo>
                      <a:pt x="1892" y="1064"/>
                    </a:lnTo>
                    <a:lnTo>
                      <a:pt x="1884" y="1068"/>
                    </a:lnTo>
                    <a:lnTo>
                      <a:pt x="1878" y="1070"/>
                    </a:lnTo>
                    <a:lnTo>
                      <a:pt x="1866" y="1070"/>
                    </a:lnTo>
                    <a:lnTo>
                      <a:pt x="1860" y="1070"/>
                    </a:lnTo>
                    <a:lnTo>
                      <a:pt x="1854" y="1072"/>
                    </a:lnTo>
                    <a:lnTo>
                      <a:pt x="1846" y="1076"/>
                    </a:lnTo>
                    <a:lnTo>
                      <a:pt x="1838" y="1082"/>
                    </a:lnTo>
                    <a:lnTo>
                      <a:pt x="1838" y="1082"/>
                    </a:lnTo>
                    <a:lnTo>
                      <a:pt x="1834" y="1086"/>
                    </a:lnTo>
                    <a:lnTo>
                      <a:pt x="1828" y="1090"/>
                    </a:lnTo>
                    <a:lnTo>
                      <a:pt x="1824" y="1090"/>
                    </a:lnTo>
                    <a:lnTo>
                      <a:pt x="1820" y="1090"/>
                    </a:lnTo>
                    <a:lnTo>
                      <a:pt x="1818" y="1088"/>
                    </a:lnTo>
                    <a:lnTo>
                      <a:pt x="1820" y="1084"/>
                    </a:lnTo>
                    <a:lnTo>
                      <a:pt x="1824" y="1078"/>
                    </a:lnTo>
                    <a:lnTo>
                      <a:pt x="1832" y="1070"/>
                    </a:lnTo>
                    <a:lnTo>
                      <a:pt x="1832" y="1070"/>
                    </a:lnTo>
                    <a:lnTo>
                      <a:pt x="1840" y="1064"/>
                    </a:lnTo>
                    <a:lnTo>
                      <a:pt x="1848" y="1062"/>
                    </a:lnTo>
                    <a:lnTo>
                      <a:pt x="1852" y="1062"/>
                    </a:lnTo>
                    <a:lnTo>
                      <a:pt x="1856" y="1062"/>
                    </a:lnTo>
                    <a:lnTo>
                      <a:pt x="1864" y="1064"/>
                    </a:lnTo>
                    <a:lnTo>
                      <a:pt x="1866" y="1064"/>
                    </a:lnTo>
                    <a:lnTo>
                      <a:pt x="1870" y="1062"/>
                    </a:lnTo>
                    <a:lnTo>
                      <a:pt x="1870" y="1062"/>
                    </a:lnTo>
                    <a:lnTo>
                      <a:pt x="1876" y="1058"/>
                    </a:lnTo>
                    <a:lnTo>
                      <a:pt x="1878" y="1056"/>
                    </a:lnTo>
                    <a:lnTo>
                      <a:pt x="1878" y="1054"/>
                    </a:lnTo>
                    <a:lnTo>
                      <a:pt x="1874" y="1052"/>
                    </a:lnTo>
                    <a:lnTo>
                      <a:pt x="1868" y="1052"/>
                    </a:lnTo>
                    <a:lnTo>
                      <a:pt x="1844" y="1054"/>
                    </a:lnTo>
                    <a:lnTo>
                      <a:pt x="1844" y="1054"/>
                    </a:lnTo>
                    <a:lnTo>
                      <a:pt x="1816" y="1058"/>
                    </a:lnTo>
                    <a:lnTo>
                      <a:pt x="1800" y="1058"/>
                    </a:lnTo>
                    <a:lnTo>
                      <a:pt x="1798" y="1056"/>
                    </a:lnTo>
                    <a:lnTo>
                      <a:pt x="1796" y="1052"/>
                    </a:lnTo>
                    <a:lnTo>
                      <a:pt x="1798" y="1046"/>
                    </a:lnTo>
                    <a:lnTo>
                      <a:pt x="1804" y="1038"/>
                    </a:lnTo>
                    <a:lnTo>
                      <a:pt x="1804" y="1038"/>
                    </a:lnTo>
                    <a:lnTo>
                      <a:pt x="1814" y="1022"/>
                    </a:lnTo>
                    <a:lnTo>
                      <a:pt x="1818" y="1014"/>
                    </a:lnTo>
                    <a:lnTo>
                      <a:pt x="1820" y="1012"/>
                    </a:lnTo>
                    <a:lnTo>
                      <a:pt x="1822" y="1010"/>
                    </a:lnTo>
                    <a:lnTo>
                      <a:pt x="1828" y="1016"/>
                    </a:lnTo>
                    <a:lnTo>
                      <a:pt x="1828" y="1016"/>
                    </a:lnTo>
                    <a:lnTo>
                      <a:pt x="1836" y="1022"/>
                    </a:lnTo>
                    <a:lnTo>
                      <a:pt x="1840" y="1022"/>
                    </a:lnTo>
                    <a:lnTo>
                      <a:pt x="1844" y="1022"/>
                    </a:lnTo>
                    <a:lnTo>
                      <a:pt x="1882" y="1010"/>
                    </a:lnTo>
                    <a:lnTo>
                      <a:pt x="1882" y="1010"/>
                    </a:lnTo>
                    <a:lnTo>
                      <a:pt x="1896" y="1006"/>
                    </a:lnTo>
                    <a:lnTo>
                      <a:pt x="1904" y="1000"/>
                    </a:lnTo>
                    <a:lnTo>
                      <a:pt x="1908" y="996"/>
                    </a:lnTo>
                    <a:lnTo>
                      <a:pt x="1910" y="992"/>
                    </a:lnTo>
                    <a:lnTo>
                      <a:pt x="1906" y="986"/>
                    </a:lnTo>
                    <a:lnTo>
                      <a:pt x="1898" y="984"/>
                    </a:lnTo>
                    <a:lnTo>
                      <a:pt x="1888" y="980"/>
                    </a:lnTo>
                    <a:lnTo>
                      <a:pt x="1874" y="978"/>
                    </a:lnTo>
                    <a:lnTo>
                      <a:pt x="1874" y="978"/>
                    </a:lnTo>
                    <a:lnTo>
                      <a:pt x="1850" y="974"/>
                    </a:lnTo>
                    <a:lnTo>
                      <a:pt x="1844" y="972"/>
                    </a:lnTo>
                    <a:lnTo>
                      <a:pt x="1842" y="970"/>
                    </a:lnTo>
                    <a:lnTo>
                      <a:pt x="1844" y="968"/>
                    </a:lnTo>
                    <a:lnTo>
                      <a:pt x="1850" y="966"/>
                    </a:lnTo>
                    <a:lnTo>
                      <a:pt x="1870" y="966"/>
                    </a:lnTo>
                    <a:lnTo>
                      <a:pt x="1870" y="966"/>
                    </a:lnTo>
                    <a:lnTo>
                      <a:pt x="1892" y="970"/>
                    </a:lnTo>
                    <a:lnTo>
                      <a:pt x="1906" y="976"/>
                    </a:lnTo>
                    <a:lnTo>
                      <a:pt x="1918" y="980"/>
                    </a:lnTo>
                    <a:lnTo>
                      <a:pt x="1932" y="986"/>
                    </a:lnTo>
                    <a:lnTo>
                      <a:pt x="1932" y="986"/>
                    </a:lnTo>
                    <a:lnTo>
                      <a:pt x="1946" y="992"/>
                    </a:lnTo>
                    <a:lnTo>
                      <a:pt x="1954" y="998"/>
                    </a:lnTo>
                    <a:lnTo>
                      <a:pt x="1958" y="1008"/>
                    </a:lnTo>
                    <a:lnTo>
                      <a:pt x="1960" y="1022"/>
                    </a:lnTo>
                    <a:lnTo>
                      <a:pt x="1960" y="1022"/>
                    </a:lnTo>
                    <a:lnTo>
                      <a:pt x="1964" y="1030"/>
                    </a:lnTo>
                    <a:lnTo>
                      <a:pt x="1970" y="1038"/>
                    </a:lnTo>
                    <a:lnTo>
                      <a:pt x="1978" y="1044"/>
                    </a:lnTo>
                    <a:lnTo>
                      <a:pt x="1988" y="1050"/>
                    </a:lnTo>
                    <a:lnTo>
                      <a:pt x="1998" y="1052"/>
                    </a:lnTo>
                    <a:lnTo>
                      <a:pt x="2008" y="1054"/>
                    </a:lnTo>
                    <a:lnTo>
                      <a:pt x="2016" y="1054"/>
                    </a:lnTo>
                    <a:lnTo>
                      <a:pt x="2022" y="1052"/>
                    </a:lnTo>
                    <a:lnTo>
                      <a:pt x="2022" y="1052"/>
                    </a:lnTo>
                    <a:lnTo>
                      <a:pt x="2030" y="1048"/>
                    </a:lnTo>
                    <a:lnTo>
                      <a:pt x="2036" y="1050"/>
                    </a:lnTo>
                    <a:lnTo>
                      <a:pt x="2046" y="1052"/>
                    </a:lnTo>
                    <a:lnTo>
                      <a:pt x="2060" y="1056"/>
                    </a:lnTo>
                    <a:lnTo>
                      <a:pt x="2060" y="1056"/>
                    </a:lnTo>
                    <a:lnTo>
                      <a:pt x="2068" y="1054"/>
                    </a:lnTo>
                    <a:lnTo>
                      <a:pt x="2070" y="1050"/>
                    </a:lnTo>
                    <a:lnTo>
                      <a:pt x="2072" y="1042"/>
                    </a:lnTo>
                    <a:lnTo>
                      <a:pt x="2070" y="1032"/>
                    </a:lnTo>
                    <a:lnTo>
                      <a:pt x="2066" y="1008"/>
                    </a:lnTo>
                    <a:lnTo>
                      <a:pt x="2064" y="996"/>
                    </a:lnTo>
                    <a:lnTo>
                      <a:pt x="2064" y="984"/>
                    </a:lnTo>
                    <a:lnTo>
                      <a:pt x="2064" y="984"/>
                    </a:lnTo>
                    <a:lnTo>
                      <a:pt x="2062" y="976"/>
                    </a:lnTo>
                    <a:lnTo>
                      <a:pt x="2062" y="974"/>
                    </a:lnTo>
                    <a:lnTo>
                      <a:pt x="2060" y="974"/>
                    </a:lnTo>
                    <a:lnTo>
                      <a:pt x="2056" y="976"/>
                    </a:lnTo>
                    <a:lnTo>
                      <a:pt x="2050" y="980"/>
                    </a:lnTo>
                    <a:lnTo>
                      <a:pt x="2044" y="986"/>
                    </a:lnTo>
                    <a:lnTo>
                      <a:pt x="2038" y="990"/>
                    </a:lnTo>
                    <a:lnTo>
                      <a:pt x="2032" y="990"/>
                    </a:lnTo>
                    <a:lnTo>
                      <a:pt x="2030" y="988"/>
                    </a:lnTo>
                    <a:lnTo>
                      <a:pt x="2030" y="986"/>
                    </a:lnTo>
                    <a:lnTo>
                      <a:pt x="2030" y="986"/>
                    </a:lnTo>
                    <a:lnTo>
                      <a:pt x="2028" y="976"/>
                    </a:lnTo>
                    <a:lnTo>
                      <a:pt x="2028" y="974"/>
                    </a:lnTo>
                    <a:lnTo>
                      <a:pt x="2032" y="974"/>
                    </a:lnTo>
                    <a:lnTo>
                      <a:pt x="2038" y="972"/>
                    </a:lnTo>
                    <a:lnTo>
                      <a:pt x="2044" y="968"/>
                    </a:lnTo>
                    <a:lnTo>
                      <a:pt x="2050" y="962"/>
                    </a:lnTo>
                    <a:lnTo>
                      <a:pt x="2050" y="962"/>
                    </a:lnTo>
                    <a:lnTo>
                      <a:pt x="2054" y="956"/>
                    </a:lnTo>
                    <a:lnTo>
                      <a:pt x="2054" y="956"/>
                    </a:lnTo>
                    <a:lnTo>
                      <a:pt x="2054" y="954"/>
                    </a:lnTo>
                    <a:lnTo>
                      <a:pt x="2044" y="958"/>
                    </a:lnTo>
                    <a:lnTo>
                      <a:pt x="2032" y="962"/>
                    </a:lnTo>
                    <a:lnTo>
                      <a:pt x="2030" y="960"/>
                    </a:lnTo>
                    <a:lnTo>
                      <a:pt x="2030" y="956"/>
                    </a:lnTo>
                    <a:lnTo>
                      <a:pt x="2030" y="956"/>
                    </a:lnTo>
                    <a:lnTo>
                      <a:pt x="2032" y="950"/>
                    </a:lnTo>
                    <a:lnTo>
                      <a:pt x="2030" y="944"/>
                    </a:lnTo>
                    <a:lnTo>
                      <a:pt x="2026" y="940"/>
                    </a:lnTo>
                    <a:lnTo>
                      <a:pt x="2020" y="938"/>
                    </a:lnTo>
                    <a:lnTo>
                      <a:pt x="2002" y="932"/>
                    </a:lnTo>
                    <a:lnTo>
                      <a:pt x="1980" y="926"/>
                    </a:lnTo>
                    <a:lnTo>
                      <a:pt x="1980" y="926"/>
                    </a:lnTo>
                    <a:lnTo>
                      <a:pt x="1960" y="918"/>
                    </a:lnTo>
                    <a:lnTo>
                      <a:pt x="1948" y="912"/>
                    </a:lnTo>
                    <a:lnTo>
                      <a:pt x="1944" y="908"/>
                    </a:lnTo>
                    <a:lnTo>
                      <a:pt x="1944" y="904"/>
                    </a:lnTo>
                    <a:lnTo>
                      <a:pt x="1944" y="900"/>
                    </a:lnTo>
                    <a:lnTo>
                      <a:pt x="1944" y="896"/>
                    </a:lnTo>
                    <a:lnTo>
                      <a:pt x="1942" y="892"/>
                    </a:lnTo>
                    <a:lnTo>
                      <a:pt x="1934" y="886"/>
                    </a:lnTo>
                    <a:lnTo>
                      <a:pt x="1934" y="886"/>
                    </a:lnTo>
                    <a:lnTo>
                      <a:pt x="1924" y="880"/>
                    </a:lnTo>
                    <a:lnTo>
                      <a:pt x="1922" y="874"/>
                    </a:lnTo>
                    <a:lnTo>
                      <a:pt x="1922" y="870"/>
                    </a:lnTo>
                    <a:lnTo>
                      <a:pt x="1924" y="866"/>
                    </a:lnTo>
                    <a:lnTo>
                      <a:pt x="1922" y="862"/>
                    </a:lnTo>
                    <a:lnTo>
                      <a:pt x="1916" y="858"/>
                    </a:lnTo>
                    <a:lnTo>
                      <a:pt x="1902" y="852"/>
                    </a:lnTo>
                    <a:lnTo>
                      <a:pt x="1878" y="846"/>
                    </a:lnTo>
                    <a:lnTo>
                      <a:pt x="1878" y="846"/>
                    </a:lnTo>
                    <a:lnTo>
                      <a:pt x="1888" y="846"/>
                    </a:lnTo>
                    <a:lnTo>
                      <a:pt x="1896" y="844"/>
                    </a:lnTo>
                    <a:lnTo>
                      <a:pt x="1904" y="842"/>
                    </a:lnTo>
                    <a:lnTo>
                      <a:pt x="1910" y="838"/>
                    </a:lnTo>
                    <a:lnTo>
                      <a:pt x="1926" y="828"/>
                    </a:lnTo>
                    <a:lnTo>
                      <a:pt x="1948" y="818"/>
                    </a:lnTo>
                    <a:lnTo>
                      <a:pt x="1948" y="818"/>
                    </a:lnTo>
                    <a:lnTo>
                      <a:pt x="1954" y="816"/>
                    </a:lnTo>
                    <a:lnTo>
                      <a:pt x="1960" y="816"/>
                    </a:lnTo>
                    <a:lnTo>
                      <a:pt x="1974" y="818"/>
                    </a:lnTo>
                    <a:lnTo>
                      <a:pt x="1988" y="824"/>
                    </a:lnTo>
                    <a:lnTo>
                      <a:pt x="2002" y="832"/>
                    </a:lnTo>
                    <a:lnTo>
                      <a:pt x="2016" y="838"/>
                    </a:lnTo>
                    <a:lnTo>
                      <a:pt x="2030" y="842"/>
                    </a:lnTo>
                    <a:lnTo>
                      <a:pt x="2038" y="844"/>
                    </a:lnTo>
                    <a:lnTo>
                      <a:pt x="2044" y="842"/>
                    </a:lnTo>
                    <a:lnTo>
                      <a:pt x="2052" y="840"/>
                    </a:lnTo>
                    <a:lnTo>
                      <a:pt x="2058" y="836"/>
                    </a:lnTo>
                    <a:lnTo>
                      <a:pt x="2058" y="836"/>
                    </a:lnTo>
                    <a:lnTo>
                      <a:pt x="2070" y="830"/>
                    </a:lnTo>
                    <a:lnTo>
                      <a:pt x="2078" y="826"/>
                    </a:lnTo>
                    <a:lnTo>
                      <a:pt x="2086" y="826"/>
                    </a:lnTo>
                    <a:lnTo>
                      <a:pt x="2092" y="828"/>
                    </a:lnTo>
                    <a:lnTo>
                      <a:pt x="2096" y="830"/>
                    </a:lnTo>
                    <a:lnTo>
                      <a:pt x="2100" y="830"/>
                    </a:lnTo>
                    <a:lnTo>
                      <a:pt x="2106" y="826"/>
                    </a:lnTo>
                    <a:lnTo>
                      <a:pt x="2112" y="818"/>
                    </a:lnTo>
                    <a:lnTo>
                      <a:pt x="2112" y="818"/>
                    </a:lnTo>
                    <a:lnTo>
                      <a:pt x="2118" y="810"/>
                    </a:lnTo>
                    <a:lnTo>
                      <a:pt x="2118" y="806"/>
                    </a:lnTo>
                    <a:lnTo>
                      <a:pt x="2116" y="802"/>
                    </a:lnTo>
                    <a:lnTo>
                      <a:pt x="2112" y="796"/>
                    </a:lnTo>
                    <a:lnTo>
                      <a:pt x="2104" y="792"/>
                    </a:lnTo>
                    <a:lnTo>
                      <a:pt x="2092" y="790"/>
                    </a:lnTo>
                    <a:lnTo>
                      <a:pt x="2080" y="788"/>
                    </a:lnTo>
                    <a:lnTo>
                      <a:pt x="2054" y="786"/>
                    </a:lnTo>
                    <a:lnTo>
                      <a:pt x="2054" y="786"/>
                    </a:lnTo>
                    <a:lnTo>
                      <a:pt x="2044" y="786"/>
                    </a:lnTo>
                    <a:lnTo>
                      <a:pt x="2040" y="784"/>
                    </a:lnTo>
                    <a:lnTo>
                      <a:pt x="2040" y="780"/>
                    </a:lnTo>
                    <a:lnTo>
                      <a:pt x="2040" y="776"/>
                    </a:lnTo>
                    <a:lnTo>
                      <a:pt x="2046" y="768"/>
                    </a:lnTo>
                    <a:lnTo>
                      <a:pt x="2054" y="762"/>
                    </a:lnTo>
                    <a:lnTo>
                      <a:pt x="2066" y="758"/>
                    </a:lnTo>
                    <a:lnTo>
                      <a:pt x="2078" y="754"/>
                    </a:lnTo>
                    <a:lnTo>
                      <a:pt x="2092" y="752"/>
                    </a:lnTo>
                    <a:lnTo>
                      <a:pt x="2092" y="752"/>
                    </a:lnTo>
                    <a:lnTo>
                      <a:pt x="2104" y="754"/>
                    </a:lnTo>
                    <a:lnTo>
                      <a:pt x="2112" y="758"/>
                    </a:lnTo>
                    <a:lnTo>
                      <a:pt x="2122" y="766"/>
                    </a:lnTo>
                    <a:lnTo>
                      <a:pt x="2128" y="768"/>
                    </a:lnTo>
                    <a:lnTo>
                      <a:pt x="2132" y="770"/>
                    </a:lnTo>
                    <a:lnTo>
                      <a:pt x="2142" y="768"/>
                    </a:lnTo>
                    <a:lnTo>
                      <a:pt x="2152" y="766"/>
                    </a:lnTo>
                    <a:lnTo>
                      <a:pt x="2152" y="766"/>
                    </a:lnTo>
                    <a:lnTo>
                      <a:pt x="2162" y="762"/>
                    </a:lnTo>
                    <a:lnTo>
                      <a:pt x="2164" y="758"/>
                    </a:lnTo>
                    <a:lnTo>
                      <a:pt x="2166" y="754"/>
                    </a:lnTo>
                    <a:lnTo>
                      <a:pt x="2162" y="750"/>
                    </a:lnTo>
                    <a:lnTo>
                      <a:pt x="2154" y="746"/>
                    </a:lnTo>
                    <a:lnTo>
                      <a:pt x="2146" y="742"/>
                    </a:lnTo>
                    <a:lnTo>
                      <a:pt x="2134" y="740"/>
                    </a:lnTo>
                    <a:lnTo>
                      <a:pt x="2120" y="738"/>
                    </a:lnTo>
                    <a:lnTo>
                      <a:pt x="2120" y="738"/>
                    </a:lnTo>
                    <a:lnTo>
                      <a:pt x="2112" y="738"/>
                    </a:lnTo>
                    <a:lnTo>
                      <a:pt x="2108" y="736"/>
                    </a:lnTo>
                    <a:lnTo>
                      <a:pt x="2104" y="732"/>
                    </a:lnTo>
                    <a:lnTo>
                      <a:pt x="2102" y="728"/>
                    </a:lnTo>
                    <a:lnTo>
                      <a:pt x="2100" y="718"/>
                    </a:lnTo>
                    <a:lnTo>
                      <a:pt x="2102" y="708"/>
                    </a:lnTo>
                    <a:lnTo>
                      <a:pt x="2108" y="700"/>
                    </a:lnTo>
                    <a:lnTo>
                      <a:pt x="2114" y="694"/>
                    </a:lnTo>
                    <a:lnTo>
                      <a:pt x="2118" y="692"/>
                    </a:lnTo>
                    <a:lnTo>
                      <a:pt x="2122" y="692"/>
                    </a:lnTo>
                    <a:lnTo>
                      <a:pt x="2124" y="692"/>
                    </a:lnTo>
                    <a:lnTo>
                      <a:pt x="2126" y="696"/>
                    </a:lnTo>
                    <a:lnTo>
                      <a:pt x="2126" y="696"/>
                    </a:lnTo>
                    <a:lnTo>
                      <a:pt x="2132" y="700"/>
                    </a:lnTo>
                    <a:lnTo>
                      <a:pt x="2140" y="702"/>
                    </a:lnTo>
                    <a:lnTo>
                      <a:pt x="2148" y="702"/>
                    </a:lnTo>
                    <a:lnTo>
                      <a:pt x="2154" y="698"/>
                    </a:lnTo>
                    <a:lnTo>
                      <a:pt x="2158" y="692"/>
                    </a:lnTo>
                    <a:lnTo>
                      <a:pt x="2162" y="686"/>
                    </a:lnTo>
                    <a:lnTo>
                      <a:pt x="2160" y="678"/>
                    </a:lnTo>
                    <a:lnTo>
                      <a:pt x="2156" y="670"/>
                    </a:lnTo>
                    <a:lnTo>
                      <a:pt x="2156" y="670"/>
                    </a:lnTo>
                    <a:lnTo>
                      <a:pt x="2150" y="662"/>
                    </a:lnTo>
                    <a:lnTo>
                      <a:pt x="2150" y="658"/>
                    </a:lnTo>
                    <a:lnTo>
                      <a:pt x="2154" y="656"/>
                    </a:lnTo>
                    <a:lnTo>
                      <a:pt x="2156" y="656"/>
                    </a:lnTo>
                    <a:lnTo>
                      <a:pt x="2160" y="656"/>
                    </a:lnTo>
                    <a:lnTo>
                      <a:pt x="2160" y="654"/>
                    </a:lnTo>
                    <a:lnTo>
                      <a:pt x="2144" y="646"/>
                    </a:lnTo>
                    <a:lnTo>
                      <a:pt x="2144" y="646"/>
                    </a:lnTo>
                    <a:lnTo>
                      <a:pt x="2132" y="640"/>
                    </a:lnTo>
                    <a:lnTo>
                      <a:pt x="2128" y="636"/>
                    </a:lnTo>
                    <a:lnTo>
                      <a:pt x="2128" y="634"/>
                    </a:lnTo>
                    <a:lnTo>
                      <a:pt x="2130" y="632"/>
                    </a:lnTo>
                    <a:lnTo>
                      <a:pt x="2140" y="628"/>
                    </a:lnTo>
                    <a:lnTo>
                      <a:pt x="2142" y="624"/>
                    </a:lnTo>
                    <a:lnTo>
                      <a:pt x="2142" y="620"/>
                    </a:lnTo>
                    <a:lnTo>
                      <a:pt x="2142" y="620"/>
                    </a:lnTo>
                    <a:lnTo>
                      <a:pt x="2140" y="616"/>
                    </a:lnTo>
                    <a:lnTo>
                      <a:pt x="2136" y="614"/>
                    </a:lnTo>
                    <a:lnTo>
                      <a:pt x="2126" y="612"/>
                    </a:lnTo>
                    <a:lnTo>
                      <a:pt x="2098" y="612"/>
                    </a:lnTo>
                    <a:lnTo>
                      <a:pt x="2084" y="612"/>
                    </a:lnTo>
                    <a:lnTo>
                      <a:pt x="2074" y="612"/>
                    </a:lnTo>
                    <a:lnTo>
                      <a:pt x="2066" y="608"/>
                    </a:lnTo>
                    <a:lnTo>
                      <a:pt x="2064" y="606"/>
                    </a:lnTo>
                    <a:lnTo>
                      <a:pt x="2062" y="602"/>
                    </a:lnTo>
                    <a:lnTo>
                      <a:pt x="2062" y="602"/>
                    </a:lnTo>
                    <a:lnTo>
                      <a:pt x="2062" y="598"/>
                    </a:lnTo>
                    <a:lnTo>
                      <a:pt x="2060" y="594"/>
                    </a:lnTo>
                    <a:lnTo>
                      <a:pt x="2056" y="590"/>
                    </a:lnTo>
                    <a:lnTo>
                      <a:pt x="2048" y="586"/>
                    </a:lnTo>
                    <a:lnTo>
                      <a:pt x="2040" y="582"/>
                    </a:lnTo>
                    <a:lnTo>
                      <a:pt x="2032" y="580"/>
                    </a:lnTo>
                    <a:lnTo>
                      <a:pt x="2028" y="578"/>
                    </a:lnTo>
                    <a:lnTo>
                      <a:pt x="2026" y="576"/>
                    </a:lnTo>
                    <a:lnTo>
                      <a:pt x="2028" y="574"/>
                    </a:lnTo>
                    <a:lnTo>
                      <a:pt x="2032" y="568"/>
                    </a:lnTo>
                    <a:lnTo>
                      <a:pt x="2032" y="568"/>
                    </a:lnTo>
                    <a:lnTo>
                      <a:pt x="2040" y="566"/>
                    </a:lnTo>
                    <a:lnTo>
                      <a:pt x="2046" y="566"/>
                    </a:lnTo>
                    <a:lnTo>
                      <a:pt x="2050" y="570"/>
                    </a:lnTo>
                    <a:lnTo>
                      <a:pt x="2054" y="574"/>
                    </a:lnTo>
                    <a:lnTo>
                      <a:pt x="2058" y="578"/>
                    </a:lnTo>
                    <a:lnTo>
                      <a:pt x="2064" y="580"/>
                    </a:lnTo>
                    <a:lnTo>
                      <a:pt x="2072" y="580"/>
                    </a:lnTo>
                    <a:lnTo>
                      <a:pt x="2082" y="574"/>
                    </a:lnTo>
                    <a:lnTo>
                      <a:pt x="2082" y="574"/>
                    </a:lnTo>
                    <a:lnTo>
                      <a:pt x="2094" y="566"/>
                    </a:lnTo>
                    <a:lnTo>
                      <a:pt x="2106" y="562"/>
                    </a:lnTo>
                    <a:lnTo>
                      <a:pt x="2120" y="560"/>
                    </a:lnTo>
                    <a:lnTo>
                      <a:pt x="2132" y="560"/>
                    </a:lnTo>
                    <a:lnTo>
                      <a:pt x="2144" y="562"/>
                    </a:lnTo>
                    <a:lnTo>
                      <a:pt x="2156" y="564"/>
                    </a:lnTo>
                    <a:lnTo>
                      <a:pt x="2178" y="574"/>
                    </a:lnTo>
                    <a:lnTo>
                      <a:pt x="2178" y="574"/>
                    </a:lnTo>
                    <a:lnTo>
                      <a:pt x="2188" y="576"/>
                    </a:lnTo>
                    <a:lnTo>
                      <a:pt x="2196" y="574"/>
                    </a:lnTo>
                    <a:lnTo>
                      <a:pt x="2202" y="570"/>
                    </a:lnTo>
                    <a:lnTo>
                      <a:pt x="2206" y="564"/>
                    </a:lnTo>
                    <a:lnTo>
                      <a:pt x="2208" y="556"/>
                    </a:lnTo>
                    <a:lnTo>
                      <a:pt x="2206" y="546"/>
                    </a:lnTo>
                    <a:lnTo>
                      <a:pt x="2202" y="536"/>
                    </a:lnTo>
                    <a:lnTo>
                      <a:pt x="2194" y="528"/>
                    </a:lnTo>
                    <a:lnTo>
                      <a:pt x="2194" y="528"/>
                    </a:lnTo>
                    <a:lnTo>
                      <a:pt x="2186" y="522"/>
                    </a:lnTo>
                    <a:lnTo>
                      <a:pt x="2180" y="522"/>
                    </a:lnTo>
                    <a:lnTo>
                      <a:pt x="2176" y="524"/>
                    </a:lnTo>
                    <a:lnTo>
                      <a:pt x="2172" y="528"/>
                    </a:lnTo>
                    <a:lnTo>
                      <a:pt x="2166" y="532"/>
                    </a:lnTo>
                    <a:lnTo>
                      <a:pt x="2158" y="534"/>
                    </a:lnTo>
                    <a:lnTo>
                      <a:pt x="2148" y="532"/>
                    </a:lnTo>
                    <a:lnTo>
                      <a:pt x="2132" y="524"/>
                    </a:lnTo>
                    <a:lnTo>
                      <a:pt x="2132" y="524"/>
                    </a:lnTo>
                    <a:lnTo>
                      <a:pt x="2106" y="506"/>
                    </a:lnTo>
                    <a:lnTo>
                      <a:pt x="2102" y="502"/>
                    </a:lnTo>
                    <a:lnTo>
                      <a:pt x="2102" y="500"/>
                    </a:lnTo>
                    <a:lnTo>
                      <a:pt x="2102" y="498"/>
                    </a:lnTo>
                    <a:lnTo>
                      <a:pt x="2106" y="498"/>
                    </a:lnTo>
                    <a:lnTo>
                      <a:pt x="2116" y="498"/>
                    </a:lnTo>
                    <a:lnTo>
                      <a:pt x="2144" y="504"/>
                    </a:lnTo>
                    <a:lnTo>
                      <a:pt x="2144" y="504"/>
                    </a:lnTo>
                    <a:lnTo>
                      <a:pt x="2170" y="508"/>
                    </a:lnTo>
                    <a:lnTo>
                      <a:pt x="2174" y="508"/>
                    </a:lnTo>
                    <a:lnTo>
                      <a:pt x="2174" y="506"/>
                    </a:lnTo>
                    <a:lnTo>
                      <a:pt x="2168" y="502"/>
                    </a:lnTo>
                    <a:lnTo>
                      <a:pt x="2156" y="496"/>
                    </a:lnTo>
                    <a:lnTo>
                      <a:pt x="2120" y="480"/>
                    </a:lnTo>
                    <a:lnTo>
                      <a:pt x="2120" y="480"/>
                    </a:lnTo>
                    <a:lnTo>
                      <a:pt x="2100" y="474"/>
                    </a:lnTo>
                    <a:lnTo>
                      <a:pt x="2086" y="474"/>
                    </a:lnTo>
                    <a:lnTo>
                      <a:pt x="2078" y="476"/>
                    </a:lnTo>
                    <a:lnTo>
                      <a:pt x="2074" y="482"/>
                    </a:lnTo>
                    <a:lnTo>
                      <a:pt x="2070" y="494"/>
                    </a:lnTo>
                    <a:lnTo>
                      <a:pt x="2066" y="500"/>
                    </a:lnTo>
                    <a:lnTo>
                      <a:pt x="2060" y="504"/>
                    </a:lnTo>
                    <a:lnTo>
                      <a:pt x="2060" y="504"/>
                    </a:lnTo>
                    <a:lnTo>
                      <a:pt x="2056" y="504"/>
                    </a:lnTo>
                    <a:lnTo>
                      <a:pt x="2054" y="502"/>
                    </a:lnTo>
                    <a:lnTo>
                      <a:pt x="2052" y="500"/>
                    </a:lnTo>
                    <a:lnTo>
                      <a:pt x="2052" y="498"/>
                    </a:lnTo>
                    <a:lnTo>
                      <a:pt x="2054" y="490"/>
                    </a:lnTo>
                    <a:lnTo>
                      <a:pt x="2060" y="478"/>
                    </a:lnTo>
                    <a:lnTo>
                      <a:pt x="2072" y="454"/>
                    </a:lnTo>
                    <a:lnTo>
                      <a:pt x="2080" y="440"/>
                    </a:lnTo>
                    <a:lnTo>
                      <a:pt x="2086" y="426"/>
                    </a:lnTo>
                    <a:lnTo>
                      <a:pt x="2086" y="426"/>
                    </a:lnTo>
                    <a:lnTo>
                      <a:pt x="2090" y="414"/>
                    </a:lnTo>
                    <a:lnTo>
                      <a:pt x="2096" y="408"/>
                    </a:lnTo>
                    <a:lnTo>
                      <a:pt x="2104" y="404"/>
                    </a:lnTo>
                    <a:lnTo>
                      <a:pt x="2110" y="404"/>
                    </a:lnTo>
                    <a:lnTo>
                      <a:pt x="2124" y="404"/>
                    </a:lnTo>
                    <a:lnTo>
                      <a:pt x="2130" y="404"/>
                    </a:lnTo>
                    <a:lnTo>
                      <a:pt x="2134" y="402"/>
                    </a:lnTo>
                    <a:lnTo>
                      <a:pt x="2134" y="402"/>
                    </a:lnTo>
                    <a:lnTo>
                      <a:pt x="2146" y="392"/>
                    </a:lnTo>
                    <a:lnTo>
                      <a:pt x="2160" y="382"/>
                    </a:lnTo>
                    <a:lnTo>
                      <a:pt x="2166" y="376"/>
                    </a:lnTo>
                    <a:lnTo>
                      <a:pt x="2168" y="372"/>
                    </a:lnTo>
                    <a:lnTo>
                      <a:pt x="2168" y="370"/>
                    </a:lnTo>
                    <a:lnTo>
                      <a:pt x="2166" y="368"/>
                    </a:lnTo>
                    <a:lnTo>
                      <a:pt x="2160" y="366"/>
                    </a:lnTo>
                    <a:lnTo>
                      <a:pt x="2160" y="366"/>
                    </a:lnTo>
                    <a:lnTo>
                      <a:pt x="2152" y="362"/>
                    </a:lnTo>
                    <a:lnTo>
                      <a:pt x="2146" y="358"/>
                    </a:lnTo>
                    <a:lnTo>
                      <a:pt x="2144" y="354"/>
                    </a:lnTo>
                    <a:lnTo>
                      <a:pt x="2144" y="348"/>
                    </a:lnTo>
                    <a:lnTo>
                      <a:pt x="2146" y="344"/>
                    </a:lnTo>
                    <a:lnTo>
                      <a:pt x="2150" y="338"/>
                    </a:lnTo>
                    <a:lnTo>
                      <a:pt x="2158" y="336"/>
                    </a:lnTo>
                    <a:lnTo>
                      <a:pt x="2168" y="334"/>
                    </a:lnTo>
                    <a:lnTo>
                      <a:pt x="2168" y="334"/>
                    </a:lnTo>
                    <a:lnTo>
                      <a:pt x="2190" y="334"/>
                    </a:lnTo>
                    <a:lnTo>
                      <a:pt x="2204" y="330"/>
                    </a:lnTo>
                    <a:lnTo>
                      <a:pt x="2216" y="322"/>
                    </a:lnTo>
                    <a:lnTo>
                      <a:pt x="2228" y="310"/>
                    </a:lnTo>
                    <a:lnTo>
                      <a:pt x="2228" y="310"/>
                    </a:lnTo>
                    <a:lnTo>
                      <a:pt x="2230" y="306"/>
                    </a:lnTo>
                    <a:lnTo>
                      <a:pt x="2230" y="304"/>
                    </a:lnTo>
                    <a:lnTo>
                      <a:pt x="2228" y="302"/>
                    </a:lnTo>
                    <a:lnTo>
                      <a:pt x="2226" y="300"/>
                    </a:lnTo>
                    <a:lnTo>
                      <a:pt x="2214" y="300"/>
                    </a:lnTo>
                    <a:lnTo>
                      <a:pt x="2200" y="300"/>
                    </a:lnTo>
                    <a:lnTo>
                      <a:pt x="2162" y="308"/>
                    </a:lnTo>
                    <a:lnTo>
                      <a:pt x="2142" y="312"/>
                    </a:lnTo>
                    <a:lnTo>
                      <a:pt x="2124" y="318"/>
                    </a:lnTo>
                    <a:lnTo>
                      <a:pt x="2124" y="318"/>
                    </a:lnTo>
                    <a:lnTo>
                      <a:pt x="2112" y="322"/>
                    </a:lnTo>
                    <a:lnTo>
                      <a:pt x="2108" y="320"/>
                    </a:lnTo>
                    <a:lnTo>
                      <a:pt x="2106" y="320"/>
                    </a:lnTo>
                    <a:lnTo>
                      <a:pt x="2106" y="316"/>
                    </a:lnTo>
                    <a:lnTo>
                      <a:pt x="2108" y="314"/>
                    </a:lnTo>
                    <a:lnTo>
                      <a:pt x="2114" y="306"/>
                    </a:lnTo>
                    <a:lnTo>
                      <a:pt x="2124" y="298"/>
                    </a:lnTo>
                    <a:lnTo>
                      <a:pt x="2138" y="292"/>
                    </a:lnTo>
                    <a:lnTo>
                      <a:pt x="2152" y="288"/>
                    </a:lnTo>
                    <a:lnTo>
                      <a:pt x="2160" y="288"/>
                    </a:lnTo>
                    <a:lnTo>
                      <a:pt x="2168" y="288"/>
                    </a:lnTo>
                    <a:lnTo>
                      <a:pt x="2168" y="288"/>
                    </a:lnTo>
                    <a:lnTo>
                      <a:pt x="2182" y="292"/>
                    </a:lnTo>
                    <a:lnTo>
                      <a:pt x="2198" y="292"/>
                    </a:lnTo>
                    <a:lnTo>
                      <a:pt x="2214" y="292"/>
                    </a:lnTo>
                    <a:lnTo>
                      <a:pt x="2228" y="290"/>
                    </a:lnTo>
                    <a:lnTo>
                      <a:pt x="2256" y="284"/>
                    </a:lnTo>
                    <a:lnTo>
                      <a:pt x="2278" y="276"/>
                    </a:lnTo>
                    <a:lnTo>
                      <a:pt x="2278" y="276"/>
                    </a:lnTo>
                    <a:lnTo>
                      <a:pt x="2284" y="270"/>
                    </a:lnTo>
                    <a:lnTo>
                      <a:pt x="2286" y="268"/>
                    </a:lnTo>
                    <a:lnTo>
                      <a:pt x="2284" y="268"/>
                    </a:lnTo>
                    <a:lnTo>
                      <a:pt x="2280" y="264"/>
                    </a:lnTo>
                    <a:lnTo>
                      <a:pt x="2270" y="262"/>
                    </a:lnTo>
                    <a:lnTo>
                      <a:pt x="2244" y="260"/>
                    </a:lnTo>
                    <a:lnTo>
                      <a:pt x="2232" y="260"/>
                    </a:lnTo>
                    <a:lnTo>
                      <a:pt x="2220" y="262"/>
                    </a:lnTo>
                    <a:lnTo>
                      <a:pt x="2220" y="262"/>
                    </a:lnTo>
                    <a:lnTo>
                      <a:pt x="2206" y="264"/>
                    </a:lnTo>
                    <a:lnTo>
                      <a:pt x="2188" y="264"/>
                    </a:lnTo>
                    <a:lnTo>
                      <a:pt x="2154" y="262"/>
                    </a:lnTo>
                    <a:lnTo>
                      <a:pt x="2134" y="258"/>
                    </a:lnTo>
                    <a:lnTo>
                      <a:pt x="2150" y="258"/>
                    </a:lnTo>
                    <a:lnTo>
                      <a:pt x="2150" y="258"/>
                    </a:lnTo>
                    <a:lnTo>
                      <a:pt x="2168" y="260"/>
                    </a:lnTo>
                    <a:lnTo>
                      <a:pt x="2182" y="258"/>
                    </a:lnTo>
                    <a:lnTo>
                      <a:pt x="2192" y="256"/>
                    </a:lnTo>
                    <a:lnTo>
                      <a:pt x="2200" y="252"/>
                    </a:lnTo>
                    <a:lnTo>
                      <a:pt x="2214" y="248"/>
                    </a:lnTo>
                    <a:lnTo>
                      <a:pt x="2222" y="246"/>
                    </a:lnTo>
                    <a:lnTo>
                      <a:pt x="2232" y="248"/>
                    </a:lnTo>
                    <a:lnTo>
                      <a:pt x="2232" y="248"/>
                    </a:lnTo>
                    <a:lnTo>
                      <a:pt x="2244" y="250"/>
                    </a:lnTo>
                    <a:lnTo>
                      <a:pt x="2254" y="250"/>
                    </a:lnTo>
                    <a:lnTo>
                      <a:pt x="2274" y="248"/>
                    </a:lnTo>
                    <a:lnTo>
                      <a:pt x="2298" y="244"/>
                    </a:lnTo>
                    <a:lnTo>
                      <a:pt x="2330" y="242"/>
                    </a:lnTo>
                    <a:lnTo>
                      <a:pt x="2330" y="242"/>
                    </a:lnTo>
                    <a:lnTo>
                      <a:pt x="2342" y="240"/>
                    </a:lnTo>
                    <a:lnTo>
                      <a:pt x="2344" y="238"/>
                    </a:lnTo>
                    <a:lnTo>
                      <a:pt x="2344" y="238"/>
                    </a:lnTo>
                    <a:lnTo>
                      <a:pt x="2342" y="232"/>
                    </a:lnTo>
                    <a:lnTo>
                      <a:pt x="2336" y="228"/>
                    </a:lnTo>
                    <a:lnTo>
                      <a:pt x="2330" y="224"/>
                    </a:lnTo>
                    <a:lnTo>
                      <a:pt x="2328" y="220"/>
                    </a:lnTo>
                    <a:lnTo>
                      <a:pt x="2330" y="220"/>
                    </a:lnTo>
                    <a:lnTo>
                      <a:pt x="2334" y="218"/>
                    </a:lnTo>
                    <a:lnTo>
                      <a:pt x="2348" y="218"/>
                    </a:lnTo>
                    <a:lnTo>
                      <a:pt x="2348" y="218"/>
                    </a:lnTo>
                    <a:lnTo>
                      <a:pt x="2360" y="216"/>
                    </a:lnTo>
                    <a:lnTo>
                      <a:pt x="2372" y="214"/>
                    </a:lnTo>
                    <a:lnTo>
                      <a:pt x="2382" y="212"/>
                    </a:lnTo>
                    <a:lnTo>
                      <a:pt x="2392" y="206"/>
                    </a:lnTo>
                    <a:lnTo>
                      <a:pt x="2412" y="196"/>
                    </a:lnTo>
                    <a:lnTo>
                      <a:pt x="2436" y="182"/>
                    </a:lnTo>
                    <a:lnTo>
                      <a:pt x="2436" y="182"/>
                    </a:lnTo>
                    <a:lnTo>
                      <a:pt x="2440" y="180"/>
                    </a:lnTo>
                    <a:lnTo>
                      <a:pt x="2442" y="176"/>
                    </a:lnTo>
                    <a:lnTo>
                      <a:pt x="2438" y="174"/>
                    </a:lnTo>
                    <a:lnTo>
                      <a:pt x="2434" y="170"/>
                    </a:lnTo>
                    <a:lnTo>
                      <a:pt x="2414" y="164"/>
                    </a:lnTo>
                    <a:lnTo>
                      <a:pt x="2388" y="158"/>
                    </a:lnTo>
                    <a:lnTo>
                      <a:pt x="2356" y="154"/>
                    </a:lnTo>
                    <a:lnTo>
                      <a:pt x="2322" y="150"/>
                    </a:lnTo>
                    <a:lnTo>
                      <a:pt x="2292" y="148"/>
                    </a:lnTo>
                    <a:lnTo>
                      <a:pt x="2264" y="150"/>
                    </a:lnTo>
                    <a:lnTo>
                      <a:pt x="2264" y="150"/>
                    </a:lnTo>
                    <a:lnTo>
                      <a:pt x="2244" y="152"/>
                    </a:lnTo>
                    <a:lnTo>
                      <a:pt x="2230" y="158"/>
                    </a:lnTo>
                    <a:lnTo>
                      <a:pt x="2220" y="164"/>
                    </a:lnTo>
                    <a:lnTo>
                      <a:pt x="2214" y="172"/>
                    </a:lnTo>
                    <a:lnTo>
                      <a:pt x="2210" y="180"/>
                    </a:lnTo>
                    <a:lnTo>
                      <a:pt x="2204" y="184"/>
                    </a:lnTo>
                    <a:lnTo>
                      <a:pt x="2198" y="186"/>
                    </a:lnTo>
                    <a:lnTo>
                      <a:pt x="2188" y="186"/>
                    </a:lnTo>
                    <a:lnTo>
                      <a:pt x="2188" y="186"/>
                    </a:lnTo>
                    <a:lnTo>
                      <a:pt x="2176" y="184"/>
                    </a:lnTo>
                    <a:lnTo>
                      <a:pt x="2162" y="182"/>
                    </a:lnTo>
                    <a:lnTo>
                      <a:pt x="2140" y="184"/>
                    </a:lnTo>
                    <a:lnTo>
                      <a:pt x="2126" y="184"/>
                    </a:lnTo>
                    <a:lnTo>
                      <a:pt x="2126" y="182"/>
                    </a:lnTo>
                    <a:lnTo>
                      <a:pt x="2126" y="182"/>
                    </a:lnTo>
                    <a:lnTo>
                      <a:pt x="2130" y="178"/>
                    </a:lnTo>
                    <a:lnTo>
                      <a:pt x="2130" y="178"/>
                    </a:lnTo>
                    <a:lnTo>
                      <a:pt x="2134" y="172"/>
                    </a:lnTo>
                    <a:lnTo>
                      <a:pt x="2134" y="170"/>
                    </a:lnTo>
                    <a:lnTo>
                      <a:pt x="2128" y="170"/>
                    </a:lnTo>
                    <a:lnTo>
                      <a:pt x="2120" y="172"/>
                    </a:lnTo>
                    <a:lnTo>
                      <a:pt x="2108" y="176"/>
                    </a:lnTo>
                    <a:lnTo>
                      <a:pt x="2092" y="184"/>
                    </a:lnTo>
                    <a:lnTo>
                      <a:pt x="2074" y="196"/>
                    </a:lnTo>
                    <a:lnTo>
                      <a:pt x="2050" y="210"/>
                    </a:lnTo>
                    <a:lnTo>
                      <a:pt x="2050" y="210"/>
                    </a:lnTo>
                    <a:lnTo>
                      <a:pt x="2028" y="224"/>
                    </a:lnTo>
                    <a:lnTo>
                      <a:pt x="2010" y="234"/>
                    </a:lnTo>
                    <a:lnTo>
                      <a:pt x="1996" y="242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4"/>
                    </a:lnTo>
                    <a:lnTo>
                      <a:pt x="1984" y="238"/>
                    </a:lnTo>
                    <a:lnTo>
                      <a:pt x="1992" y="228"/>
                    </a:lnTo>
                    <a:lnTo>
                      <a:pt x="2008" y="216"/>
                    </a:lnTo>
                    <a:lnTo>
                      <a:pt x="2008" y="216"/>
                    </a:lnTo>
                    <a:lnTo>
                      <a:pt x="2026" y="200"/>
                    </a:lnTo>
                    <a:lnTo>
                      <a:pt x="2040" y="186"/>
                    </a:lnTo>
                    <a:lnTo>
                      <a:pt x="2050" y="172"/>
                    </a:lnTo>
                    <a:lnTo>
                      <a:pt x="2052" y="166"/>
                    </a:lnTo>
                    <a:lnTo>
                      <a:pt x="2052" y="160"/>
                    </a:lnTo>
                    <a:lnTo>
                      <a:pt x="2052" y="156"/>
                    </a:lnTo>
                    <a:lnTo>
                      <a:pt x="2050" y="150"/>
                    </a:lnTo>
                    <a:lnTo>
                      <a:pt x="2048" y="146"/>
                    </a:lnTo>
                    <a:lnTo>
                      <a:pt x="2042" y="144"/>
                    </a:lnTo>
                    <a:lnTo>
                      <a:pt x="2036" y="140"/>
                    </a:lnTo>
                    <a:lnTo>
                      <a:pt x="2028" y="138"/>
                    </a:lnTo>
                    <a:lnTo>
                      <a:pt x="2004" y="138"/>
                    </a:lnTo>
                    <a:lnTo>
                      <a:pt x="2004" y="138"/>
                    </a:lnTo>
                    <a:lnTo>
                      <a:pt x="1984" y="138"/>
                    </a:lnTo>
                    <a:lnTo>
                      <a:pt x="1972" y="142"/>
                    </a:lnTo>
                    <a:lnTo>
                      <a:pt x="1964" y="146"/>
                    </a:lnTo>
                    <a:lnTo>
                      <a:pt x="1962" y="152"/>
                    </a:lnTo>
                    <a:lnTo>
                      <a:pt x="1960" y="156"/>
                    </a:lnTo>
                    <a:lnTo>
                      <a:pt x="1958" y="162"/>
                    </a:lnTo>
                    <a:lnTo>
                      <a:pt x="1952" y="168"/>
                    </a:lnTo>
                    <a:lnTo>
                      <a:pt x="1940" y="172"/>
                    </a:lnTo>
                    <a:lnTo>
                      <a:pt x="1940" y="172"/>
                    </a:lnTo>
                    <a:lnTo>
                      <a:pt x="1910" y="178"/>
                    </a:lnTo>
                    <a:lnTo>
                      <a:pt x="1886" y="182"/>
                    </a:lnTo>
                    <a:lnTo>
                      <a:pt x="1878" y="182"/>
                    </a:lnTo>
                    <a:lnTo>
                      <a:pt x="1876" y="180"/>
                    </a:lnTo>
                    <a:lnTo>
                      <a:pt x="1880" y="176"/>
                    </a:lnTo>
                    <a:lnTo>
                      <a:pt x="1890" y="172"/>
                    </a:lnTo>
                    <a:lnTo>
                      <a:pt x="1890" y="172"/>
                    </a:lnTo>
                    <a:lnTo>
                      <a:pt x="1916" y="160"/>
                    </a:lnTo>
                    <a:lnTo>
                      <a:pt x="1922" y="154"/>
                    </a:lnTo>
                    <a:lnTo>
                      <a:pt x="1924" y="152"/>
                    </a:lnTo>
                    <a:lnTo>
                      <a:pt x="1924" y="150"/>
                    </a:lnTo>
                    <a:lnTo>
                      <a:pt x="1924" y="148"/>
                    </a:lnTo>
                    <a:lnTo>
                      <a:pt x="1920" y="148"/>
                    </a:lnTo>
                    <a:lnTo>
                      <a:pt x="1906" y="144"/>
                    </a:lnTo>
                    <a:lnTo>
                      <a:pt x="1884" y="142"/>
                    </a:lnTo>
                    <a:lnTo>
                      <a:pt x="1852" y="140"/>
                    </a:lnTo>
                    <a:lnTo>
                      <a:pt x="1852" y="140"/>
                    </a:lnTo>
                    <a:lnTo>
                      <a:pt x="1812" y="142"/>
                    </a:lnTo>
                    <a:lnTo>
                      <a:pt x="1770" y="146"/>
                    </a:lnTo>
                    <a:lnTo>
                      <a:pt x="1730" y="152"/>
                    </a:lnTo>
                    <a:lnTo>
                      <a:pt x="1694" y="160"/>
                    </a:lnTo>
                    <a:lnTo>
                      <a:pt x="1636" y="172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8" y="174"/>
                    </a:lnTo>
                    <a:lnTo>
                      <a:pt x="1608" y="174"/>
                    </a:lnTo>
                    <a:lnTo>
                      <a:pt x="1604" y="170"/>
                    </a:lnTo>
                    <a:lnTo>
                      <a:pt x="1602" y="168"/>
                    </a:lnTo>
                    <a:lnTo>
                      <a:pt x="1604" y="164"/>
                    </a:lnTo>
                    <a:lnTo>
                      <a:pt x="1606" y="162"/>
                    </a:lnTo>
                    <a:lnTo>
                      <a:pt x="1618" y="156"/>
                    </a:lnTo>
                    <a:lnTo>
                      <a:pt x="1636" y="152"/>
                    </a:lnTo>
                    <a:lnTo>
                      <a:pt x="1686" y="142"/>
                    </a:lnTo>
                    <a:lnTo>
                      <a:pt x="1744" y="134"/>
                    </a:lnTo>
                    <a:lnTo>
                      <a:pt x="1744" y="134"/>
                    </a:lnTo>
                    <a:lnTo>
                      <a:pt x="1772" y="130"/>
                    </a:lnTo>
                    <a:lnTo>
                      <a:pt x="1802" y="130"/>
                    </a:lnTo>
                    <a:lnTo>
                      <a:pt x="1864" y="130"/>
                    </a:lnTo>
                    <a:lnTo>
                      <a:pt x="1926" y="130"/>
                    </a:lnTo>
                    <a:lnTo>
                      <a:pt x="1956" y="128"/>
                    </a:lnTo>
                    <a:lnTo>
                      <a:pt x="1984" y="124"/>
                    </a:lnTo>
                    <a:lnTo>
                      <a:pt x="1984" y="124"/>
                    </a:lnTo>
                    <a:lnTo>
                      <a:pt x="2020" y="114"/>
                    </a:lnTo>
                    <a:lnTo>
                      <a:pt x="2054" y="104"/>
                    </a:lnTo>
                    <a:lnTo>
                      <a:pt x="2066" y="98"/>
                    </a:lnTo>
                    <a:lnTo>
                      <a:pt x="2072" y="92"/>
                    </a:lnTo>
                    <a:lnTo>
                      <a:pt x="2072" y="90"/>
                    </a:lnTo>
                    <a:lnTo>
                      <a:pt x="2070" y="88"/>
                    </a:lnTo>
                    <a:lnTo>
                      <a:pt x="2062" y="84"/>
                    </a:lnTo>
                    <a:lnTo>
                      <a:pt x="2062" y="84"/>
                    </a:lnTo>
                    <a:lnTo>
                      <a:pt x="2034" y="78"/>
                    </a:lnTo>
                    <a:lnTo>
                      <a:pt x="2004" y="72"/>
                    </a:lnTo>
                    <a:lnTo>
                      <a:pt x="1988" y="70"/>
                    </a:lnTo>
                    <a:lnTo>
                      <a:pt x="1970" y="68"/>
                    </a:lnTo>
                    <a:lnTo>
                      <a:pt x="1952" y="70"/>
                    </a:lnTo>
                    <a:lnTo>
                      <a:pt x="1932" y="72"/>
                    </a:lnTo>
                    <a:lnTo>
                      <a:pt x="1932" y="72"/>
                    </a:lnTo>
                    <a:lnTo>
                      <a:pt x="1914" y="76"/>
                    </a:lnTo>
                    <a:lnTo>
                      <a:pt x="1916" y="74"/>
                    </a:lnTo>
                    <a:lnTo>
                      <a:pt x="1922" y="70"/>
                    </a:lnTo>
                    <a:lnTo>
                      <a:pt x="1930" y="64"/>
                    </a:lnTo>
                    <a:lnTo>
                      <a:pt x="1936" y="58"/>
                    </a:lnTo>
                    <a:lnTo>
                      <a:pt x="1938" y="56"/>
                    </a:lnTo>
                    <a:lnTo>
                      <a:pt x="1938" y="52"/>
                    </a:lnTo>
                    <a:lnTo>
                      <a:pt x="1936" y="50"/>
                    </a:lnTo>
                    <a:lnTo>
                      <a:pt x="1932" y="46"/>
                    </a:lnTo>
                    <a:lnTo>
                      <a:pt x="1932" y="46"/>
                    </a:lnTo>
                    <a:lnTo>
                      <a:pt x="1922" y="42"/>
                    </a:lnTo>
                    <a:lnTo>
                      <a:pt x="1912" y="42"/>
                    </a:lnTo>
                    <a:lnTo>
                      <a:pt x="1898" y="42"/>
                    </a:lnTo>
                    <a:lnTo>
                      <a:pt x="1884" y="46"/>
                    </a:lnTo>
                    <a:lnTo>
                      <a:pt x="1866" y="48"/>
                    </a:lnTo>
                    <a:lnTo>
                      <a:pt x="1846" y="50"/>
                    </a:lnTo>
                    <a:lnTo>
                      <a:pt x="1822" y="52"/>
                    </a:lnTo>
                    <a:lnTo>
                      <a:pt x="1794" y="50"/>
                    </a:lnTo>
                    <a:lnTo>
                      <a:pt x="1794" y="50"/>
                    </a:lnTo>
                    <a:lnTo>
                      <a:pt x="1766" y="48"/>
                    </a:lnTo>
                    <a:lnTo>
                      <a:pt x="1744" y="48"/>
                    </a:lnTo>
                    <a:lnTo>
                      <a:pt x="1724" y="52"/>
                    </a:lnTo>
                    <a:lnTo>
                      <a:pt x="1708" y="54"/>
                    </a:lnTo>
                    <a:lnTo>
                      <a:pt x="1678" y="60"/>
                    </a:lnTo>
                    <a:lnTo>
                      <a:pt x="1660" y="60"/>
                    </a:lnTo>
                    <a:lnTo>
                      <a:pt x="1638" y="60"/>
                    </a:lnTo>
                    <a:lnTo>
                      <a:pt x="1638" y="60"/>
                    </a:lnTo>
                    <a:lnTo>
                      <a:pt x="1622" y="58"/>
                    </a:lnTo>
                    <a:lnTo>
                      <a:pt x="1616" y="56"/>
                    </a:lnTo>
                    <a:lnTo>
                      <a:pt x="1618" y="54"/>
                    </a:lnTo>
                    <a:lnTo>
                      <a:pt x="1628" y="52"/>
                    </a:lnTo>
                    <a:lnTo>
                      <a:pt x="1692" y="46"/>
                    </a:lnTo>
                    <a:lnTo>
                      <a:pt x="1692" y="46"/>
                    </a:lnTo>
                    <a:lnTo>
                      <a:pt x="1734" y="44"/>
                    </a:lnTo>
                    <a:lnTo>
                      <a:pt x="1794" y="42"/>
                    </a:lnTo>
                    <a:lnTo>
                      <a:pt x="1852" y="38"/>
                    </a:lnTo>
                    <a:lnTo>
                      <a:pt x="1894" y="34"/>
                    </a:lnTo>
                    <a:lnTo>
                      <a:pt x="1894" y="34"/>
                    </a:lnTo>
                    <a:lnTo>
                      <a:pt x="1900" y="32"/>
                    </a:lnTo>
                    <a:lnTo>
                      <a:pt x="1902" y="32"/>
                    </a:lnTo>
                    <a:lnTo>
                      <a:pt x="1902" y="30"/>
                    </a:lnTo>
                    <a:lnTo>
                      <a:pt x="1898" y="28"/>
                    </a:lnTo>
                    <a:lnTo>
                      <a:pt x="1882" y="24"/>
                    </a:lnTo>
                    <a:lnTo>
                      <a:pt x="1858" y="20"/>
                    </a:lnTo>
                    <a:lnTo>
                      <a:pt x="1798" y="12"/>
                    </a:lnTo>
                    <a:lnTo>
                      <a:pt x="1732" y="6"/>
                    </a:lnTo>
                    <a:lnTo>
                      <a:pt x="1732" y="6"/>
                    </a:lnTo>
                    <a:lnTo>
                      <a:pt x="1686" y="2"/>
                    </a:lnTo>
                    <a:lnTo>
                      <a:pt x="1648" y="0"/>
                    </a:lnTo>
                    <a:lnTo>
                      <a:pt x="1618" y="2"/>
                    </a:lnTo>
                    <a:lnTo>
                      <a:pt x="1594" y="2"/>
                    </a:lnTo>
                    <a:lnTo>
                      <a:pt x="1552" y="6"/>
                    </a:lnTo>
                    <a:lnTo>
                      <a:pt x="1528" y="8"/>
                    </a:lnTo>
                    <a:lnTo>
                      <a:pt x="1504" y="6"/>
                    </a:lnTo>
                    <a:lnTo>
                      <a:pt x="1504" y="6"/>
                    </a:lnTo>
                    <a:lnTo>
                      <a:pt x="1480" y="6"/>
                    </a:lnTo>
                    <a:lnTo>
                      <a:pt x="1466" y="8"/>
                    </a:lnTo>
                    <a:lnTo>
                      <a:pt x="1460" y="10"/>
                    </a:lnTo>
                    <a:lnTo>
                      <a:pt x="1458" y="14"/>
                    </a:lnTo>
                    <a:lnTo>
                      <a:pt x="1458" y="16"/>
                    </a:lnTo>
                    <a:lnTo>
                      <a:pt x="1458" y="18"/>
                    </a:lnTo>
                    <a:lnTo>
                      <a:pt x="1452" y="18"/>
                    </a:lnTo>
                    <a:lnTo>
                      <a:pt x="1442" y="16"/>
                    </a:lnTo>
                    <a:lnTo>
                      <a:pt x="1442" y="16"/>
                    </a:lnTo>
                    <a:lnTo>
                      <a:pt x="1420" y="12"/>
                    </a:lnTo>
                    <a:lnTo>
                      <a:pt x="1410" y="14"/>
                    </a:lnTo>
                    <a:lnTo>
                      <a:pt x="1400" y="16"/>
                    </a:lnTo>
                    <a:lnTo>
                      <a:pt x="1384" y="18"/>
                    </a:lnTo>
                    <a:lnTo>
                      <a:pt x="1384" y="18"/>
                    </a:lnTo>
                    <a:lnTo>
                      <a:pt x="1374" y="18"/>
                    </a:lnTo>
                    <a:lnTo>
                      <a:pt x="1368" y="20"/>
                    </a:lnTo>
                    <a:lnTo>
                      <a:pt x="1366" y="24"/>
                    </a:lnTo>
                    <a:lnTo>
                      <a:pt x="1366" y="28"/>
                    </a:lnTo>
                    <a:lnTo>
                      <a:pt x="1370" y="32"/>
                    </a:lnTo>
                    <a:lnTo>
                      <a:pt x="1378" y="36"/>
                    </a:lnTo>
                    <a:lnTo>
                      <a:pt x="1388" y="40"/>
                    </a:lnTo>
                    <a:lnTo>
                      <a:pt x="1402" y="44"/>
                    </a:lnTo>
                    <a:lnTo>
                      <a:pt x="1402" y="44"/>
                    </a:lnTo>
                    <a:lnTo>
                      <a:pt x="1412" y="46"/>
                    </a:lnTo>
                    <a:lnTo>
                      <a:pt x="1416" y="46"/>
                    </a:lnTo>
                    <a:lnTo>
                      <a:pt x="1412" y="48"/>
                    </a:lnTo>
                    <a:lnTo>
                      <a:pt x="1406" y="50"/>
                    </a:lnTo>
                    <a:lnTo>
                      <a:pt x="1386" y="52"/>
                    </a:lnTo>
                    <a:lnTo>
                      <a:pt x="1378" y="54"/>
                    </a:lnTo>
                    <a:lnTo>
                      <a:pt x="1372" y="56"/>
                    </a:lnTo>
                    <a:lnTo>
                      <a:pt x="1372" y="56"/>
                    </a:lnTo>
                    <a:lnTo>
                      <a:pt x="1356" y="62"/>
                    </a:lnTo>
                    <a:lnTo>
                      <a:pt x="1332" y="64"/>
                    </a:lnTo>
                    <a:lnTo>
                      <a:pt x="1318" y="66"/>
                    </a:lnTo>
                    <a:lnTo>
                      <a:pt x="1304" y="64"/>
                    </a:lnTo>
                    <a:lnTo>
                      <a:pt x="1290" y="62"/>
                    </a:lnTo>
                    <a:lnTo>
                      <a:pt x="1278" y="56"/>
                    </a:lnTo>
                    <a:lnTo>
                      <a:pt x="1278" y="56"/>
                    </a:lnTo>
                    <a:lnTo>
                      <a:pt x="1254" y="46"/>
                    </a:lnTo>
                    <a:lnTo>
                      <a:pt x="1242" y="42"/>
                    </a:lnTo>
                    <a:lnTo>
                      <a:pt x="1228" y="38"/>
                    </a:lnTo>
                    <a:lnTo>
                      <a:pt x="1212" y="36"/>
                    </a:lnTo>
                    <a:lnTo>
                      <a:pt x="1194" y="34"/>
                    </a:lnTo>
                    <a:lnTo>
                      <a:pt x="1176" y="36"/>
                    </a:lnTo>
                    <a:lnTo>
                      <a:pt x="1154" y="38"/>
                    </a:lnTo>
                    <a:lnTo>
                      <a:pt x="1154" y="38"/>
                    </a:lnTo>
                    <a:lnTo>
                      <a:pt x="1114" y="44"/>
                    </a:lnTo>
                    <a:lnTo>
                      <a:pt x="1078" y="48"/>
                    </a:lnTo>
                    <a:lnTo>
                      <a:pt x="1064" y="50"/>
                    </a:lnTo>
                    <a:lnTo>
                      <a:pt x="1054" y="54"/>
                    </a:lnTo>
                    <a:lnTo>
                      <a:pt x="1048" y="56"/>
                    </a:lnTo>
                    <a:lnTo>
                      <a:pt x="1048" y="58"/>
                    </a:lnTo>
                    <a:lnTo>
                      <a:pt x="1048" y="60"/>
                    </a:lnTo>
                    <a:lnTo>
                      <a:pt x="1048" y="60"/>
                    </a:lnTo>
                    <a:lnTo>
                      <a:pt x="1054" y="64"/>
                    </a:lnTo>
                    <a:lnTo>
                      <a:pt x="1062" y="66"/>
                    </a:lnTo>
                    <a:lnTo>
                      <a:pt x="1092" y="68"/>
                    </a:lnTo>
                    <a:lnTo>
                      <a:pt x="1128" y="66"/>
                    </a:lnTo>
                    <a:lnTo>
                      <a:pt x="1170" y="66"/>
                    </a:lnTo>
                    <a:lnTo>
                      <a:pt x="1170" y="66"/>
                    </a:lnTo>
                    <a:lnTo>
                      <a:pt x="1208" y="68"/>
                    </a:lnTo>
                    <a:lnTo>
                      <a:pt x="1246" y="72"/>
                    </a:lnTo>
                    <a:lnTo>
                      <a:pt x="1280" y="76"/>
                    </a:lnTo>
                    <a:lnTo>
                      <a:pt x="1314" y="82"/>
                    </a:lnTo>
                    <a:lnTo>
                      <a:pt x="1314" y="82"/>
                    </a:lnTo>
                    <a:lnTo>
                      <a:pt x="1326" y="86"/>
                    </a:lnTo>
                    <a:lnTo>
                      <a:pt x="1332" y="88"/>
                    </a:lnTo>
                    <a:lnTo>
                      <a:pt x="1332" y="90"/>
                    </a:lnTo>
                    <a:lnTo>
                      <a:pt x="1332" y="90"/>
                    </a:lnTo>
                    <a:lnTo>
                      <a:pt x="1326" y="92"/>
                    </a:lnTo>
                    <a:lnTo>
                      <a:pt x="1308" y="92"/>
                    </a:lnTo>
                    <a:lnTo>
                      <a:pt x="1294" y="90"/>
                    </a:lnTo>
                    <a:lnTo>
                      <a:pt x="1282" y="88"/>
                    </a:lnTo>
                    <a:lnTo>
                      <a:pt x="1282" y="88"/>
                    </a:lnTo>
                    <a:lnTo>
                      <a:pt x="1268" y="84"/>
                    </a:lnTo>
                    <a:lnTo>
                      <a:pt x="1252" y="82"/>
                    </a:lnTo>
                    <a:lnTo>
                      <a:pt x="1214" y="78"/>
                    </a:lnTo>
                    <a:lnTo>
                      <a:pt x="1110" y="74"/>
                    </a:lnTo>
                    <a:lnTo>
                      <a:pt x="1110" y="74"/>
                    </a:lnTo>
                    <a:lnTo>
                      <a:pt x="1092" y="76"/>
                    </a:lnTo>
                    <a:lnTo>
                      <a:pt x="1090" y="76"/>
                    </a:lnTo>
                    <a:lnTo>
                      <a:pt x="1092" y="78"/>
                    </a:lnTo>
                    <a:lnTo>
                      <a:pt x="1106" y="84"/>
                    </a:lnTo>
                    <a:lnTo>
                      <a:pt x="1126" y="92"/>
                    </a:lnTo>
                    <a:lnTo>
                      <a:pt x="1148" y="100"/>
                    </a:lnTo>
                    <a:lnTo>
                      <a:pt x="1164" y="108"/>
                    </a:lnTo>
                    <a:lnTo>
                      <a:pt x="1168" y="110"/>
                    </a:lnTo>
                    <a:lnTo>
                      <a:pt x="1168" y="114"/>
                    </a:lnTo>
                    <a:lnTo>
                      <a:pt x="1164" y="116"/>
                    </a:lnTo>
                    <a:lnTo>
                      <a:pt x="1154" y="116"/>
                    </a:lnTo>
                    <a:lnTo>
                      <a:pt x="1154" y="116"/>
                    </a:lnTo>
                    <a:lnTo>
                      <a:pt x="1146" y="118"/>
                    </a:lnTo>
                    <a:lnTo>
                      <a:pt x="1142" y="120"/>
                    </a:lnTo>
                    <a:lnTo>
                      <a:pt x="1138" y="122"/>
                    </a:lnTo>
                    <a:lnTo>
                      <a:pt x="1138" y="126"/>
                    </a:lnTo>
                    <a:lnTo>
                      <a:pt x="1136" y="132"/>
                    </a:lnTo>
                    <a:lnTo>
                      <a:pt x="1138" y="140"/>
                    </a:lnTo>
                    <a:lnTo>
                      <a:pt x="1142" y="148"/>
                    </a:lnTo>
                    <a:lnTo>
                      <a:pt x="1142" y="156"/>
                    </a:lnTo>
                    <a:lnTo>
                      <a:pt x="1142" y="158"/>
                    </a:lnTo>
                    <a:lnTo>
                      <a:pt x="1140" y="160"/>
                    </a:lnTo>
                    <a:lnTo>
                      <a:pt x="1136" y="162"/>
                    </a:lnTo>
                    <a:lnTo>
                      <a:pt x="1132" y="164"/>
                    </a:lnTo>
                    <a:lnTo>
                      <a:pt x="1132" y="164"/>
                    </a:lnTo>
                    <a:lnTo>
                      <a:pt x="1122" y="164"/>
                    </a:lnTo>
                    <a:lnTo>
                      <a:pt x="1114" y="162"/>
                    </a:lnTo>
                    <a:lnTo>
                      <a:pt x="1108" y="158"/>
                    </a:lnTo>
                    <a:lnTo>
                      <a:pt x="1102" y="152"/>
                    </a:lnTo>
                    <a:lnTo>
                      <a:pt x="1094" y="146"/>
                    </a:lnTo>
                    <a:lnTo>
                      <a:pt x="1084" y="142"/>
                    </a:lnTo>
                    <a:lnTo>
                      <a:pt x="1070" y="136"/>
                    </a:lnTo>
                    <a:lnTo>
                      <a:pt x="1052" y="132"/>
                    </a:lnTo>
                    <a:lnTo>
                      <a:pt x="1052" y="132"/>
                    </a:lnTo>
                    <a:lnTo>
                      <a:pt x="1034" y="128"/>
                    </a:lnTo>
                    <a:lnTo>
                      <a:pt x="1016" y="124"/>
                    </a:lnTo>
                    <a:lnTo>
                      <a:pt x="986" y="114"/>
                    </a:lnTo>
                    <a:lnTo>
                      <a:pt x="954" y="104"/>
                    </a:lnTo>
                    <a:lnTo>
                      <a:pt x="936" y="100"/>
                    </a:lnTo>
                    <a:lnTo>
                      <a:pt x="916" y="98"/>
                    </a:lnTo>
                    <a:lnTo>
                      <a:pt x="916" y="98"/>
                    </a:lnTo>
                    <a:lnTo>
                      <a:pt x="896" y="98"/>
                    </a:lnTo>
                    <a:lnTo>
                      <a:pt x="884" y="100"/>
                    </a:lnTo>
                    <a:lnTo>
                      <a:pt x="876" y="102"/>
                    </a:lnTo>
                    <a:lnTo>
                      <a:pt x="874" y="104"/>
                    </a:lnTo>
                    <a:lnTo>
                      <a:pt x="874" y="106"/>
                    </a:lnTo>
                    <a:lnTo>
                      <a:pt x="876" y="112"/>
                    </a:lnTo>
                    <a:lnTo>
                      <a:pt x="884" y="118"/>
                    </a:lnTo>
                    <a:lnTo>
                      <a:pt x="914" y="138"/>
                    </a:lnTo>
                    <a:lnTo>
                      <a:pt x="914" y="138"/>
                    </a:lnTo>
                    <a:lnTo>
                      <a:pt x="926" y="146"/>
                    </a:lnTo>
                    <a:lnTo>
                      <a:pt x="928" y="148"/>
                    </a:lnTo>
                    <a:lnTo>
                      <a:pt x="928" y="150"/>
                    </a:lnTo>
                    <a:lnTo>
                      <a:pt x="922" y="150"/>
                    </a:lnTo>
                    <a:lnTo>
                      <a:pt x="912" y="148"/>
                    </a:lnTo>
                    <a:lnTo>
                      <a:pt x="900" y="148"/>
                    </a:lnTo>
                    <a:lnTo>
                      <a:pt x="888" y="148"/>
                    </a:lnTo>
                    <a:lnTo>
                      <a:pt x="884" y="148"/>
                    </a:lnTo>
                    <a:lnTo>
                      <a:pt x="882" y="150"/>
                    </a:lnTo>
                    <a:lnTo>
                      <a:pt x="882" y="154"/>
                    </a:lnTo>
                    <a:lnTo>
                      <a:pt x="884" y="158"/>
                    </a:lnTo>
                    <a:lnTo>
                      <a:pt x="884" y="158"/>
                    </a:lnTo>
                    <a:lnTo>
                      <a:pt x="886" y="160"/>
                    </a:lnTo>
                    <a:lnTo>
                      <a:pt x="886" y="162"/>
                    </a:lnTo>
                    <a:lnTo>
                      <a:pt x="878" y="160"/>
                    </a:lnTo>
                    <a:lnTo>
                      <a:pt x="866" y="156"/>
                    </a:lnTo>
                    <a:lnTo>
                      <a:pt x="850" y="150"/>
                    </a:lnTo>
                    <a:lnTo>
                      <a:pt x="834" y="148"/>
                    </a:lnTo>
                    <a:lnTo>
                      <a:pt x="824" y="148"/>
                    </a:lnTo>
                    <a:lnTo>
                      <a:pt x="814" y="148"/>
                    </a:lnTo>
                    <a:lnTo>
                      <a:pt x="806" y="152"/>
                    </a:lnTo>
                    <a:lnTo>
                      <a:pt x="796" y="156"/>
                    </a:lnTo>
                    <a:lnTo>
                      <a:pt x="788" y="164"/>
                    </a:lnTo>
                    <a:lnTo>
                      <a:pt x="782" y="172"/>
                    </a:lnTo>
                    <a:lnTo>
                      <a:pt x="782" y="172"/>
                    </a:lnTo>
                    <a:lnTo>
                      <a:pt x="770" y="190"/>
                    </a:lnTo>
                    <a:lnTo>
                      <a:pt x="772" y="180"/>
                    </a:lnTo>
                    <a:lnTo>
                      <a:pt x="776" y="168"/>
                    </a:lnTo>
                    <a:lnTo>
                      <a:pt x="776" y="154"/>
                    </a:lnTo>
                    <a:lnTo>
                      <a:pt x="774" y="138"/>
                    </a:lnTo>
                    <a:lnTo>
                      <a:pt x="772" y="132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56" y="114"/>
                    </a:lnTo>
                    <a:lnTo>
                      <a:pt x="746" y="108"/>
                    </a:lnTo>
                    <a:lnTo>
                      <a:pt x="732" y="108"/>
                    </a:lnTo>
                    <a:lnTo>
                      <a:pt x="716" y="110"/>
                    </a:lnTo>
                    <a:lnTo>
                      <a:pt x="672" y="120"/>
                    </a:lnTo>
                    <a:lnTo>
                      <a:pt x="640" y="126"/>
                    </a:lnTo>
                    <a:lnTo>
                      <a:pt x="598" y="130"/>
                    </a:lnTo>
                    <a:lnTo>
                      <a:pt x="598" y="130"/>
                    </a:lnTo>
                    <a:lnTo>
                      <a:pt x="558" y="136"/>
                    </a:lnTo>
                    <a:lnTo>
                      <a:pt x="526" y="140"/>
                    </a:lnTo>
                    <a:lnTo>
                      <a:pt x="502" y="146"/>
                    </a:lnTo>
                    <a:lnTo>
                      <a:pt x="484" y="152"/>
                    </a:lnTo>
                    <a:lnTo>
                      <a:pt x="472" y="156"/>
                    </a:lnTo>
                    <a:lnTo>
                      <a:pt x="466" y="164"/>
                    </a:lnTo>
                    <a:lnTo>
                      <a:pt x="466" y="166"/>
                    </a:lnTo>
                    <a:lnTo>
                      <a:pt x="466" y="170"/>
                    </a:lnTo>
                    <a:lnTo>
                      <a:pt x="470" y="176"/>
                    </a:lnTo>
                    <a:lnTo>
                      <a:pt x="470" y="17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</p:grpSp>
        <p:sp>
          <p:nvSpPr>
            <p:cNvPr id="128" name="Freeform 6134">
              <a:extLst>
                <a:ext uri="{FF2B5EF4-FFF2-40B4-BE49-F238E27FC236}">
                  <a16:creationId xmlns:a16="http://schemas.microsoft.com/office/drawing/2014/main" id="{9AA6E2EB-C12A-4D98-89AF-9D6AEEF264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194" y="3600446"/>
              <a:ext cx="3809" cy="507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29" name="Freeform 6135">
              <a:extLst>
                <a:ext uri="{FF2B5EF4-FFF2-40B4-BE49-F238E27FC236}">
                  <a16:creationId xmlns:a16="http://schemas.microsoft.com/office/drawing/2014/main" id="{01E00D08-2933-4518-B97E-8F3A5F296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423" y="3592171"/>
              <a:ext cx="1587" cy="1586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30" name="Freeform 6136">
              <a:extLst>
                <a:ext uri="{FF2B5EF4-FFF2-40B4-BE49-F238E27FC236}">
                  <a16:creationId xmlns:a16="http://schemas.microsoft.com/office/drawing/2014/main" id="{49142714-7DBA-4AEB-A5B6-581E0AF2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704" y="3591559"/>
              <a:ext cx="3809" cy="5078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31" name="Freeform 6138">
              <a:extLst>
                <a:ext uri="{FF2B5EF4-FFF2-40B4-BE49-F238E27FC236}">
                  <a16:creationId xmlns:a16="http://schemas.microsoft.com/office/drawing/2014/main" id="{CB7EFC25-C4A1-4B6D-9D83-EB0C5C867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121" y="3604181"/>
              <a:ext cx="2539" cy="380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32" name="Freeform 6144">
              <a:extLst>
                <a:ext uri="{FF2B5EF4-FFF2-40B4-BE49-F238E27FC236}">
                  <a16:creationId xmlns:a16="http://schemas.microsoft.com/office/drawing/2014/main" id="{A1FD1648-3A31-4D6B-B480-071FDCB67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05" y="3582584"/>
              <a:ext cx="5081" cy="3809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33" name="Freeform 6149">
              <a:extLst>
                <a:ext uri="{FF2B5EF4-FFF2-40B4-BE49-F238E27FC236}">
                  <a16:creationId xmlns:a16="http://schemas.microsoft.com/office/drawing/2014/main" id="{35C694B1-D165-404F-8D9E-97E505B5C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26" y="3592044"/>
              <a:ext cx="3175" cy="1586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34" name="Freeform 6150">
              <a:extLst>
                <a:ext uri="{FF2B5EF4-FFF2-40B4-BE49-F238E27FC236}">
                  <a16:creationId xmlns:a16="http://schemas.microsoft.com/office/drawing/2014/main" id="{3E9D458F-DABF-4B99-8418-70F83E657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330" y="3600797"/>
              <a:ext cx="3809" cy="253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</p:grpSp>
      <p:graphicFrame>
        <p:nvGraphicFramePr>
          <p:cNvPr id="1027" name="Chart 1026">
            <a:extLst>
              <a:ext uri="{FF2B5EF4-FFF2-40B4-BE49-F238E27FC236}">
                <a16:creationId xmlns:a16="http://schemas.microsoft.com/office/drawing/2014/main" id="{1B17C7EB-0FAD-41E6-9BE9-1AEB806F6571}"/>
              </a:ext>
            </a:extLst>
          </p:cNvPr>
          <p:cNvGraphicFramePr/>
          <p:nvPr/>
        </p:nvGraphicFramePr>
        <p:xfrm>
          <a:off x="5869213" y="4580201"/>
          <a:ext cx="1825175" cy="1595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7" name="Rectangle 186">
            <a:extLst>
              <a:ext uri="{FF2B5EF4-FFF2-40B4-BE49-F238E27FC236}">
                <a16:creationId xmlns:a16="http://schemas.microsoft.com/office/drawing/2014/main" id="{B46D891C-8009-4D3A-AE8D-056B662B8089}"/>
              </a:ext>
            </a:extLst>
          </p:cNvPr>
          <p:cNvSpPr/>
          <p:nvPr/>
        </p:nvSpPr>
        <p:spPr>
          <a:xfrm>
            <a:off x="4625346" y="5043425"/>
            <a:ext cx="1331136" cy="276999"/>
          </a:xfrm>
          <a:prstGeom prst="rect">
            <a:avLst/>
          </a:prstGeom>
          <a:solidFill>
            <a:srgbClr val="CE295E"/>
          </a:solidFill>
        </p:spPr>
        <p:txBody>
          <a:bodyPr wrap="none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200" dirty="0">
                <a:solidFill>
                  <a:schemeClr val="bg1"/>
                </a:solidFill>
              </a:rPr>
              <a:t>Lorem Ipsum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0A5AD744-30BD-4F9E-88ED-80B7CB0B905E}"/>
              </a:ext>
            </a:extLst>
          </p:cNvPr>
          <p:cNvSpPr/>
          <p:nvPr/>
        </p:nvSpPr>
        <p:spPr>
          <a:xfrm>
            <a:off x="4625346" y="5794370"/>
            <a:ext cx="1331136" cy="276999"/>
          </a:xfrm>
          <a:prstGeom prst="rect">
            <a:avLst/>
          </a:prstGeom>
          <a:solidFill>
            <a:srgbClr val="404040"/>
          </a:solidFill>
        </p:spPr>
        <p:txBody>
          <a:bodyPr wrap="none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200" dirty="0">
                <a:solidFill>
                  <a:schemeClr val="bg1"/>
                </a:solidFill>
              </a:rPr>
              <a:t>Lorem Ipsum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BAB1ACF7-5AEB-4633-8F49-D88B53378400}"/>
              </a:ext>
            </a:extLst>
          </p:cNvPr>
          <p:cNvSpPr/>
          <p:nvPr/>
        </p:nvSpPr>
        <p:spPr>
          <a:xfrm>
            <a:off x="4807597" y="4564487"/>
            <a:ext cx="95979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800" b="1" dirty="0">
                <a:solidFill>
                  <a:srgbClr val="CE295E"/>
                </a:solidFill>
                <a:latin typeface="+mj-lt"/>
              </a:rPr>
              <a:t>87%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D47EB548-7973-4FFC-B967-63DC95FCDF00}"/>
              </a:ext>
            </a:extLst>
          </p:cNvPr>
          <p:cNvSpPr/>
          <p:nvPr/>
        </p:nvSpPr>
        <p:spPr>
          <a:xfrm>
            <a:off x="4807597" y="5335127"/>
            <a:ext cx="95979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800" b="1" dirty="0">
                <a:solidFill>
                  <a:srgbClr val="404040"/>
                </a:solidFill>
                <a:latin typeface="+mj-lt"/>
              </a:rPr>
              <a:t>42%</a:t>
            </a:r>
          </a:p>
        </p:txBody>
      </p:sp>
      <p:sp>
        <p:nvSpPr>
          <p:cNvPr id="1028" name="Oval 1027">
            <a:extLst>
              <a:ext uri="{FF2B5EF4-FFF2-40B4-BE49-F238E27FC236}">
                <a16:creationId xmlns:a16="http://schemas.microsoft.com/office/drawing/2014/main" id="{C98C02B3-B192-4C19-95D4-A5FA419DA95D}"/>
              </a:ext>
            </a:extLst>
          </p:cNvPr>
          <p:cNvSpPr/>
          <p:nvPr/>
        </p:nvSpPr>
        <p:spPr>
          <a:xfrm>
            <a:off x="8467385" y="4060864"/>
            <a:ext cx="581993" cy="581993"/>
          </a:xfrm>
          <a:prstGeom prst="ellipse">
            <a:avLst/>
          </a:prstGeom>
          <a:solidFill>
            <a:srgbClr val="CE295E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7917D667-8C6B-4BE2-89A8-EE34784ECF48}"/>
              </a:ext>
            </a:extLst>
          </p:cNvPr>
          <p:cNvSpPr/>
          <p:nvPr/>
        </p:nvSpPr>
        <p:spPr>
          <a:xfrm>
            <a:off x="8467385" y="4877162"/>
            <a:ext cx="581993" cy="581993"/>
          </a:xfrm>
          <a:prstGeom prst="ellipse">
            <a:avLst/>
          </a:prstGeom>
          <a:solidFill>
            <a:srgbClr val="404040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2EDD0A13-925F-4A1B-ABFB-3C67C1357966}"/>
              </a:ext>
            </a:extLst>
          </p:cNvPr>
          <p:cNvSpPr/>
          <p:nvPr/>
        </p:nvSpPr>
        <p:spPr>
          <a:xfrm>
            <a:off x="8467385" y="5693459"/>
            <a:ext cx="581993" cy="581993"/>
          </a:xfrm>
          <a:prstGeom prst="ellipse">
            <a:avLst/>
          </a:prstGeom>
          <a:solidFill>
            <a:srgbClr val="7F7F7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Freeform 154">
            <a:extLst>
              <a:ext uri="{FF2B5EF4-FFF2-40B4-BE49-F238E27FC236}">
                <a16:creationId xmlns:a16="http://schemas.microsoft.com/office/drawing/2014/main" id="{BA54671E-ACFD-4428-B4B7-A37E5BA61CB3}"/>
              </a:ext>
            </a:extLst>
          </p:cNvPr>
          <p:cNvSpPr>
            <a:spLocks/>
          </p:cNvSpPr>
          <p:nvPr/>
        </p:nvSpPr>
        <p:spPr bwMode="auto">
          <a:xfrm>
            <a:off x="8689204" y="4222451"/>
            <a:ext cx="138355" cy="258819"/>
          </a:xfrm>
          <a:custGeom>
            <a:avLst/>
            <a:gdLst>
              <a:gd name="T0" fmla="*/ 49 w 49"/>
              <a:gd name="T1" fmla="*/ 28 h 92"/>
              <a:gd name="T2" fmla="*/ 32 w 49"/>
              <a:gd name="T3" fmla="*/ 28 h 92"/>
              <a:gd name="T4" fmla="*/ 32 w 49"/>
              <a:gd name="T5" fmla="*/ 20 h 92"/>
              <a:gd name="T6" fmla="*/ 36 w 49"/>
              <a:gd name="T7" fmla="*/ 16 h 92"/>
              <a:gd name="T8" fmla="*/ 48 w 49"/>
              <a:gd name="T9" fmla="*/ 16 h 92"/>
              <a:gd name="T10" fmla="*/ 48 w 49"/>
              <a:gd name="T11" fmla="*/ 0 h 92"/>
              <a:gd name="T12" fmla="*/ 31 w 49"/>
              <a:gd name="T13" fmla="*/ 0 h 92"/>
              <a:gd name="T14" fmla="*/ 12 w 49"/>
              <a:gd name="T15" fmla="*/ 19 h 92"/>
              <a:gd name="T16" fmla="*/ 12 w 49"/>
              <a:gd name="T17" fmla="*/ 28 h 92"/>
              <a:gd name="T18" fmla="*/ 0 w 49"/>
              <a:gd name="T19" fmla="*/ 28 h 92"/>
              <a:gd name="T20" fmla="*/ 0 w 49"/>
              <a:gd name="T21" fmla="*/ 44 h 92"/>
              <a:gd name="T22" fmla="*/ 12 w 49"/>
              <a:gd name="T23" fmla="*/ 44 h 92"/>
              <a:gd name="T24" fmla="*/ 12 w 49"/>
              <a:gd name="T25" fmla="*/ 92 h 92"/>
              <a:gd name="T26" fmla="*/ 32 w 49"/>
              <a:gd name="T27" fmla="*/ 92 h 92"/>
              <a:gd name="T28" fmla="*/ 32 w 49"/>
              <a:gd name="T29" fmla="*/ 44 h 92"/>
              <a:gd name="T30" fmla="*/ 47 w 49"/>
              <a:gd name="T31" fmla="*/ 44 h 92"/>
              <a:gd name="T32" fmla="*/ 49 w 49"/>
              <a:gd name="T33" fmla="*/ 28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9" h="92">
                <a:moveTo>
                  <a:pt x="49" y="28"/>
                </a:moveTo>
                <a:cubicBezTo>
                  <a:pt x="32" y="28"/>
                  <a:pt x="32" y="28"/>
                  <a:pt x="32" y="28"/>
                </a:cubicBezTo>
                <a:cubicBezTo>
                  <a:pt x="32" y="20"/>
                  <a:pt x="32" y="20"/>
                  <a:pt x="32" y="20"/>
                </a:cubicBezTo>
                <a:cubicBezTo>
                  <a:pt x="32" y="17"/>
                  <a:pt x="34" y="16"/>
                  <a:pt x="36" y="16"/>
                </a:cubicBezTo>
                <a:cubicBezTo>
                  <a:pt x="38" y="16"/>
                  <a:pt x="48" y="16"/>
                  <a:pt x="48" y="16"/>
                </a:cubicBezTo>
                <a:cubicBezTo>
                  <a:pt x="48" y="0"/>
                  <a:pt x="48" y="0"/>
                  <a:pt x="48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15" y="0"/>
                  <a:pt x="12" y="12"/>
                  <a:pt x="12" y="19"/>
                </a:cubicBezTo>
                <a:cubicBezTo>
                  <a:pt x="12" y="28"/>
                  <a:pt x="12" y="28"/>
                  <a:pt x="12" y="2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44"/>
                  <a:pt x="0" y="44"/>
                  <a:pt x="0" y="44"/>
                </a:cubicBezTo>
                <a:cubicBezTo>
                  <a:pt x="12" y="44"/>
                  <a:pt x="12" y="44"/>
                  <a:pt x="12" y="44"/>
                </a:cubicBezTo>
                <a:cubicBezTo>
                  <a:pt x="12" y="65"/>
                  <a:pt x="12" y="92"/>
                  <a:pt x="12" y="92"/>
                </a:cubicBezTo>
                <a:cubicBezTo>
                  <a:pt x="32" y="92"/>
                  <a:pt x="32" y="92"/>
                  <a:pt x="32" y="92"/>
                </a:cubicBezTo>
                <a:cubicBezTo>
                  <a:pt x="32" y="92"/>
                  <a:pt x="32" y="64"/>
                  <a:pt x="32" y="44"/>
                </a:cubicBezTo>
                <a:cubicBezTo>
                  <a:pt x="47" y="44"/>
                  <a:pt x="47" y="44"/>
                  <a:pt x="47" y="44"/>
                </a:cubicBezTo>
                <a:lnTo>
                  <a:pt x="49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96" name="Freeform 162">
            <a:extLst>
              <a:ext uri="{FF2B5EF4-FFF2-40B4-BE49-F238E27FC236}">
                <a16:creationId xmlns:a16="http://schemas.microsoft.com/office/drawing/2014/main" id="{8AD2DF00-0982-4B28-B4A0-DF7B4B6DA358}"/>
              </a:ext>
            </a:extLst>
          </p:cNvPr>
          <p:cNvSpPr>
            <a:spLocks/>
          </p:cNvSpPr>
          <p:nvPr/>
        </p:nvSpPr>
        <p:spPr bwMode="auto">
          <a:xfrm>
            <a:off x="8631357" y="5066778"/>
            <a:ext cx="254048" cy="202761"/>
          </a:xfrm>
          <a:custGeom>
            <a:avLst/>
            <a:gdLst>
              <a:gd name="T0" fmla="*/ 90 w 90"/>
              <a:gd name="T1" fmla="*/ 9 h 72"/>
              <a:gd name="T2" fmla="*/ 81 w 90"/>
              <a:gd name="T3" fmla="*/ 9 h 72"/>
              <a:gd name="T4" fmla="*/ 86 w 90"/>
              <a:gd name="T5" fmla="*/ 1 h 72"/>
              <a:gd name="T6" fmla="*/ 75 w 90"/>
              <a:gd name="T7" fmla="*/ 6 h 72"/>
              <a:gd name="T8" fmla="*/ 61 w 90"/>
              <a:gd name="T9" fmla="*/ 0 h 72"/>
              <a:gd name="T10" fmla="*/ 43 w 90"/>
              <a:gd name="T11" fmla="*/ 18 h 72"/>
              <a:gd name="T12" fmla="*/ 44 w 90"/>
              <a:gd name="T13" fmla="*/ 22 h 72"/>
              <a:gd name="T14" fmla="*/ 6 w 90"/>
              <a:gd name="T15" fmla="*/ 3 h 72"/>
              <a:gd name="T16" fmla="*/ 4 w 90"/>
              <a:gd name="T17" fmla="*/ 12 h 72"/>
              <a:gd name="T18" fmla="*/ 12 w 90"/>
              <a:gd name="T19" fmla="*/ 28 h 72"/>
              <a:gd name="T20" fmla="*/ 4 w 90"/>
              <a:gd name="T21" fmla="*/ 25 h 72"/>
              <a:gd name="T22" fmla="*/ 4 w 90"/>
              <a:gd name="T23" fmla="*/ 26 h 72"/>
              <a:gd name="T24" fmla="*/ 18 w 90"/>
              <a:gd name="T25" fmla="*/ 43 h 72"/>
              <a:gd name="T26" fmla="*/ 10 w 90"/>
              <a:gd name="T27" fmla="*/ 44 h 72"/>
              <a:gd name="T28" fmla="*/ 27 w 90"/>
              <a:gd name="T29" fmla="*/ 56 h 72"/>
              <a:gd name="T30" fmla="*/ 0 w 90"/>
              <a:gd name="T31" fmla="*/ 64 h 72"/>
              <a:gd name="T32" fmla="*/ 28 w 90"/>
              <a:gd name="T33" fmla="*/ 72 h 72"/>
              <a:gd name="T34" fmla="*/ 80 w 90"/>
              <a:gd name="T35" fmla="*/ 20 h 72"/>
              <a:gd name="T36" fmla="*/ 80 w 90"/>
              <a:gd name="T37" fmla="*/ 18 h 72"/>
              <a:gd name="T38" fmla="*/ 90 w 90"/>
              <a:gd name="T39" fmla="*/ 9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0" h="72">
                <a:moveTo>
                  <a:pt x="90" y="9"/>
                </a:moveTo>
                <a:cubicBezTo>
                  <a:pt x="87" y="11"/>
                  <a:pt x="84" y="11"/>
                  <a:pt x="81" y="9"/>
                </a:cubicBezTo>
                <a:cubicBezTo>
                  <a:pt x="85" y="7"/>
                  <a:pt x="85" y="6"/>
                  <a:pt x="86" y="1"/>
                </a:cubicBezTo>
                <a:cubicBezTo>
                  <a:pt x="83" y="3"/>
                  <a:pt x="79" y="5"/>
                  <a:pt x="75" y="6"/>
                </a:cubicBezTo>
                <a:cubicBezTo>
                  <a:pt x="71" y="2"/>
                  <a:pt x="67" y="0"/>
                  <a:pt x="61" y="0"/>
                </a:cubicBezTo>
                <a:cubicBezTo>
                  <a:pt x="51" y="0"/>
                  <a:pt x="43" y="8"/>
                  <a:pt x="43" y="18"/>
                </a:cubicBezTo>
                <a:cubicBezTo>
                  <a:pt x="43" y="20"/>
                  <a:pt x="43" y="21"/>
                  <a:pt x="44" y="22"/>
                </a:cubicBezTo>
                <a:cubicBezTo>
                  <a:pt x="29" y="22"/>
                  <a:pt x="15" y="14"/>
                  <a:pt x="6" y="3"/>
                </a:cubicBezTo>
                <a:cubicBezTo>
                  <a:pt x="5" y="6"/>
                  <a:pt x="4" y="9"/>
                  <a:pt x="4" y="12"/>
                </a:cubicBezTo>
                <a:cubicBezTo>
                  <a:pt x="4" y="19"/>
                  <a:pt x="7" y="24"/>
                  <a:pt x="12" y="28"/>
                </a:cubicBezTo>
                <a:cubicBezTo>
                  <a:pt x="9" y="27"/>
                  <a:pt x="6" y="27"/>
                  <a:pt x="4" y="25"/>
                </a:cubicBezTo>
                <a:cubicBezTo>
                  <a:pt x="4" y="25"/>
                  <a:pt x="4" y="25"/>
                  <a:pt x="4" y="26"/>
                </a:cubicBezTo>
                <a:cubicBezTo>
                  <a:pt x="4" y="34"/>
                  <a:pt x="10" y="42"/>
                  <a:pt x="18" y="43"/>
                </a:cubicBezTo>
                <a:cubicBezTo>
                  <a:pt x="15" y="44"/>
                  <a:pt x="13" y="44"/>
                  <a:pt x="10" y="44"/>
                </a:cubicBezTo>
                <a:cubicBezTo>
                  <a:pt x="12" y="51"/>
                  <a:pt x="19" y="56"/>
                  <a:pt x="27" y="56"/>
                </a:cubicBezTo>
                <a:cubicBezTo>
                  <a:pt x="19" y="62"/>
                  <a:pt x="9" y="65"/>
                  <a:pt x="0" y="64"/>
                </a:cubicBezTo>
                <a:cubicBezTo>
                  <a:pt x="8" y="69"/>
                  <a:pt x="18" y="72"/>
                  <a:pt x="28" y="72"/>
                </a:cubicBezTo>
                <a:cubicBezTo>
                  <a:pt x="61" y="72"/>
                  <a:pt x="80" y="44"/>
                  <a:pt x="80" y="20"/>
                </a:cubicBezTo>
                <a:cubicBezTo>
                  <a:pt x="80" y="19"/>
                  <a:pt x="80" y="19"/>
                  <a:pt x="80" y="18"/>
                </a:cubicBezTo>
                <a:cubicBezTo>
                  <a:pt x="83" y="15"/>
                  <a:pt x="87" y="13"/>
                  <a:pt x="90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105EB04D-523A-471B-94D7-64FDA15599AA}"/>
              </a:ext>
            </a:extLst>
          </p:cNvPr>
          <p:cNvGrpSpPr/>
          <p:nvPr/>
        </p:nvGrpSpPr>
        <p:grpSpPr>
          <a:xfrm>
            <a:off x="8634339" y="5859817"/>
            <a:ext cx="248085" cy="249277"/>
            <a:chOff x="3406775" y="2181225"/>
            <a:chExt cx="330200" cy="331788"/>
          </a:xfrm>
          <a:solidFill>
            <a:schemeClr val="bg1"/>
          </a:solidFill>
        </p:grpSpPr>
        <p:sp>
          <p:nvSpPr>
            <p:cNvPr id="198" name="Oval 190">
              <a:extLst>
                <a:ext uri="{FF2B5EF4-FFF2-40B4-BE49-F238E27FC236}">
                  <a16:creationId xmlns:a16="http://schemas.microsoft.com/office/drawing/2014/main" id="{BD285FB7-C65E-4A4F-9730-2C7BDE0855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1388" y="2257425"/>
              <a:ext cx="180975" cy="1793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9" name="Freeform 191">
              <a:extLst>
                <a:ext uri="{FF2B5EF4-FFF2-40B4-BE49-F238E27FC236}">
                  <a16:creationId xmlns:a16="http://schemas.microsoft.com/office/drawing/2014/main" id="{BBC06FF8-9B23-4376-9786-14D97DD1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6938" y="2181225"/>
              <a:ext cx="14288" cy="112713"/>
            </a:xfrm>
            <a:custGeom>
              <a:avLst/>
              <a:gdLst>
                <a:gd name="T0" fmla="*/ 4 w 4"/>
                <a:gd name="T1" fmla="*/ 0 h 30"/>
                <a:gd name="T2" fmla="*/ 0 w 4"/>
                <a:gd name="T3" fmla="*/ 1 h 30"/>
                <a:gd name="T4" fmla="*/ 0 w 4"/>
                <a:gd name="T5" fmla="*/ 30 h 30"/>
                <a:gd name="T6" fmla="*/ 4 w 4"/>
                <a:gd name="T7" fmla="*/ 30 h 30"/>
                <a:gd name="T8" fmla="*/ 4 w 4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0">
                  <a:moveTo>
                    <a:pt x="4" y="0"/>
                  </a:moveTo>
                  <a:cubicBezTo>
                    <a:pt x="3" y="0"/>
                    <a:pt x="1" y="1"/>
                    <a:pt x="0" y="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" y="30"/>
                    <a:pt x="4" y="30"/>
                    <a:pt x="4" y="30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0" name="Freeform 192">
              <a:extLst>
                <a:ext uri="{FF2B5EF4-FFF2-40B4-BE49-F238E27FC236}">
                  <a16:creationId xmlns:a16="http://schemas.microsoft.com/office/drawing/2014/main" id="{C6700C49-7AD6-494F-83F0-8DEBBC73A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181225"/>
              <a:ext cx="14288" cy="112713"/>
            </a:xfrm>
            <a:custGeom>
              <a:avLst/>
              <a:gdLst>
                <a:gd name="T0" fmla="*/ 4 w 4"/>
                <a:gd name="T1" fmla="*/ 30 h 30"/>
                <a:gd name="T2" fmla="*/ 4 w 4"/>
                <a:gd name="T3" fmla="*/ 0 h 30"/>
                <a:gd name="T4" fmla="*/ 0 w 4"/>
                <a:gd name="T5" fmla="*/ 0 h 30"/>
                <a:gd name="T6" fmla="*/ 0 w 4"/>
                <a:gd name="T7" fmla="*/ 30 h 30"/>
                <a:gd name="T8" fmla="*/ 4 w 4"/>
                <a:gd name="T9" fmla="*/ 30 h 30"/>
                <a:gd name="T10" fmla="*/ 4 w 4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0">
                  <a:moveTo>
                    <a:pt x="4" y="3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1" name="Freeform 193">
              <a:extLst>
                <a:ext uri="{FF2B5EF4-FFF2-40B4-BE49-F238E27FC236}">
                  <a16:creationId xmlns:a16="http://schemas.microsoft.com/office/drawing/2014/main" id="{4134947C-4D7B-463E-A659-A8F440E310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6775" y="2181225"/>
              <a:ext cx="330200" cy="331788"/>
            </a:xfrm>
            <a:custGeom>
              <a:avLst/>
              <a:gdLst>
                <a:gd name="T0" fmla="*/ 88 w 88"/>
                <a:gd name="T1" fmla="*/ 71 h 88"/>
                <a:gd name="T2" fmla="*/ 88 w 88"/>
                <a:gd name="T3" fmla="*/ 30 h 88"/>
                <a:gd name="T4" fmla="*/ 88 w 88"/>
                <a:gd name="T5" fmla="*/ 17 h 88"/>
                <a:gd name="T6" fmla="*/ 88 w 88"/>
                <a:gd name="T7" fmla="*/ 14 h 88"/>
                <a:gd name="T8" fmla="*/ 74 w 88"/>
                <a:gd name="T9" fmla="*/ 0 h 88"/>
                <a:gd name="T10" fmla="*/ 24 w 88"/>
                <a:gd name="T11" fmla="*/ 0 h 88"/>
                <a:gd name="T12" fmla="*/ 24 w 88"/>
                <a:gd name="T13" fmla="*/ 24 h 88"/>
                <a:gd name="T14" fmla="*/ 44 w 88"/>
                <a:gd name="T15" fmla="*/ 16 h 88"/>
                <a:gd name="T16" fmla="*/ 68 w 88"/>
                <a:gd name="T17" fmla="*/ 30 h 88"/>
                <a:gd name="T18" fmla="*/ 84 w 88"/>
                <a:gd name="T19" fmla="*/ 30 h 88"/>
                <a:gd name="T20" fmla="*/ 84 w 88"/>
                <a:gd name="T21" fmla="*/ 71 h 88"/>
                <a:gd name="T22" fmla="*/ 71 w 88"/>
                <a:gd name="T23" fmla="*/ 84 h 88"/>
                <a:gd name="T24" fmla="*/ 17 w 88"/>
                <a:gd name="T25" fmla="*/ 84 h 88"/>
                <a:gd name="T26" fmla="*/ 4 w 88"/>
                <a:gd name="T27" fmla="*/ 71 h 88"/>
                <a:gd name="T28" fmla="*/ 4 w 88"/>
                <a:gd name="T29" fmla="*/ 30 h 88"/>
                <a:gd name="T30" fmla="*/ 4 w 88"/>
                <a:gd name="T31" fmla="*/ 17 h 88"/>
                <a:gd name="T32" fmla="*/ 4 w 88"/>
                <a:gd name="T33" fmla="*/ 4 h 88"/>
                <a:gd name="T34" fmla="*/ 0 w 88"/>
                <a:gd name="T35" fmla="*/ 14 h 88"/>
                <a:gd name="T36" fmla="*/ 0 w 88"/>
                <a:gd name="T37" fmla="*/ 17 h 88"/>
                <a:gd name="T38" fmla="*/ 0 w 88"/>
                <a:gd name="T39" fmla="*/ 30 h 88"/>
                <a:gd name="T40" fmla="*/ 0 w 88"/>
                <a:gd name="T41" fmla="*/ 71 h 88"/>
                <a:gd name="T42" fmla="*/ 17 w 88"/>
                <a:gd name="T43" fmla="*/ 88 h 88"/>
                <a:gd name="T44" fmla="*/ 71 w 88"/>
                <a:gd name="T45" fmla="*/ 88 h 88"/>
                <a:gd name="T46" fmla="*/ 88 w 88"/>
                <a:gd name="T47" fmla="*/ 71 h 88"/>
                <a:gd name="T48" fmla="*/ 82 w 88"/>
                <a:gd name="T49" fmla="*/ 24 h 88"/>
                <a:gd name="T50" fmla="*/ 70 w 88"/>
                <a:gd name="T51" fmla="*/ 24 h 88"/>
                <a:gd name="T52" fmla="*/ 68 w 88"/>
                <a:gd name="T53" fmla="*/ 22 h 88"/>
                <a:gd name="T54" fmla="*/ 68 w 88"/>
                <a:gd name="T55" fmla="*/ 10 h 88"/>
                <a:gd name="T56" fmla="*/ 70 w 88"/>
                <a:gd name="T57" fmla="*/ 8 h 88"/>
                <a:gd name="T58" fmla="*/ 82 w 88"/>
                <a:gd name="T59" fmla="*/ 8 h 88"/>
                <a:gd name="T60" fmla="*/ 84 w 88"/>
                <a:gd name="T61" fmla="*/ 10 h 88"/>
                <a:gd name="T62" fmla="*/ 84 w 88"/>
                <a:gd name="T63" fmla="*/ 17 h 88"/>
                <a:gd name="T64" fmla="*/ 84 w 88"/>
                <a:gd name="T65" fmla="*/ 22 h 88"/>
                <a:gd name="T66" fmla="*/ 82 w 88"/>
                <a:gd name="T67" fmla="*/ 2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8">
                  <a:moveTo>
                    <a:pt x="88" y="71"/>
                  </a:moveTo>
                  <a:cubicBezTo>
                    <a:pt x="88" y="30"/>
                    <a:pt x="88" y="30"/>
                    <a:pt x="88" y="3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6"/>
                    <a:pt x="82" y="0"/>
                    <a:pt x="7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9" y="19"/>
                    <a:pt x="36" y="16"/>
                    <a:pt x="44" y="16"/>
                  </a:cubicBezTo>
                  <a:cubicBezTo>
                    <a:pt x="54" y="16"/>
                    <a:pt x="63" y="22"/>
                    <a:pt x="68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84" y="78"/>
                    <a:pt x="78" y="84"/>
                    <a:pt x="71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0" y="84"/>
                    <a:pt x="4" y="78"/>
                    <a:pt x="4" y="71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7"/>
                    <a:pt x="0" y="10"/>
                    <a:pt x="0" y="1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1"/>
                    <a:pt x="7" y="88"/>
                    <a:pt x="17" y="88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81" y="88"/>
                    <a:pt x="88" y="81"/>
                    <a:pt x="88" y="71"/>
                  </a:cubicBezTo>
                  <a:close/>
                  <a:moveTo>
                    <a:pt x="82" y="24"/>
                  </a:moveTo>
                  <a:cubicBezTo>
                    <a:pt x="70" y="24"/>
                    <a:pt x="70" y="24"/>
                    <a:pt x="70" y="24"/>
                  </a:cubicBezTo>
                  <a:cubicBezTo>
                    <a:pt x="69" y="24"/>
                    <a:pt x="68" y="23"/>
                    <a:pt x="68" y="22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8" y="9"/>
                    <a:pt x="69" y="8"/>
                    <a:pt x="70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3" y="8"/>
                    <a:pt x="84" y="9"/>
                    <a:pt x="84" y="10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3"/>
                    <a:pt x="83" y="24"/>
                    <a:pt x="8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02" name="Rectangle 201">
            <a:extLst>
              <a:ext uri="{FF2B5EF4-FFF2-40B4-BE49-F238E27FC236}">
                <a16:creationId xmlns:a16="http://schemas.microsoft.com/office/drawing/2014/main" id="{70D38E9A-94A7-447A-89C1-EB62E888BD09}"/>
              </a:ext>
            </a:extLst>
          </p:cNvPr>
          <p:cNvSpPr/>
          <p:nvPr/>
        </p:nvSpPr>
        <p:spPr>
          <a:xfrm>
            <a:off x="9168342" y="4136416"/>
            <a:ext cx="2718064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F628A559-BC49-4742-82C4-4124FF63A8B1}"/>
              </a:ext>
            </a:extLst>
          </p:cNvPr>
          <p:cNvSpPr/>
          <p:nvPr/>
        </p:nvSpPr>
        <p:spPr>
          <a:xfrm>
            <a:off x="9168342" y="4941623"/>
            <a:ext cx="2718064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CEBFB0FE-B591-4089-A1B4-FF85CA99D9DA}"/>
              </a:ext>
            </a:extLst>
          </p:cNvPr>
          <p:cNvSpPr/>
          <p:nvPr/>
        </p:nvSpPr>
        <p:spPr>
          <a:xfrm>
            <a:off x="9168342" y="5769011"/>
            <a:ext cx="2718064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442960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heme/theme1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40</TotalTime>
  <Words>2842</Words>
  <Application>Microsoft Office PowerPoint</Application>
  <PresentationFormat>Widescreen</PresentationFormat>
  <Paragraphs>383</Paragraphs>
  <Slides>3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8" baseType="lpstr">
      <vt:lpstr>Arial</vt:lpstr>
      <vt:lpstr>Calibri</vt:lpstr>
      <vt:lpstr>Calibri Light</vt:lpstr>
      <vt:lpstr>Corbel</vt:lpstr>
      <vt:lpstr>Segoe UI</vt:lpstr>
      <vt:lpstr>Segoe UI Light</vt:lpstr>
      <vt:lpstr>Tema de Office</vt:lpstr>
      <vt:lpstr>think-cell Slide</vt:lpstr>
      <vt:lpstr>PowerPoint Presentation</vt:lpstr>
      <vt:lpstr>dashboard</vt:lpstr>
      <vt:lpstr>dashboard</vt:lpstr>
      <vt:lpstr>dashboard</vt:lpstr>
      <vt:lpstr>dashboard</vt:lpstr>
      <vt:lpstr>PowerPoint Presentation</vt:lpstr>
      <vt:lpstr>dashboard</vt:lpstr>
      <vt:lpstr>dashboard</vt:lpstr>
      <vt:lpstr>dashboar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rketing Strategies</vt:lpstr>
      <vt:lpstr>Marketing Channel</vt:lpstr>
      <vt:lpstr>Budget</vt:lpstr>
      <vt:lpstr>Marketing Plan Roadmap</vt:lpstr>
      <vt:lpstr>PowerPoint Presentation</vt:lpstr>
      <vt:lpstr>Table of Contents</vt:lpstr>
      <vt:lpstr>About Us</vt:lpstr>
      <vt:lpstr>What We Do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uzy Lukman</dc:creator>
  <cp:lastModifiedBy>Oishee Bhattacharyya</cp:lastModifiedBy>
  <cp:revision>55</cp:revision>
  <dcterms:created xsi:type="dcterms:W3CDTF">2017-03-29T09:23:02Z</dcterms:created>
  <dcterms:modified xsi:type="dcterms:W3CDTF">2024-04-07T12:43:25Z</dcterms:modified>
</cp:coreProperties>
</file>